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7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8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9.xml" ContentType="application/vnd.openxmlformats-officedocument.presentationml.notesSl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10.xml" ContentType="application/vnd.openxmlformats-officedocument.presentationml.notesSl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11.xml" ContentType="application/vnd.openxmlformats-officedocument.presentationml.notesSl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notesSlides/notesSlide12.xml" ContentType="application/vnd.openxmlformats-officedocument.presentationml.notesSl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13.xml" ContentType="application/vnd.openxmlformats-officedocument.presentationml.notesSlid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notesSlides/notesSlide14.xml" ContentType="application/vnd.openxmlformats-officedocument.presentationml.notesSlide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notesSlides/notesSlide15.xml" ContentType="application/vnd.openxmlformats-officedocument.presentationml.notesSlide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notesSlides/notesSlide16.xml" ContentType="application/vnd.openxmlformats-officedocument.presentationml.notesSlide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notesSlides/notesSlide17.xml" ContentType="application/vnd.openxmlformats-officedocument.presentationml.notesSlide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  <p:sldMasterId id="2147483684" r:id="rId2"/>
  </p:sldMasterIdLst>
  <p:notesMasterIdLst>
    <p:notesMasterId r:id="rId22"/>
  </p:notesMasterIdLst>
  <p:sldIdLst>
    <p:sldId id="477" r:id="rId3"/>
    <p:sldId id="631" r:id="rId4"/>
    <p:sldId id="622" r:id="rId5"/>
    <p:sldId id="602" r:id="rId6"/>
    <p:sldId id="637" r:id="rId7"/>
    <p:sldId id="425" r:id="rId8"/>
    <p:sldId id="485" r:id="rId9"/>
    <p:sldId id="488" r:id="rId10"/>
    <p:sldId id="487" r:id="rId11"/>
    <p:sldId id="490" r:id="rId12"/>
    <p:sldId id="491" r:id="rId13"/>
    <p:sldId id="492" r:id="rId14"/>
    <p:sldId id="486" r:id="rId15"/>
    <p:sldId id="632" r:id="rId16"/>
    <p:sldId id="564" r:id="rId17"/>
    <p:sldId id="633" r:id="rId18"/>
    <p:sldId id="634" r:id="rId19"/>
    <p:sldId id="635" r:id="rId20"/>
    <p:sldId id="636" r:id="rId21"/>
  </p:sldIdLst>
  <p:sldSz cx="9906000" cy="6858000" type="A4"/>
  <p:notesSz cx="6797675" cy="9928225"/>
  <p:custDataLst>
    <p:tags r:id="rId23"/>
  </p:custDataLst>
  <p:defaultTextStyle>
    <a:defPPr>
      <a:defRPr lang="ru-RU"/>
    </a:defPPr>
    <a:lvl1pPr marL="0" algn="l" defTabSz="91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17" algn="l" defTabSz="91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35" algn="l" defTabSz="91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53" algn="l" defTabSz="91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70" algn="l" defTabSz="91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88" algn="l" defTabSz="91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705" algn="l" defTabSz="91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23" algn="l" defTabSz="91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40" algn="l" defTabSz="91423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10862AC0-CD8A-42D4-8FDD-C9B66B409B7E}">
          <p14:sldIdLst>
            <p14:sldId id="477"/>
            <p14:sldId id="631"/>
            <p14:sldId id="622"/>
            <p14:sldId id="602"/>
            <p14:sldId id="637"/>
            <p14:sldId id="425"/>
            <p14:sldId id="485"/>
            <p14:sldId id="488"/>
            <p14:sldId id="487"/>
            <p14:sldId id="490"/>
            <p14:sldId id="491"/>
            <p14:sldId id="492"/>
            <p14:sldId id="486"/>
            <p14:sldId id="632"/>
            <p14:sldId id="564"/>
            <p14:sldId id="633"/>
            <p14:sldId id="634"/>
            <p14:sldId id="635"/>
            <p14:sldId id="63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24">
          <p15:clr>
            <a:srgbClr val="A4A3A4"/>
          </p15:clr>
        </p15:guide>
        <p15:guide id="2" pos="4032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pos="3120">
          <p15:clr>
            <a:srgbClr val="A4A3A4"/>
          </p15:clr>
        </p15:guide>
        <p15:guide id="5" orient="horz" pos="2279">
          <p15:clr>
            <a:srgbClr val="A4A3A4"/>
          </p15:clr>
        </p15:guide>
        <p15:guide id="6" orient="horz" pos="1823">
          <p15:clr>
            <a:srgbClr val="A4A3A4"/>
          </p15:clr>
        </p15:guide>
        <p15:guide id="7" orient="horz" pos="633">
          <p15:clr>
            <a:srgbClr val="A4A3A4"/>
          </p15:clr>
        </p15:guide>
        <p15:guide id="8" orient="horz" pos="3820">
          <p15:clr>
            <a:srgbClr val="A4A3A4"/>
          </p15:clr>
        </p15:guide>
        <p15:guide id="9" pos="272">
          <p15:clr>
            <a:srgbClr val="A4A3A4"/>
          </p15:clr>
        </p15:guide>
        <p15:guide id="10" pos="5996">
          <p15:clr>
            <a:srgbClr val="A4A3A4"/>
          </p15:clr>
        </p15:guide>
        <p15:guide id="11" pos="437">
          <p15:clr>
            <a:srgbClr val="A4A3A4"/>
          </p15:clr>
        </p15:guide>
        <p15:guide id="12" pos="3115">
          <p15:clr>
            <a:srgbClr val="A4A3A4"/>
          </p15:clr>
        </p15:guide>
        <p15:guide id="13" pos="3202">
          <p15:clr>
            <a:srgbClr val="A4A3A4"/>
          </p15:clr>
        </p15:guide>
        <p15:guide id="14" pos="586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02" userDrawn="1">
          <p15:clr>
            <a:srgbClr val="A4A3A4"/>
          </p15:clr>
        </p15:guide>
        <p15:guide id="2" pos="2210" userDrawn="1">
          <p15:clr>
            <a:srgbClr val="A4A3A4"/>
          </p15:clr>
        </p15:guide>
        <p15:guide id="3" orient="horz" pos="3205" userDrawn="1">
          <p15:clr>
            <a:srgbClr val="A4A3A4"/>
          </p15:clr>
        </p15:guide>
        <p15:guide id="4" pos="2209" userDrawn="1">
          <p15:clr>
            <a:srgbClr val="A4A3A4"/>
          </p15:clr>
        </p15:guide>
        <p15:guide id="5" orient="horz" pos="3206" userDrawn="1">
          <p15:clr>
            <a:srgbClr val="A4A3A4"/>
          </p15:clr>
        </p15:guide>
        <p15:guide id="6" pos="2211" userDrawn="1">
          <p15:clr>
            <a:srgbClr val="A4A3A4"/>
          </p15:clr>
        </p15:guide>
        <p15:guide id="7" orient="horz" pos="3201" userDrawn="1">
          <p15:clr>
            <a:srgbClr val="A4A3A4"/>
          </p15:clr>
        </p15:guide>
        <p15:guide id="8" orient="horz" pos="3204" userDrawn="1">
          <p15:clr>
            <a:srgbClr val="A4A3A4"/>
          </p15:clr>
        </p15:guide>
        <p15:guide id="9" orient="horz" pos="3153" userDrawn="1">
          <p15:clr>
            <a:srgbClr val="A4A3A4"/>
          </p15:clr>
        </p15:guide>
        <p15:guide id="10" orient="horz" pos="3158" userDrawn="1">
          <p15:clr>
            <a:srgbClr val="A4A3A4"/>
          </p15:clr>
        </p15:guide>
        <p15:guide id="11" orient="horz" pos="3159" userDrawn="1">
          <p15:clr>
            <a:srgbClr val="A4A3A4"/>
          </p15:clr>
        </p15:guide>
        <p15:guide id="12" orient="horz" pos="3152" userDrawn="1">
          <p15:clr>
            <a:srgbClr val="A4A3A4"/>
          </p15:clr>
        </p15:guide>
        <p15:guide id="13" orient="horz" pos="3157" userDrawn="1">
          <p15:clr>
            <a:srgbClr val="A4A3A4"/>
          </p15:clr>
        </p15:guide>
        <p15:guide id="14" pos="2169" userDrawn="1">
          <p15:clr>
            <a:srgbClr val="A4A3A4"/>
          </p15:clr>
        </p15:guide>
        <p15:guide id="15" pos="2168" userDrawn="1">
          <p15:clr>
            <a:srgbClr val="A4A3A4"/>
          </p15:clr>
        </p15:guide>
        <p15:guide id="16" pos="2170" userDrawn="1">
          <p15:clr>
            <a:srgbClr val="A4A3A4"/>
          </p15:clr>
        </p15:guide>
        <p15:guide id="17" orient="horz" pos="3179" userDrawn="1">
          <p15:clr>
            <a:srgbClr val="A4A3A4"/>
          </p15:clr>
        </p15:guide>
        <p15:guide id="18" orient="horz" pos="3182" userDrawn="1">
          <p15:clr>
            <a:srgbClr val="A4A3A4"/>
          </p15:clr>
        </p15:guide>
        <p15:guide id="19" orient="horz" pos="3183" userDrawn="1">
          <p15:clr>
            <a:srgbClr val="A4A3A4"/>
          </p15:clr>
        </p15:guide>
        <p15:guide id="20" orient="horz" pos="3178" userDrawn="1">
          <p15:clr>
            <a:srgbClr val="A4A3A4"/>
          </p15:clr>
        </p15:guide>
        <p15:guide id="21" orient="horz" pos="3181" userDrawn="1">
          <p15:clr>
            <a:srgbClr val="A4A3A4"/>
          </p15:clr>
        </p15:guide>
        <p15:guide id="22" orient="horz" pos="3128" userDrawn="1">
          <p15:clr>
            <a:srgbClr val="A4A3A4"/>
          </p15:clr>
        </p15:guide>
        <p15:guide id="23" orient="horz" pos="3135" userDrawn="1">
          <p15:clr>
            <a:srgbClr val="A4A3A4"/>
          </p15:clr>
        </p15:guide>
        <p15:guide id="24" orient="horz" pos="3136" userDrawn="1">
          <p15:clr>
            <a:srgbClr val="A4A3A4"/>
          </p15:clr>
        </p15:guide>
        <p15:guide id="25" orient="horz" pos="3127" userDrawn="1">
          <p15:clr>
            <a:srgbClr val="A4A3A4"/>
          </p15:clr>
        </p15:guide>
        <p15:guide id="26" orient="horz" pos="3134" userDrawn="1">
          <p15:clr>
            <a:srgbClr val="A4A3A4"/>
          </p15:clr>
        </p15:guide>
        <p15:guide id="27" pos="2186" userDrawn="1">
          <p15:clr>
            <a:srgbClr val="A4A3A4"/>
          </p15:clr>
        </p15:guide>
        <p15:guide id="28" pos="2185" userDrawn="1">
          <p15:clr>
            <a:srgbClr val="A4A3A4"/>
          </p15:clr>
        </p15:guide>
        <p15:guide id="29" pos="2187" userDrawn="1">
          <p15:clr>
            <a:srgbClr val="A4A3A4"/>
          </p15:clr>
        </p15:guide>
        <p15:guide id="30" pos="2146" userDrawn="1">
          <p15:clr>
            <a:srgbClr val="A4A3A4"/>
          </p15:clr>
        </p15:guide>
        <p15:guide id="31" pos="2145" userDrawn="1">
          <p15:clr>
            <a:srgbClr val="A4A3A4"/>
          </p15:clr>
        </p15:guide>
        <p15:guide id="32" pos="2147" userDrawn="1">
          <p15:clr>
            <a:srgbClr val="A4A3A4"/>
          </p15:clr>
        </p15:guide>
        <p15:guide id="33" orient="horz" pos="3198">
          <p15:clr>
            <a:srgbClr val="A4A3A4"/>
          </p15:clr>
        </p15:guide>
        <p15:guide id="34" orient="horz" pos="3197">
          <p15:clr>
            <a:srgbClr val="A4A3A4"/>
          </p15:clr>
        </p15:guide>
        <p15:guide id="35" orient="horz" pos="3200">
          <p15:clr>
            <a:srgbClr val="A4A3A4"/>
          </p15:clr>
        </p15:guide>
        <p15:guide id="36" orient="horz" pos="3149">
          <p15:clr>
            <a:srgbClr val="A4A3A4"/>
          </p15:clr>
        </p15:guide>
        <p15:guide id="37" orient="horz" pos="3154">
          <p15:clr>
            <a:srgbClr val="A4A3A4"/>
          </p15:clr>
        </p15:guide>
        <p15:guide id="38" orient="horz" pos="3155">
          <p15:clr>
            <a:srgbClr val="A4A3A4"/>
          </p15:clr>
        </p15:guide>
        <p15:guide id="39" orient="horz" pos="3148">
          <p15:clr>
            <a:srgbClr val="A4A3A4"/>
          </p15:clr>
        </p15:guide>
        <p15:guide id="40" orient="horz" pos="3175">
          <p15:clr>
            <a:srgbClr val="A4A3A4"/>
          </p15:clr>
        </p15:guide>
        <p15:guide id="41" orient="horz" pos="3174">
          <p15:clr>
            <a:srgbClr val="A4A3A4"/>
          </p15:clr>
        </p15:guide>
        <p15:guide id="42" orient="horz" pos="3177">
          <p15:clr>
            <a:srgbClr val="A4A3A4"/>
          </p15:clr>
        </p15:guide>
        <p15:guide id="43" orient="horz" pos="3124">
          <p15:clr>
            <a:srgbClr val="A4A3A4"/>
          </p15:clr>
        </p15:guide>
        <p15:guide id="44" orient="horz" pos="3131">
          <p15:clr>
            <a:srgbClr val="A4A3A4"/>
          </p15:clr>
        </p15:guide>
        <p15:guide id="45" orient="horz" pos="3132">
          <p15:clr>
            <a:srgbClr val="A4A3A4"/>
          </p15:clr>
        </p15:guide>
        <p15:guide id="46" orient="horz" pos="3123">
          <p15:clr>
            <a:srgbClr val="A4A3A4"/>
          </p15:clr>
        </p15:guide>
        <p15:guide id="47" orient="horz" pos="3130">
          <p15:clr>
            <a:srgbClr val="A4A3A4"/>
          </p15:clr>
        </p15:guide>
        <p15:guide id="48" pos="2206">
          <p15:clr>
            <a:srgbClr val="A4A3A4"/>
          </p15:clr>
        </p15:guide>
        <p15:guide id="49" pos="2205">
          <p15:clr>
            <a:srgbClr val="A4A3A4"/>
          </p15:clr>
        </p15:guide>
        <p15:guide id="50" pos="2207">
          <p15:clr>
            <a:srgbClr val="A4A3A4"/>
          </p15:clr>
        </p15:guide>
        <p15:guide id="51" pos="2165">
          <p15:clr>
            <a:srgbClr val="A4A3A4"/>
          </p15:clr>
        </p15:guide>
        <p15:guide id="52" pos="2164">
          <p15:clr>
            <a:srgbClr val="A4A3A4"/>
          </p15:clr>
        </p15:guide>
        <p15:guide id="53" pos="2166">
          <p15:clr>
            <a:srgbClr val="A4A3A4"/>
          </p15:clr>
        </p15:guide>
        <p15:guide id="54" pos="2182">
          <p15:clr>
            <a:srgbClr val="A4A3A4"/>
          </p15:clr>
        </p15:guide>
        <p15:guide id="55" pos="2181">
          <p15:clr>
            <a:srgbClr val="A4A3A4"/>
          </p15:clr>
        </p15:guide>
        <p15:guide id="56" pos="2183">
          <p15:clr>
            <a:srgbClr val="A4A3A4"/>
          </p15:clr>
        </p15:guide>
        <p15:guide id="57" pos="2142">
          <p15:clr>
            <a:srgbClr val="A4A3A4"/>
          </p15:clr>
        </p15:guide>
        <p15:guide id="58" pos="2141">
          <p15:clr>
            <a:srgbClr val="A4A3A4"/>
          </p15:clr>
        </p15:guide>
        <p15:guide id="59" pos="214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Алексей Никитченко" initials="АН" lastIdx="28" clrIdx="0"/>
  <p:cmAuthor id="1" name="Алексей" initials="А" lastIdx="6" clrIdx="1"/>
  <p:cmAuthor id="2" name="Лугачев" initials="ЕМ.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BF7"/>
    <a:srgbClr val="00519A"/>
    <a:srgbClr val="000000"/>
    <a:srgbClr val="A50021"/>
    <a:srgbClr val="FFC000"/>
    <a:srgbClr val="70AD47"/>
    <a:srgbClr val="86150C"/>
    <a:srgbClr val="9DC3E6"/>
    <a:srgbClr val="548235"/>
    <a:srgbClr val="FFD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01" autoAdjust="0"/>
    <p:restoredTop sz="97133" autoAdjust="0"/>
  </p:normalViewPr>
  <p:slideViewPr>
    <p:cSldViewPr snapToGrid="0">
      <p:cViewPr varScale="1">
        <p:scale>
          <a:sx n="112" d="100"/>
          <a:sy n="112" d="100"/>
        </p:scale>
        <p:origin x="1458" y="84"/>
      </p:cViewPr>
      <p:guideLst>
        <p:guide orient="horz" pos="3024"/>
        <p:guide pos="4032"/>
        <p:guide orient="horz" pos="2160"/>
        <p:guide pos="3120"/>
        <p:guide orient="horz" pos="2279"/>
        <p:guide orient="horz" pos="1823"/>
        <p:guide orient="horz" pos="633"/>
        <p:guide orient="horz" pos="3820"/>
        <p:guide pos="272"/>
        <p:guide pos="5996"/>
        <p:guide pos="437"/>
        <p:guide pos="3115"/>
        <p:guide pos="3202"/>
        <p:guide pos="58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50" d="100"/>
          <a:sy n="150" d="100"/>
        </p:scale>
        <p:origin x="-1062" y="1596"/>
      </p:cViewPr>
      <p:guideLst>
        <p:guide orient="horz" pos="3202"/>
        <p:guide pos="2210"/>
        <p:guide orient="horz" pos="3205"/>
        <p:guide pos="2209"/>
        <p:guide orient="horz" pos="3206"/>
        <p:guide pos="2211"/>
        <p:guide orient="horz" pos="3201"/>
        <p:guide orient="horz" pos="3204"/>
        <p:guide orient="horz" pos="3153"/>
        <p:guide orient="horz" pos="3158"/>
        <p:guide orient="horz" pos="3159"/>
        <p:guide orient="horz" pos="3152"/>
        <p:guide orient="horz" pos="3157"/>
        <p:guide pos="2169"/>
        <p:guide pos="2168"/>
        <p:guide pos="2170"/>
        <p:guide orient="horz" pos="3179"/>
        <p:guide orient="horz" pos="3182"/>
        <p:guide orient="horz" pos="3183"/>
        <p:guide orient="horz" pos="3178"/>
        <p:guide orient="horz" pos="3181"/>
        <p:guide orient="horz" pos="3128"/>
        <p:guide orient="horz" pos="3135"/>
        <p:guide orient="horz" pos="3136"/>
        <p:guide orient="horz" pos="3127"/>
        <p:guide orient="horz" pos="3134"/>
        <p:guide pos="2186"/>
        <p:guide pos="2185"/>
        <p:guide pos="2187"/>
        <p:guide pos="2146"/>
        <p:guide pos="2145"/>
        <p:guide pos="2147"/>
        <p:guide orient="horz" pos="3198"/>
        <p:guide orient="horz" pos="3197"/>
        <p:guide orient="horz" pos="3200"/>
        <p:guide orient="horz" pos="3149"/>
        <p:guide orient="horz" pos="3154"/>
        <p:guide orient="horz" pos="3155"/>
        <p:guide orient="horz" pos="3148"/>
        <p:guide orient="horz" pos="3175"/>
        <p:guide orient="horz" pos="3174"/>
        <p:guide orient="horz" pos="3177"/>
        <p:guide orient="horz" pos="3124"/>
        <p:guide orient="horz" pos="3131"/>
        <p:guide orient="horz" pos="3132"/>
        <p:guide orient="horz" pos="3123"/>
        <p:guide orient="horz" pos="3130"/>
        <p:guide pos="2206"/>
        <p:guide pos="2205"/>
        <p:guide pos="2207"/>
        <p:guide pos="2165"/>
        <p:guide pos="2164"/>
        <p:guide pos="2166"/>
        <p:guide pos="2182"/>
        <p:guide pos="2181"/>
        <p:guide pos="2183"/>
        <p:guide pos="2142"/>
        <p:guide pos="2141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13" Type="http://schemas.openxmlformats.org/officeDocument/2006/relationships/image" Target="../media/image30.emf"/><Relationship Id="rId3" Type="http://schemas.openxmlformats.org/officeDocument/2006/relationships/image" Target="../media/image20.emf"/><Relationship Id="rId7" Type="http://schemas.openxmlformats.org/officeDocument/2006/relationships/image" Target="../media/image24.emf"/><Relationship Id="rId12" Type="http://schemas.openxmlformats.org/officeDocument/2006/relationships/image" Target="../media/image29.emf"/><Relationship Id="rId2" Type="http://schemas.openxmlformats.org/officeDocument/2006/relationships/image" Target="../media/image19.emf"/><Relationship Id="rId1" Type="http://schemas.openxmlformats.org/officeDocument/2006/relationships/image" Target="../media/image18.emf"/><Relationship Id="rId6" Type="http://schemas.openxmlformats.org/officeDocument/2006/relationships/image" Target="../media/image23.emf"/><Relationship Id="rId11" Type="http://schemas.openxmlformats.org/officeDocument/2006/relationships/image" Target="../media/image28.emf"/><Relationship Id="rId5" Type="http://schemas.openxmlformats.org/officeDocument/2006/relationships/image" Target="../media/image22.emf"/><Relationship Id="rId10" Type="http://schemas.openxmlformats.org/officeDocument/2006/relationships/image" Target="../media/image27.emf"/><Relationship Id="rId4" Type="http://schemas.openxmlformats.org/officeDocument/2006/relationships/image" Target="../media/image21.emf"/><Relationship Id="rId9" Type="http://schemas.openxmlformats.org/officeDocument/2006/relationships/image" Target="../media/image2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9" y="3"/>
            <a:ext cx="2945658" cy="498137"/>
          </a:xfrm>
          <a:prstGeom prst="rect">
            <a:avLst/>
          </a:prstGeom>
        </p:spPr>
        <p:txBody>
          <a:bodyPr vert="horz" lIns="91379" tIns="45688" rIns="91379" bIns="4568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52" y="3"/>
            <a:ext cx="2945658" cy="498137"/>
          </a:xfrm>
          <a:prstGeom prst="rect">
            <a:avLst/>
          </a:prstGeom>
        </p:spPr>
        <p:txBody>
          <a:bodyPr vert="horz" lIns="91379" tIns="45688" rIns="91379" bIns="45688" rtlCol="0"/>
          <a:lstStyle>
            <a:lvl1pPr algn="r">
              <a:defRPr sz="1200"/>
            </a:lvl1pPr>
          </a:lstStyle>
          <a:p>
            <a:fld id="{A572E3B3-38DE-4604-895D-EC6302610E17}" type="datetimeFigureOut">
              <a:rPr lang="ru-RU" smtClean="0"/>
              <a:pPr/>
              <a:t>01.06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79" tIns="45688" rIns="91379" bIns="4568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68"/>
            <a:ext cx="5438140" cy="3909238"/>
          </a:xfrm>
          <a:prstGeom prst="rect">
            <a:avLst/>
          </a:prstGeom>
        </p:spPr>
        <p:txBody>
          <a:bodyPr vert="horz" lIns="91379" tIns="45688" rIns="91379" bIns="45688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9" y="9430098"/>
            <a:ext cx="2945658" cy="498136"/>
          </a:xfrm>
          <a:prstGeom prst="rect">
            <a:avLst/>
          </a:prstGeom>
        </p:spPr>
        <p:txBody>
          <a:bodyPr vert="horz" lIns="91379" tIns="45688" rIns="91379" bIns="4568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52" y="9430098"/>
            <a:ext cx="2945658" cy="498136"/>
          </a:xfrm>
          <a:prstGeom prst="rect">
            <a:avLst/>
          </a:prstGeom>
        </p:spPr>
        <p:txBody>
          <a:bodyPr vert="horz" lIns="91379" tIns="45688" rIns="91379" bIns="45688" rtlCol="0" anchor="b"/>
          <a:lstStyle>
            <a:lvl1pPr algn="r">
              <a:defRPr sz="1200"/>
            </a:lvl1pPr>
          </a:lstStyle>
          <a:p>
            <a:fld id="{E7B2312C-CE3C-4D4F-8502-26548C6B849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8279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7" algn="l" defTabSz="91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35" algn="l" defTabSz="91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53" algn="l" defTabSz="91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70" algn="l" defTabSz="91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88" algn="l" defTabSz="91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05" algn="l" defTabSz="91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23" algn="l" defTabSz="91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40" algn="l" defTabSz="91423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9561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73616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65954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24064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18449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64694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01860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438587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55819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24773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10328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33797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99125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85009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61019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93446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98527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BEA22E-2338-4D16-9332-C83857BB5E81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62093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>
            <a:normAutofit/>
          </a:bodyPr>
          <a:lstStyle>
            <a:lvl1pPr algn="ctr">
              <a:defRPr sz="33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100"/>
            </a:lvl1pPr>
            <a:lvl2pPr marL="478908" indent="0" algn="ctr">
              <a:buNone/>
              <a:defRPr sz="2100"/>
            </a:lvl2pPr>
            <a:lvl3pPr marL="957816" indent="0" algn="ctr">
              <a:buNone/>
              <a:defRPr sz="1900"/>
            </a:lvl3pPr>
            <a:lvl4pPr marL="1436724" indent="0" algn="ctr">
              <a:buNone/>
              <a:defRPr sz="1700"/>
            </a:lvl4pPr>
            <a:lvl5pPr marL="1915631" indent="0" algn="ctr">
              <a:buNone/>
              <a:defRPr sz="1700"/>
            </a:lvl5pPr>
            <a:lvl6pPr marL="2394539" indent="0" algn="ctr">
              <a:buNone/>
              <a:defRPr sz="1700"/>
            </a:lvl6pPr>
            <a:lvl7pPr marL="2873447" indent="0" algn="ctr">
              <a:buNone/>
              <a:defRPr sz="1700"/>
            </a:lvl7pPr>
            <a:lvl8pPr marL="3352355" indent="0" algn="ctr">
              <a:buNone/>
              <a:defRPr sz="1700"/>
            </a:lvl8pPr>
            <a:lvl9pPr marL="3831263" indent="0" algn="ctr">
              <a:buNone/>
              <a:defRPr sz="17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AD37C3-3089-4F86-82CA-C53553B64984}" type="datetime1">
              <a:rPr lang="ru-RU" smtClean="0"/>
              <a:pPr/>
              <a:t>01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424543" y="633392"/>
            <a:ext cx="9056914" cy="295289"/>
          </a:xfrm>
          <a:prstGeom prst="rect">
            <a:avLst/>
          </a:prstGeom>
        </p:spPr>
        <p:txBody>
          <a:bodyPr vert="horz" lIns="68415" tIns="34208" rIns="68415" bIns="34208" rtlCol="0" anchor="ctr"/>
          <a:lstStyle>
            <a:defPPr>
              <a:defRPr lang="ru-RU"/>
            </a:defPPr>
            <a:lvl1pPr marL="0" algn="ctr" defTabSz="1221913" rtl="0" eaLnBrk="1" latinLnBrk="0" hangingPunct="1">
              <a:defRPr sz="900" kern="12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610956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21913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32869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4382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54782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65738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7669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7651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spc="224" dirty="0" smtClean="0">
                <a:solidFill>
                  <a:schemeClr val="accent5">
                    <a:lumMod val="75000"/>
                  </a:schemeClr>
                </a:solidFill>
              </a:rPr>
              <a:t>МИНИСТЕРСТВО РОССИЙСКОЙ ФЕДЕРАЦИИ ПО РАЗВИТИЮ ДАЛЬНЕГО ВОСТОКА</a:t>
            </a:r>
            <a:endParaRPr lang="ru-RU" sz="800" spc="224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763" y="6434164"/>
            <a:ext cx="815466" cy="20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175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5A1AFA-BF04-4C0C-9AC7-08AA72B3748B}" type="datetime1">
              <a:rPr lang="ru-RU" smtClean="0"/>
              <a:pPr/>
              <a:t>01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8945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3" y="365125"/>
            <a:ext cx="2135981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9" y="365125"/>
            <a:ext cx="6284119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D40AA1-5C9B-4C3E-9DFD-F082026547E6}" type="datetime1">
              <a:rPr lang="ru-RU" smtClean="0"/>
              <a:pPr/>
              <a:t>01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31695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095067"/>
            <a:ext cx="8420100" cy="2387600"/>
          </a:xfrm>
        </p:spPr>
        <p:txBody>
          <a:bodyPr anchor="b">
            <a:normAutofit/>
          </a:bodyPr>
          <a:lstStyle>
            <a:lvl1pPr algn="ctr">
              <a:defRPr sz="33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100"/>
            </a:lvl1pPr>
            <a:lvl2pPr marL="478908" indent="0" algn="ctr">
              <a:buNone/>
              <a:defRPr sz="2100"/>
            </a:lvl2pPr>
            <a:lvl3pPr marL="957816" indent="0" algn="ctr">
              <a:buNone/>
              <a:defRPr sz="1900"/>
            </a:lvl3pPr>
            <a:lvl4pPr marL="1436724" indent="0" algn="ctr">
              <a:buNone/>
              <a:defRPr sz="1700"/>
            </a:lvl4pPr>
            <a:lvl5pPr marL="1915631" indent="0" algn="ctr">
              <a:buNone/>
              <a:defRPr sz="1700"/>
            </a:lvl5pPr>
            <a:lvl6pPr marL="2394539" indent="0" algn="ctr">
              <a:buNone/>
              <a:defRPr sz="1700"/>
            </a:lvl6pPr>
            <a:lvl7pPr marL="2873447" indent="0" algn="ctr">
              <a:buNone/>
              <a:defRPr sz="1700"/>
            </a:lvl7pPr>
            <a:lvl8pPr marL="3352355" indent="0" algn="ctr">
              <a:buNone/>
              <a:defRPr sz="1700"/>
            </a:lvl8pPr>
            <a:lvl9pPr marL="3831263" indent="0" algn="ctr">
              <a:buNone/>
              <a:defRPr sz="1700"/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A97731-0928-49F3-BFD9-E4FCFF35E10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1.06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424543" y="633392"/>
            <a:ext cx="9056914" cy="295289"/>
          </a:xfrm>
          <a:prstGeom prst="rect">
            <a:avLst/>
          </a:prstGeom>
        </p:spPr>
        <p:txBody>
          <a:bodyPr vert="horz" lIns="68415" tIns="34208" rIns="68415" bIns="34208" rtlCol="0" anchor="ctr"/>
          <a:lstStyle>
            <a:defPPr>
              <a:defRPr lang="ru-RU"/>
            </a:defPPr>
            <a:lvl1pPr marL="0" algn="ctr" defTabSz="1221913" rtl="0" eaLnBrk="1" latinLnBrk="0" hangingPunct="1">
              <a:defRPr sz="900" kern="12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610956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21913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32869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4382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54782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65738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7669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7651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spc="224" dirty="0" smtClean="0">
                <a:solidFill>
                  <a:srgbClr val="4472C4">
                    <a:lumMod val="75000"/>
                  </a:srgbClr>
                </a:solidFill>
              </a:rPr>
              <a:t>МИНИСТЕРСТВО РОССИЙСКОЙ ФЕДЕРАЦИИ ПО РАЗВИТИЮ ДАЛЬНЕГО ВОСТОКА</a:t>
            </a:r>
            <a:endParaRPr lang="ru-RU" sz="1400" spc="224" dirty="0">
              <a:solidFill>
                <a:srgbClr val="4472C4">
                  <a:lumMod val="75000"/>
                </a:srgb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1643" y="6422400"/>
            <a:ext cx="1401278" cy="360000"/>
          </a:xfrm>
          <a:prstGeom prst="rect">
            <a:avLst/>
          </a:prstGeom>
        </p:spPr>
      </p:pic>
      <p:pic>
        <p:nvPicPr>
          <p:cNvPr id="9" name="Рисунок 8" descr="Картинка 3 из 451"/>
          <p:cNvPicPr>
            <a:picLocks noChangeAspect="1"/>
          </p:cNvPicPr>
          <p:nvPr userDrawn="1"/>
        </p:nvPicPr>
        <p:blipFill>
          <a:blip r:embed="rId3" cstate="print"/>
          <a:srcRect t="12598" b="7087"/>
          <a:stretch>
            <a:fillRect/>
          </a:stretch>
        </p:blipFill>
        <p:spPr bwMode="auto">
          <a:xfrm>
            <a:off x="742153" y="6422400"/>
            <a:ext cx="1044705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73003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435510" y="15963"/>
            <a:ext cx="2228850" cy="128336"/>
          </a:xfrm>
        </p:spPr>
        <p:txBody>
          <a:bodyPr/>
          <a:lstStyle>
            <a:lvl1pPr algn="r">
              <a:defRPr/>
            </a:lvl1pPr>
          </a:lstStyle>
          <a:p>
            <a:fld id="{ED3883F3-755B-413D-82D9-018E2D7FC9E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1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197" y="82443"/>
            <a:ext cx="863157" cy="221752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 userDrawn="1"/>
        </p:nvCxnSpPr>
        <p:spPr>
          <a:xfrm>
            <a:off x="422578" y="828532"/>
            <a:ext cx="9060845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 descr="Картинка 3 из 451"/>
          <p:cNvPicPr>
            <a:picLocks noChangeAspect="1"/>
          </p:cNvPicPr>
          <p:nvPr userDrawn="1"/>
        </p:nvPicPr>
        <p:blipFill>
          <a:blip r:embed="rId3" cstate="print"/>
          <a:srcRect t="12598" b="7087"/>
          <a:stretch>
            <a:fillRect/>
          </a:stretch>
        </p:blipFill>
        <p:spPr bwMode="auto">
          <a:xfrm>
            <a:off x="9149176" y="82800"/>
            <a:ext cx="647717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02164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3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500">
                <a:solidFill>
                  <a:schemeClr val="tx1"/>
                </a:solidFill>
              </a:defRPr>
            </a:lvl1pPr>
            <a:lvl2pPr marL="47890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5781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43672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1915631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394539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287344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352355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3831263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13E1AE-07FA-468B-8D76-4CCE69642E0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1.06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0727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FB814F-B57C-410F-AABF-45549639DC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1.06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3267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7" y="365126"/>
            <a:ext cx="8543925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8908" indent="0">
              <a:buNone/>
              <a:defRPr sz="2100" b="1"/>
            </a:lvl2pPr>
            <a:lvl3pPr marL="957816" indent="0">
              <a:buNone/>
              <a:defRPr sz="1900" b="1"/>
            </a:lvl3pPr>
            <a:lvl4pPr marL="1436724" indent="0">
              <a:buNone/>
              <a:defRPr sz="1700" b="1"/>
            </a:lvl4pPr>
            <a:lvl5pPr marL="1915631" indent="0">
              <a:buNone/>
              <a:defRPr sz="1700" b="1"/>
            </a:lvl5pPr>
            <a:lvl6pPr marL="2394539" indent="0">
              <a:buNone/>
              <a:defRPr sz="1700" b="1"/>
            </a:lvl6pPr>
            <a:lvl7pPr marL="2873447" indent="0">
              <a:buNone/>
              <a:defRPr sz="1700" b="1"/>
            </a:lvl7pPr>
            <a:lvl8pPr marL="3352355" indent="0">
              <a:buNone/>
              <a:defRPr sz="1700" b="1"/>
            </a:lvl8pPr>
            <a:lvl9pPr marL="3831263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4" y="1681163"/>
            <a:ext cx="4211340" cy="82391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8908" indent="0">
              <a:buNone/>
              <a:defRPr sz="2100" b="1"/>
            </a:lvl2pPr>
            <a:lvl3pPr marL="957816" indent="0">
              <a:buNone/>
              <a:defRPr sz="1900" b="1"/>
            </a:lvl3pPr>
            <a:lvl4pPr marL="1436724" indent="0">
              <a:buNone/>
              <a:defRPr sz="1700" b="1"/>
            </a:lvl4pPr>
            <a:lvl5pPr marL="1915631" indent="0">
              <a:buNone/>
              <a:defRPr sz="1700" b="1"/>
            </a:lvl5pPr>
            <a:lvl6pPr marL="2394539" indent="0">
              <a:buNone/>
              <a:defRPr sz="1700" b="1"/>
            </a:lvl6pPr>
            <a:lvl7pPr marL="2873447" indent="0">
              <a:buNone/>
              <a:defRPr sz="1700" b="1"/>
            </a:lvl7pPr>
            <a:lvl8pPr marL="3352355" indent="0">
              <a:buNone/>
              <a:defRPr sz="1700" b="1"/>
            </a:lvl8pPr>
            <a:lvl9pPr marL="3831263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4" y="2505075"/>
            <a:ext cx="4211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930F3C-9E0D-4715-B3F1-F3CEE919EE8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1.06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44590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FD6DCF-CA3C-47B5-8D7E-60EBADCC327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1.06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3940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43A72A-006F-4CB2-A05F-5C3D96C2938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1.06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197" y="82443"/>
            <a:ext cx="863157" cy="221752"/>
          </a:xfrm>
          <a:prstGeom prst="rect">
            <a:avLst/>
          </a:prstGeom>
        </p:spPr>
      </p:pic>
      <p:pic>
        <p:nvPicPr>
          <p:cNvPr id="7" name="Рисунок 6" descr="Картинка 3 из 451"/>
          <p:cNvPicPr>
            <a:picLocks noChangeAspect="1"/>
          </p:cNvPicPr>
          <p:nvPr userDrawn="1"/>
        </p:nvPicPr>
        <p:blipFill>
          <a:blip r:embed="rId3" cstate="print"/>
          <a:srcRect t="12598" b="7087"/>
          <a:stretch>
            <a:fillRect/>
          </a:stretch>
        </p:blipFill>
        <p:spPr bwMode="auto">
          <a:xfrm>
            <a:off x="9147600" y="82800"/>
            <a:ext cx="647717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600861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700"/>
            </a:lvl1pPr>
            <a:lvl2pPr marL="478908" indent="0">
              <a:buNone/>
              <a:defRPr sz="1500"/>
            </a:lvl2pPr>
            <a:lvl3pPr marL="957816" indent="0">
              <a:buNone/>
              <a:defRPr sz="1300"/>
            </a:lvl3pPr>
            <a:lvl4pPr marL="1436724" indent="0">
              <a:buNone/>
              <a:defRPr sz="1000"/>
            </a:lvl4pPr>
            <a:lvl5pPr marL="1915631" indent="0">
              <a:buNone/>
              <a:defRPr sz="1000"/>
            </a:lvl5pPr>
            <a:lvl6pPr marL="2394539" indent="0">
              <a:buNone/>
              <a:defRPr sz="1000"/>
            </a:lvl6pPr>
            <a:lvl7pPr marL="2873447" indent="0">
              <a:buNone/>
              <a:defRPr sz="1000"/>
            </a:lvl7pPr>
            <a:lvl8pPr marL="3352355" indent="0">
              <a:buNone/>
              <a:defRPr sz="1000"/>
            </a:lvl8pPr>
            <a:lvl9pPr marL="383126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F92CA3-3464-4E76-86FA-7767F622A1E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1.06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837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435510" y="15963"/>
            <a:ext cx="2228850" cy="128336"/>
          </a:xfrm>
        </p:spPr>
        <p:txBody>
          <a:bodyPr/>
          <a:lstStyle>
            <a:lvl1pPr algn="r">
              <a:defRPr/>
            </a:lvl1pPr>
          </a:lstStyle>
          <a:p>
            <a:fld id="{96080506-56D3-4ABF-A516-E55676870055}" type="datetime1">
              <a:rPr lang="ru-RU" smtClean="0"/>
              <a:pPr/>
              <a:t>01.06.2017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197" y="82443"/>
            <a:ext cx="863157" cy="221752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 userDrawn="1"/>
        </p:nvCxnSpPr>
        <p:spPr>
          <a:xfrm>
            <a:off x="422578" y="828532"/>
            <a:ext cx="9060845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 descr="Картинка 3 из 451"/>
          <p:cNvPicPr>
            <a:picLocks noChangeAspect="1"/>
          </p:cNvPicPr>
          <p:nvPr userDrawn="1"/>
        </p:nvPicPr>
        <p:blipFill>
          <a:blip r:embed="rId3" cstate="print"/>
          <a:srcRect t="12598" b="7087"/>
          <a:stretch>
            <a:fillRect/>
          </a:stretch>
        </p:blipFill>
        <p:spPr bwMode="auto">
          <a:xfrm>
            <a:off x="9147600" y="82800"/>
            <a:ext cx="647717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23262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400"/>
            </a:lvl1pPr>
            <a:lvl2pPr marL="478908" indent="0">
              <a:buNone/>
              <a:defRPr sz="2900"/>
            </a:lvl2pPr>
            <a:lvl3pPr marL="957816" indent="0">
              <a:buNone/>
              <a:defRPr sz="2500"/>
            </a:lvl3pPr>
            <a:lvl4pPr marL="1436724" indent="0">
              <a:buNone/>
              <a:defRPr sz="2100"/>
            </a:lvl4pPr>
            <a:lvl5pPr marL="1915631" indent="0">
              <a:buNone/>
              <a:defRPr sz="2100"/>
            </a:lvl5pPr>
            <a:lvl6pPr marL="2394539" indent="0">
              <a:buNone/>
              <a:defRPr sz="2100"/>
            </a:lvl6pPr>
            <a:lvl7pPr marL="2873447" indent="0">
              <a:buNone/>
              <a:defRPr sz="2100"/>
            </a:lvl7pPr>
            <a:lvl8pPr marL="3352355" indent="0">
              <a:buNone/>
              <a:defRPr sz="2100"/>
            </a:lvl8pPr>
            <a:lvl9pPr marL="3831263" indent="0">
              <a:buNone/>
              <a:defRPr sz="21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700"/>
            </a:lvl1pPr>
            <a:lvl2pPr marL="478908" indent="0">
              <a:buNone/>
              <a:defRPr sz="1500"/>
            </a:lvl2pPr>
            <a:lvl3pPr marL="957816" indent="0">
              <a:buNone/>
              <a:defRPr sz="1300"/>
            </a:lvl3pPr>
            <a:lvl4pPr marL="1436724" indent="0">
              <a:buNone/>
              <a:defRPr sz="1000"/>
            </a:lvl4pPr>
            <a:lvl5pPr marL="1915631" indent="0">
              <a:buNone/>
              <a:defRPr sz="1000"/>
            </a:lvl5pPr>
            <a:lvl6pPr marL="2394539" indent="0">
              <a:buNone/>
              <a:defRPr sz="1000"/>
            </a:lvl6pPr>
            <a:lvl7pPr marL="2873447" indent="0">
              <a:buNone/>
              <a:defRPr sz="1000"/>
            </a:lvl7pPr>
            <a:lvl8pPr marL="3352355" indent="0">
              <a:buNone/>
              <a:defRPr sz="1000"/>
            </a:lvl8pPr>
            <a:lvl9pPr marL="383126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2357F9-46E6-4F8B-A156-19DF01ACAE5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1.06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0593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F4AA9-7774-4314-B369-E571CC90EBC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1.06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9823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3" y="365125"/>
            <a:ext cx="2135981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9" y="365125"/>
            <a:ext cx="6284119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04815-D9F0-4E04-A5FA-331D1EF6C11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1.06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3055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3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500">
                <a:solidFill>
                  <a:schemeClr val="tx1"/>
                </a:solidFill>
              </a:defRPr>
            </a:lvl1pPr>
            <a:lvl2pPr marL="47890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5781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43672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1915631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394539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2873447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352355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3831263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0000AF-C929-4E27-8003-2915ED652941}" type="datetime1">
              <a:rPr lang="ru-RU" smtClean="0"/>
              <a:pPr/>
              <a:t>01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50195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02159E-2C46-4299-A408-5709F92C4ED8}" type="datetime1">
              <a:rPr lang="ru-RU" smtClean="0"/>
              <a:pPr/>
              <a:t>01.06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83170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7" y="365126"/>
            <a:ext cx="8543925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8908" indent="0">
              <a:buNone/>
              <a:defRPr sz="2100" b="1"/>
            </a:lvl2pPr>
            <a:lvl3pPr marL="957816" indent="0">
              <a:buNone/>
              <a:defRPr sz="1900" b="1"/>
            </a:lvl3pPr>
            <a:lvl4pPr marL="1436724" indent="0">
              <a:buNone/>
              <a:defRPr sz="1700" b="1"/>
            </a:lvl4pPr>
            <a:lvl5pPr marL="1915631" indent="0">
              <a:buNone/>
              <a:defRPr sz="1700" b="1"/>
            </a:lvl5pPr>
            <a:lvl6pPr marL="2394539" indent="0">
              <a:buNone/>
              <a:defRPr sz="1700" b="1"/>
            </a:lvl6pPr>
            <a:lvl7pPr marL="2873447" indent="0">
              <a:buNone/>
              <a:defRPr sz="1700" b="1"/>
            </a:lvl7pPr>
            <a:lvl8pPr marL="3352355" indent="0">
              <a:buNone/>
              <a:defRPr sz="1700" b="1"/>
            </a:lvl8pPr>
            <a:lvl9pPr marL="3831263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4" y="1681163"/>
            <a:ext cx="4211340" cy="82391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8908" indent="0">
              <a:buNone/>
              <a:defRPr sz="2100" b="1"/>
            </a:lvl2pPr>
            <a:lvl3pPr marL="957816" indent="0">
              <a:buNone/>
              <a:defRPr sz="1900" b="1"/>
            </a:lvl3pPr>
            <a:lvl4pPr marL="1436724" indent="0">
              <a:buNone/>
              <a:defRPr sz="1700" b="1"/>
            </a:lvl4pPr>
            <a:lvl5pPr marL="1915631" indent="0">
              <a:buNone/>
              <a:defRPr sz="1700" b="1"/>
            </a:lvl5pPr>
            <a:lvl6pPr marL="2394539" indent="0">
              <a:buNone/>
              <a:defRPr sz="1700" b="1"/>
            </a:lvl6pPr>
            <a:lvl7pPr marL="2873447" indent="0">
              <a:buNone/>
              <a:defRPr sz="1700" b="1"/>
            </a:lvl7pPr>
            <a:lvl8pPr marL="3352355" indent="0">
              <a:buNone/>
              <a:defRPr sz="1700" b="1"/>
            </a:lvl8pPr>
            <a:lvl9pPr marL="3831263" indent="0">
              <a:buNone/>
              <a:defRPr sz="17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4" y="2505075"/>
            <a:ext cx="4211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95FC2-243B-492A-A929-7939D9FA3E5D}" type="datetime1">
              <a:rPr lang="ru-RU" smtClean="0"/>
              <a:pPr/>
              <a:t>01.06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79897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CA46F-2064-44E3-B0F5-BAB3E6CBD1E6}" type="datetime1">
              <a:rPr lang="ru-RU" smtClean="0"/>
              <a:pPr/>
              <a:t>01.06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01989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1EC48A-3A85-4ED8-9015-657C6DE090D4}" type="datetime1">
              <a:rPr lang="ru-RU" smtClean="0"/>
              <a:pPr/>
              <a:t>01.06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63538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700"/>
            </a:lvl1pPr>
            <a:lvl2pPr marL="478908" indent="0">
              <a:buNone/>
              <a:defRPr sz="1500"/>
            </a:lvl2pPr>
            <a:lvl3pPr marL="957816" indent="0">
              <a:buNone/>
              <a:defRPr sz="1300"/>
            </a:lvl3pPr>
            <a:lvl4pPr marL="1436724" indent="0">
              <a:buNone/>
              <a:defRPr sz="1000"/>
            </a:lvl4pPr>
            <a:lvl5pPr marL="1915631" indent="0">
              <a:buNone/>
              <a:defRPr sz="1000"/>
            </a:lvl5pPr>
            <a:lvl6pPr marL="2394539" indent="0">
              <a:buNone/>
              <a:defRPr sz="1000"/>
            </a:lvl6pPr>
            <a:lvl7pPr marL="2873447" indent="0">
              <a:buNone/>
              <a:defRPr sz="1000"/>
            </a:lvl7pPr>
            <a:lvl8pPr marL="3352355" indent="0">
              <a:buNone/>
              <a:defRPr sz="1000"/>
            </a:lvl8pPr>
            <a:lvl9pPr marL="383126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46EEB-71BD-42D9-8E05-0474FE893452}" type="datetime1">
              <a:rPr lang="ru-RU" smtClean="0"/>
              <a:pPr/>
              <a:t>01.06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63032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400"/>
            </a:lvl1pPr>
            <a:lvl2pPr marL="478908" indent="0">
              <a:buNone/>
              <a:defRPr sz="2900"/>
            </a:lvl2pPr>
            <a:lvl3pPr marL="957816" indent="0">
              <a:buNone/>
              <a:defRPr sz="2500"/>
            </a:lvl3pPr>
            <a:lvl4pPr marL="1436724" indent="0">
              <a:buNone/>
              <a:defRPr sz="2100"/>
            </a:lvl4pPr>
            <a:lvl5pPr marL="1915631" indent="0">
              <a:buNone/>
              <a:defRPr sz="2100"/>
            </a:lvl5pPr>
            <a:lvl6pPr marL="2394539" indent="0">
              <a:buNone/>
              <a:defRPr sz="2100"/>
            </a:lvl6pPr>
            <a:lvl7pPr marL="2873447" indent="0">
              <a:buNone/>
              <a:defRPr sz="2100"/>
            </a:lvl7pPr>
            <a:lvl8pPr marL="3352355" indent="0">
              <a:buNone/>
              <a:defRPr sz="2100"/>
            </a:lvl8pPr>
            <a:lvl9pPr marL="3831263" indent="0">
              <a:buNone/>
              <a:defRPr sz="21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700"/>
            </a:lvl1pPr>
            <a:lvl2pPr marL="478908" indent="0">
              <a:buNone/>
              <a:defRPr sz="1500"/>
            </a:lvl2pPr>
            <a:lvl3pPr marL="957816" indent="0">
              <a:buNone/>
              <a:defRPr sz="1300"/>
            </a:lvl3pPr>
            <a:lvl4pPr marL="1436724" indent="0">
              <a:buNone/>
              <a:defRPr sz="1000"/>
            </a:lvl4pPr>
            <a:lvl5pPr marL="1915631" indent="0">
              <a:buNone/>
              <a:defRPr sz="1000"/>
            </a:lvl5pPr>
            <a:lvl6pPr marL="2394539" indent="0">
              <a:buNone/>
              <a:defRPr sz="1000"/>
            </a:lvl6pPr>
            <a:lvl7pPr marL="2873447" indent="0">
              <a:buNone/>
              <a:defRPr sz="1000"/>
            </a:lvl7pPr>
            <a:lvl8pPr marL="3352355" indent="0">
              <a:buNone/>
              <a:defRPr sz="1000"/>
            </a:lvl8pPr>
            <a:lvl9pPr marL="383126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280D9-331F-49DD-8813-6C9F57276CE2}" type="datetime1">
              <a:rPr lang="ru-RU" smtClean="0"/>
              <a:pPr/>
              <a:t>01.06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1331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577" y="187193"/>
            <a:ext cx="9051651" cy="625036"/>
          </a:xfrm>
          <a:prstGeom prst="rect">
            <a:avLst/>
          </a:prstGeom>
        </p:spPr>
        <p:txBody>
          <a:bodyPr vert="horz" lIns="68415" tIns="34208" rIns="68415" bIns="34208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577" y="1073481"/>
            <a:ext cx="9058880" cy="5103482"/>
          </a:xfrm>
          <a:prstGeom prst="rect">
            <a:avLst/>
          </a:prstGeom>
        </p:spPr>
        <p:txBody>
          <a:bodyPr vert="horz" lIns="68415" tIns="34208" rIns="68415" bIns="34208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16883" y="15963"/>
            <a:ext cx="2228850" cy="128336"/>
          </a:xfrm>
          <a:prstGeom prst="rect">
            <a:avLst/>
          </a:prstGeom>
        </p:spPr>
        <p:txBody>
          <a:bodyPr vert="horz" lIns="68415" tIns="34208" rIns="68415" bIns="34208" rtlCol="0" anchor="ctr"/>
          <a:lstStyle>
            <a:lvl1pPr algn="r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ABA224-ECD5-4B93-A5AB-470BEB02FF20}" type="datetime1">
              <a:rPr lang="ru-RU" smtClean="0"/>
              <a:pPr/>
              <a:t>01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2577" y="0"/>
            <a:ext cx="9058880" cy="173568"/>
          </a:xfrm>
          <a:prstGeom prst="rect">
            <a:avLst/>
          </a:prstGeom>
        </p:spPr>
        <p:txBody>
          <a:bodyPr vert="horz" lIns="68415" tIns="34208" rIns="68415" bIns="34208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328" y="6599781"/>
            <a:ext cx="1626089" cy="250624"/>
          </a:xfrm>
          <a:prstGeom prst="rect">
            <a:avLst/>
          </a:prstGeom>
        </p:spPr>
        <p:txBody>
          <a:bodyPr vert="horz" lIns="68415" tIns="34208" rIns="68415" bIns="3420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D9BBBD-F0FB-4A84-8F1D-95982A81857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8649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57816" rtl="0" eaLnBrk="1" latinLnBrk="0" hangingPunct="1">
        <a:lnSpc>
          <a:spcPct val="90000"/>
        </a:lnSpc>
        <a:spcBef>
          <a:spcPct val="0"/>
        </a:spcBef>
        <a:buNone/>
        <a:defRPr lang="en-US" sz="2500" b="1" kern="1200" spc="75" dirty="0">
          <a:solidFill>
            <a:schemeClr val="accent5">
              <a:lumMod val="50000"/>
            </a:schemeClr>
          </a:solidFill>
          <a:latin typeface="Arial Narrow" pitchFamily="34" charset="0"/>
          <a:ea typeface="+mj-ea"/>
          <a:cs typeface="Segoe UI" pitchFamily="34" charset="0"/>
        </a:defRPr>
      </a:lvl1pPr>
    </p:titleStyle>
    <p:bodyStyle>
      <a:lvl1pPr marL="239454" indent="-239454" algn="l" defTabSz="957816" rtl="0" eaLnBrk="1" latinLnBrk="0" hangingPunct="1">
        <a:lnSpc>
          <a:spcPct val="90000"/>
        </a:lnSpc>
        <a:spcBef>
          <a:spcPts val="1047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18362" indent="-239454" algn="l" defTabSz="957816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2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97270" indent="-239454" algn="l" defTabSz="957816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76177" indent="-239454" algn="l" defTabSz="957816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155085" indent="-239454" algn="l" defTabSz="957816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633993" indent="-239454" algn="l" defTabSz="957816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12901" indent="-239454" algn="l" defTabSz="957816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809" indent="-239454" algn="l" defTabSz="957816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717" indent="-239454" algn="l" defTabSz="957816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08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816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724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631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39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447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355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263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577" y="187193"/>
            <a:ext cx="9051651" cy="625036"/>
          </a:xfrm>
          <a:prstGeom prst="rect">
            <a:avLst/>
          </a:prstGeom>
        </p:spPr>
        <p:txBody>
          <a:bodyPr vert="horz" lIns="68415" tIns="34208" rIns="68415" bIns="34208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577" y="1073481"/>
            <a:ext cx="9058880" cy="5103482"/>
          </a:xfrm>
          <a:prstGeom prst="rect">
            <a:avLst/>
          </a:prstGeom>
        </p:spPr>
        <p:txBody>
          <a:bodyPr vert="horz" lIns="68415" tIns="34208" rIns="68415" bIns="34208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16883" y="15963"/>
            <a:ext cx="2228850" cy="128336"/>
          </a:xfrm>
          <a:prstGeom prst="rect">
            <a:avLst/>
          </a:prstGeom>
        </p:spPr>
        <p:txBody>
          <a:bodyPr vert="horz" lIns="68415" tIns="34208" rIns="68415" bIns="34208" rtlCol="0" anchor="ctr"/>
          <a:lstStyle>
            <a:lvl1pPr algn="r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1FC301-3F4D-4673-847D-DF42326E021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1.06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2577" y="0"/>
            <a:ext cx="9058880" cy="173568"/>
          </a:xfrm>
          <a:prstGeom prst="rect">
            <a:avLst/>
          </a:prstGeom>
        </p:spPr>
        <p:txBody>
          <a:bodyPr vert="horz" lIns="68415" tIns="34208" rIns="68415" bIns="34208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44328" y="6599781"/>
            <a:ext cx="1626089" cy="250624"/>
          </a:xfrm>
          <a:prstGeom prst="rect">
            <a:avLst/>
          </a:prstGeom>
        </p:spPr>
        <p:txBody>
          <a:bodyPr vert="horz" lIns="68415" tIns="34208" rIns="68415" bIns="3420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553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57816" rtl="0" eaLnBrk="1" latinLnBrk="0" hangingPunct="1">
        <a:lnSpc>
          <a:spcPct val="90000"/>
        </a:lnSpc>
        <a:spcBef>
          <a:spcPct val="0"/>
        </a:spcBef>
        <a:buNone/>
        <a:defRPr lang="en-US" sz="2500" b="1" kern="1200" spc="75" dirty="0">
          <a:solidFill>
            <a:schemeClr val="accent5">
              <a:lumMod val="50000"/>
            </a:schemeClr>
          </a:solidFill>
          <a:latin typeface="Arial Narrow" pitchFamily="34" charset="0"/>
          <a:ea typeface="+mj-ea"/>
          <a:cs typeface="Segoe UI" pitchFamily="34" charset="0"/>
        </a:defRPr>
      </a:lvl1pPr>
    </p:titleStyle>
    <p:bodyStyle>
      <a:lvl1pPr marL="239454" indent="-239454" algn="l" defTabSz="957816" rtl="0" eaLnBrk="1" latinLnBrk="0" hangingPunct="1">
        <a:lnSpc>
          <a:spcPct val="90000"/>
        </a:lnSpc>
        <a:spcBef>
          <a:spcPts val="1047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18362" indent="-239454" algn="l" defTabSz="957816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2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97270" indent="-239454" algn="l" defTabSz="957816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76177" indent="-239454" algn="l" defTabSz="957816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155085" indent="-239454" algn="l" defTabSz="957816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633993" indent="-239454" algn="l" defTabSz="957816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12901" indent="-239454" algn="l" defTabSz="957816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809" indent="-239454" algn="l" defTabSz="957816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717" indent="-239454" algn="l" defTabSz="957816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08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816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724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631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39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447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355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263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tags" Target="../tags/tag162.xml"/><Relationship Id="rId18" Type="http://schemas.openxmlformats.org/officeDocument/2006/relationships/image" Target="../media/image39.png"/><Relationship Id="rId3" Type="http://schemas.openxmlformats.org/officeDocument/2006/relationships/tags" Target="../tags/tag152.xml"/><Relationship Id="rId21" Type="http://schemas.openxmlformats.org/officeDocument/2006/relationships/image" Target="../media/image41.png"/><Relationship Id="rId7" Type="http://schemas.openxmlformats.org/officeDocument/2006/relationships/tags" Target="../tags/tag156.xml"/><Relationship Id="rId12" Type="http://schemas.openxmlformats.org/officeDocument/2006/relationships/tags" Target="../tags/tag161.xml"/><Relationship Id="rId17" Type="http://schemas.openxmlformats.org/officeDocument/2006/relationships/image" Target="../media/image38.png"/><Relationship Id="rId2" Type="http://schemas.openxmlformats.org/officeDocument/2006/relationships/tags" Target="../tags/tag151.xml"/><Relationship Id="rId16" Type="http://schemas.openxmlformats.org/officeDocument/2006/relationships/notesSlide" Target="../notesSlides/notesSlide10.xml"/><Relationship Id="rId20" Type="http://schemas.openxmlformats.org/officeDocument/2006/relationships/image" Target="../media/image45.png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11" Type="http://schemas.openxmlformats.org/officeDocument/2006/relationships/tags" Target="../tags/tag160.xml"/><Relationship Id="rId24" Type="http://schemas.openxmlformats.org/officeDocument/2006/relationships/image" Target="../media/image32.png"/><Relationship Id="rId5" Type="http://schemas.openxmlformats.org/officeDocument/2006/relationships/tags" Target="../tags/tag154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31.png"/><Relationship Id="rId10" Type="http://schemas.openxmlformats.org/officeDocument/2006/relationships/tags" Target="../tags/tag159.xml"/><Relationship Id="rId19" Type="http://schemas.openxmlformats.org/officeDocument/2006/relationships/image" Target="../media/image44.png"/><Relationship Id="rId4" Type="http://schemas.openxmlformats.org/officeDocument/2006/relationships/tags" Target="../tags/tag153.xml"/><Relationship Id="rId9" Type="http://schemas.openxmlformats.org/officeDocument/2006/relationships/tags" Target="../tags/tag158.xml"/><Relationship Id="rId14" Type="http://schemas.openxmlformats.org/officeDocument/2006/relationships/tags" Target="../tags/tag163.xml"/><Relationship Id="rId22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13" Type="http://schemas.openxmlformats.org/officeDocument/2006/relationships/tags" Target="../tags/tag176.xml"/><Relationship Id="rId18" Type="http://schemas.openxmlformats.org/officeDocument/2006/relationships/tags" Target="../tags/tag181.xml"/><Relationship Id="rId26" Type="http://schemas.openxmlformats.org/officeDocument/2006/relationships/image" Target="../media/image46.png"/><Relationship Id="rId3" Type="http://schemas.openxmlformats.org/officeDocument/2006/relationships/tags" Target="../tags/tag166.xml"/><Relationship Id="rId21" Type="http://schemas.openxmlformats.org/officeDocument/2006/relationships/notesSlide" Target="../notesSlides/notesSlide11.xml"/><Relationship Id="rId7" Type="http://schemas.openxmlformats.org/officeDocument/2006/relationships/tags" Target="../tags/tag170.xml"/><Relationship Id="rId12" Type="http://schemas.openxmlformats.org/officeDocument/2006/relationships/tags" Target="../tags/tag175.xml"/><Relationship Id="rId17" Type="http://schemas.openxmlformats.org/officeDocument/2006/relationships/tags" Target="../tags/tag180.xml"/><Relationship Id="rId25" Type="http://schemas.openxmlformats.org/officeDocument/2006/relationships/image" Target="../media/image39.png"/><Relationship Id="rId2" Type="http://schemas.openxmlformats.org/officeDocument/2006/relationships/tags" Target="../tags/tag165.xml"/><Relationship Id="rId16" Type="http://schemas.openxmlformats.org/officeDocument/2006/relationships/tags" Target="../tags/tag179.xml"/><Relationship Id="rId20" Type="http://schemas.openxmlformats.org/officeDocument/2006/relationships/slideLayout" Target="../slideLayouts/slideLayout2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11" Type="http://schemas.openxmlformats.org/officeDocument/2006/relationships/tags" Target="../tags/tag174.xml"/><Relationship Id="rId24" Type="http://schemas.openxmlformats.org/officeDocument/2006/relationships/image" Target="../media/image38.png"/><Relationship Id="rId5" Type="http://schemas.openxmlformats.org/officeDocument/2006/relationships/tags" Target="../tags/tag168.xml"/><Relationship Id="rId15" Type="http://schemas.openxmlformats.org/officeDocument/2006/relationships/tags" Target="../tags/tag178.xml"/><Relationship Id="rId23" Type="http://schemas.openxmlformats.org/officeDocument/2006/relationships/image" Target="../media/image32.png"/><Relationship Id="rId10" Type="http://schemas.openxmlformats.org/officeDocument/2006/relationships/tags" Target="../tags/tag173.xml"/><Relationship Id="rId19" Type="http://schemas.openxmlformats.org/officeDocument/2006/relationships/tags" Target="../tags/tag182.xml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4" Type="http://schemas.openxmlformats.org/officeDocument/2006/relationships/tags" Target="../tags/tag177.xml"/><Relationship Id="rId22" Type="http://schemas.openxmlformats.org/officeDocument/2006/relationships/image" Target="../media/image31.png"/><Relationship Id="rId27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94.xml"/><Relationship Id="rId18" Type="http://schemas.openxmlformats.org/officeDocument/2006/relationships/tags" Target="../tags/tag199.xml"/><Relationship Id="rId26" Type="http://schemas.openxmlformats.org/officeDocument/2006/relationships/notesSlide" Target="../notesSlides/notesSlide12.xml"/><Relationship Id="rId3" Type="http://schemas.openxmlformats.org/officeDocument/2006/relationships/tags" Target="../tags/tag184.xml"/><Relationship Id="rId21" Type="http://schemas.openxmlformats.org/officeDocument/2006/relationships/tags" Target="../tags/tag202.xml"/><Relationship Id="rId34" Type="http://schemas.openxmlformats.org/officeDocument/2006/relationships/image" Target="../media/image41.png"/><Relationship Id="rId7" Type="http://schemas.openxmlformats.org/officeDocument/2006/relationships/tags" Target="../tags/tag188.xml"/><Relationship Id="rId12" Type="http://schemas.openxmlformats.org/officeDocument/2006/relationships/tags" Target="../tags/tag193.xml"/><Relationship Id="rId17" Type="http://schemas.openxmlformats.org/officeDocument/2006/relationships/tags" Target="../tags/tag198.xml"/><Relationship Id="rId25" Type="http://schemas.openxmlformats.org/officeDocument/2006/relationships/slideLayout" Target="../slideLayouts/slideLayout2.xml"/><Relationship Id="rId33" Type="http://schemas.openxmlformats.org/officeDocument/2006/relationships/image" Target="../media/image51.png"/><Relationship Id="rId2" Type="http://schemas.openxmlformats.org/officeDocument/2006/relationships/tags" Target="../tags/tag183.xml"/><Relationship Id="rId16" Type="http://schemas.openxmlformats.org/officeDocument/2006/relationships/tags" Target="../tags/tag197.xml"/><Relationship Id="rId20" Type="http://schemas.openxmlformats.org/officeDocument/2006/relationships/tags" Target="../tags/tag201.xml"/><Relationship Id="rId29" Type="http://schemas.openxmlformats.org/officeDocument/2006/relationships/image" Target="../media/image48.png"/><Relationship Id="rId1" Type="http://schemas.openxmlformats.org/officeDocument/2006/relationships/vmlDrawing" Target="../drawings/vmlDrawing6.vml"/><Relationship Id="rId6" Type="http://schemas.openxmlformats.org/officeDocument/2006/relationships/tags" Target="../tags/tag187.xml"/><Relationship Id="rId11" Type="http://schemas.openxmlformats.org/officeDocument/2006/relationships/tags" Target="../tags/tag192.xml"/><Relationship Id="rId24" Type="http://schemas.openxmlformats.org/officeDocument/2006/relationships/tags" Target="../tags/tag205.xml"/><Relationship Id="rId32" Type="http://schemas.openxmlformats.org/officeDocument/2006/relationships/image" Target="../media/image43.png"/><Relationship Id="rId5" Type="http://schemas.openxmlformats.org/officeDocument/2006/relationships/tags" Target="../tags/tag186.xml"/><Relationship Id="rId15" Type="http://schemas.openxmlformats.org/officeDocument/2006/relationships/tags" Target="../tags/tag196.xml"/><Relationship Id="rId23" Type="http://schemas.openxmlformats.org/officeDocument/2006/relationships/tags" Target="../tags/tag204.xml"/><Relationship Id="rId28" Type="http://schemas.openxmlformats.org/officeDocument/2006/relationships/image" Target="../media/image5.emf"/><Relationship Id="rId10" Type="http://schemas.openxmlformats.org/officeDocument/2006/relationships/tags" Target="../tags/tag191.xml"/><Relationship Id="rId19" Type="http://schemas.openxmlformats.org/officeDocument/2006/relationships/tags" Target="../tags/tag200.xml"/><Relationship Id="rId31" Type="http://schemas.openxmlformats.org/officeDocument/2006/relationships/image" Target="../media/image50.png"/><Relationship Id="rId4" Type="http://schemas.openxmlformats.org/officeDocument/2006/relationships/tags" Target="../tags/tag185.xml"/><Relationship Id="rId9" Type="http://schemas.openxmlformats.org/officeDocument/2006/relationships/tags" Target="../tags/tag190.xml"/><Relationship Id="rId14" Type="http://schemas.openxmlformats.org/officeDocument/2006/relationships/tags" Target="../tags/tag195.xml"/><Relationship Id="rId22" Type="http://schemas.openxmlformats.org/officeDocument/2006/relationships/tags" Target="../tags/tag203.xml"/><Relationship Id="rId27" Type="http://schemas.openxmlformats.org/officeDocument/2006/relationships/oleObject" Target="../embeddings/oleObject20.bin"/><Relationship Id="rId30" Type="http://schemas.openxmlformats.org/officeDocument/2006/relationships/image" Target="../media/image49.png"/><Relationship Id="rId35" Type="http://schemas.openxmlformats.org/officeDocument/2006/relationships/image" Target="../media/image52.png"/><Relationship Id="rId8" Type="http://schemas.openxmlformats.org/officeDocument/2006/relationships/tags" Target="../tags/tag18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image" Target="../media/image53.jpeg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0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5" Type="http://schemas.openxmlformats.org/officeDocument/2006/relationships/tags" Target="../tags/tag214.xml"/><Relationship Id="rId4" Type="http://schemas.openxmlformats.org/officeDocument/2006/relationships/tags" Target="../tags/tag213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228.xml"/><Relationship Id="rId18" Type="http://schemas.openxmlformats.org/officeDocument/2006/relationships/tags" Target="../tags/tag233.xml"/><Relationship Id="rId26" Type="http://schemas.openxmlformats.org/officeDocument/2006/relationships/tags" Target="../tags/tag241.xml"/><Relationship Id="rId39" Type="http://schemas.openxmlformats.org/officeDocument/2006/relationships/image" Target="../media/image56.jpeg"/><Relationship Id="rId21" Type="http://schemas.openxmlformats.org/officeDocument/2006/relationships/tags" Target="../tags/tag236.xml"/><Relationship Id="rId34" Type="http://schemas.openxmlformats.org/officeDocument/2006/relationships/slideLayout" Target="../slideLayouts/slideLayout13.xml"/><Relationship Id="rId42" Type="http://schemas.openxmlformats.org/officeDocument/2006/relationships/image" Target="../media/image59.png"/><Relationship Id="rId7" Type="http://schemas.openxmlformats.org/officeDocument/2006/relationships/tags" Target="../tags/tag222.xml"/><Relationship Id="rId2" Type="http://schemas.openxmlformats.org/officeDocument/2006/relationships/tags" Target="../tags/tag217.xml"/><Relationship Id="rId16" Type="http://schemas.openxmlformats.org/officeDocument/2006/relationships/tags" Target="../tags/tag231.xml"/><Relationship Id="rId29" Type="http://schemas.openxmlformats.org/officeDocument/2006/relationships/tags" Target="../tags/tag244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24" Type="http://schemas.openxmlformats.org/officeDocument/2006/relationships/tags" Target="../tags/tag239.xml"/><Relationship Id="rId32" Type="http://schemas.openxmlformats.org/officeDocument/2006/relationships/tags" Target="../tags/tag247.xml"/><Relationship Id="rId37" Type="http://schemas.openxmlformats.org/officeDocument/2006/relationships/image" Target="../media/image55.jpeg"/><Relationship Id="rId40" Type="http://schemas.openxmlformats.org/officeDocument/2006/relationships/image" Target="../media/image57.png"/><Relationship Id="rId45" Type="http://schemas.openxmlformats.org/officeDocument/2006/relationships/image" Target="../media/image62.jpeg"/><Relationship Id="rId5" Type="http://schemas.openxmlformats.org/officeDocument/2006/relationships/tags" Target="../tags/tag220.xml"/><Relationship Id="rId15" Type="http://schemas.openxmlformats.org/officeDocument/2006/relationships/tags" Target="../tags/tag230.xml"/><Relationship Id="rId23" Type="http://schemas.openxmlformats.org/officeDocument/2006/relationships/tags" Target="../tags/tag238.xml"/><Relationship Id="rId28" Type="http://schemas.openxmlformats.org/officeDocument/2006/relationships/tags" Target="../tags/tag243.xml"/><Relationship Id="rId36" Type="http://schemas.openxmlformats.org/officeDocument/2006/relationships/image" Target="../media/image54.jpeg"/><Relationship Id="rId10" Type="http://schemas.openxmlformats.org/officeDocument/2006/relationships/tags" Target="../tags/tag225.xml"/><Relationship Id="rId19" Type="http://schemas.openxmlformats.org/officeDocument/2006/relationships/tags" Target="../tags/tag234.xml"/><Relationship Id="rId31" Type="http://schemas.openxmlformats.org/officeDocument/2006/relationships/tags" Target="../tags/tag246.xml"/><Relationship Id="rId44" Type="http://schemas.openxmlformats.org/officeDocument/2006/relationships/image" Target="../media/image61.jpeg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Relationship Id="rId22" Type="http://schemas.openxmlformats.org/officeDocument/2006/relationships/tags" Target="../tags/tag237.xml"/><Relationship Id="rId27" Type="http://schemas.openxmlformats.org/officeDocument/2006/relationships/tags" Target="../tags/tag242.xml"/><Relationship Id="rId30" Type="http://schemas.openxmlformats.org/officeDocument/2006/relationships/tags" Target="../tags/tag245.xml"/><Relationship Id="rId35" Type="http://schemas.openxmlformats.org/officeDocument/2006/relationships/notesSlide" Target="../notesSlides/notesSlide14.xml"/><Relationship Id="rId43" Type="http://schemas.openxmlformats.org/officeDocument/2006/relationships/image" Target="../media/image60.jpeg"/><Relationship Id="rId8" Type="http://schemas.openxmlformats.org/officeDocument/2006/relationships/tags" Target="../tags/tag223.xml"/><Relationship Id="rId3" Type="http://schemas.openxmlformats.org/officeDocument/2006/relationships/tags" Target="../tags/tag218.xml"/><Relationship Id="rId12" Type="http://schemas.openxmlformats.org/officeDocument/2006/relationships/tags" Target="../tags/tag227.xml"/><Relationship Id="rId17" Type="http://schemas.openxmlformats.org/officeDocument/2006/relationships/tags" Target="../tags/tag232.xml"/><Relationship Id="rId25" Type="http://schemas.openxmlformats.org/officeDocument/2006/relationships/tags" Target="../tags/tag240.xml"/><Relationship Id="rId33" Type="http://schemas.openxmlformats.org/officeDocument/2006/relationships/tags" Target="../tags/tag248.xml"/><Relationship Id="rId38" Type="http://schemas.openxmlformats.org/officeDocument/2006/relationships/image" Target="../media/image8.jpeg"/><Relationship Id="rId46" Type="http://schemas.openxmlformats.org/officeDocument/2006/relationships/image" Target="../media/image63.jpeg"/><Relationship Id="rId20" Type="http://schemas.openxmlformats.org/officeDocument/2006/relationships/tags" Target="../tags/tag235.xml"/><Relationship Id="rId41" Type="http://schemas.openxmlformats.org/officeDocument/2006/relationships/image" Target="../media/image5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55.xml"/><Relationship Id="rId13" Type="http://schemas.openxmlformats.org/officeDocument/2006/relationships/tags" Target="../tags/tag260.xml"/><Relationship Id="rId18" Type="http://schemas.openxmlformats.org/officeDocument/2006/relationships/image" Target="../media/image64.png"/><Relationship Id="rId3" Type="http://schemas.openxmlformats.org/officeDocument/2006/relationships/tags" Target="../tags/tag250.xml"/><Relationship Id="rId7" Type="http://schemas.openxmlformats.org/officeDocument/2006/relationships/tags" Target="../tags/tag254.xml"/><Relationship Id="rId12" Type="http://schemas.openxmlformats.org/officeDocument/2006/relationships/tags" Target="../tags/tag259.xml"/><Relationship Id="rId17" Type="http://schemas.openxmlformats.org/officeDocument/2006/relationships/image" Target="../media/image5.emf"/><Relationship Id="rId2" Type="http://schemas.openxmlformats.org/officeDocument/2006/relationships/tags" Target="../tags/tag249.xml"/><Relationship Id="rId16" Type="http://schemas.openxmlformats.org/officeDocument/2006/relationships/oleObject" Target="../embeddings/oleObject21.bin"/><Relationship Id="rId1" Type="http://schemas.openxmlformats.org/officeDocument/2006/relationships/vmlDrawing" Target="../drawings/vmlDrawing7.vml"/><Relationship Id="rId6" Type="http://schemas.openxmlformats.org/officeDocument/2006/relationships/tags" Target="../tags/tag253.xml"/><Relationship Id="rId11" Type="http://schemas.openxmlformats.org/officeDocument/2006/relationships/tags" Target="../tags/tag258.xml"/><Relationship Id="rId5" Type="http://schemas.openxmlformats.org/officeDocument/2006/relationships/tags" Target="../tags/tag252.xml"/><Relationship Id="rId15" Type="http://schemas.openxmlformats.org/officeDocument/2006/relationships/notesSlide" Target="../notesSlides/notesSlide15.xml"/><Relationship Id="rId10" Type="http://schemas.openxmlformats.org/officeDocument/2006/relationships/tags" Target="../tags/tag257.xml"/><Relationship Id="rId4" Type="http://schemas.openxmlformats.org/officeDocument/2006/relationships/tags" Target="../tags/tag251.xml"/><Relationship Id="rId9" Type="http://schemas.openxmlformats.org/officeDocument/2006/relationships/tags" Target="../tags/tag256.xml"/><Relationship Id="rId14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67.xml"/><Relationship Id="rId13" Type="http://schemas.openxmlformats.org/officeDocument/2006/relationships/tags" Target="../tags/tag272.xml"/><Relationship Id="rId18" Type="http://schemas.openxmlformats.org/officeDocument/2006/relationships/slideLayout" Target="../slideLayouts/slideLayout13.xml"/><Relationship Id="rId3" Type="http://schemas.openxmlformats.org/officeDocument/2006/relationships/tags" Target="../tags/tag262.xml"/><Relationship Id="rId21" Type="http://schemas.openxmlformats.org/officeDocument/2006/relationships/image" Target="../media/image5.emf"/><Relationship Id="rId7" Type="http://schemas.openxmlformats.org/officeDocument/2006/relationships/tags" Target="../tags/tag266.xml"/><Relationship Id="rId12" Type="http://schemas.openxmlformats.org/officeDocument/2006/relationships/tags" Target="../tags/tag271.xml"/><Relationship Id="rId17" Type="http://schemas.openxmlformats.org/officeDocument/2006/relationships/tags" Target="../tags/tag276.xml"/><Relationship Id="rId2" Type="http://schemas.openxmlformats.org/officeDocument/2006/relationships/tags" Target="../tags/tag261.xml"/><Relationship Id="rId16" Type="http://schemas.openxmlformats.org/officeDocument/2006/relationships/tags" Target="../tags/tag275.xml"/><Relationship Id="rId20" Type="http://schemas.openxmlformats.org/officeDocument/2006/relationships/oleObject" Target="../embeddings/oleObject22.bin"/><Relationship Id="rId1" Type="http://schemas.openxmlformats.org/officeDocument/2006/relationships/vmlDrawing" Target="../drawings/vmlDrawing8.vml"/><Relationship Id="rId6" Type="http://schemas.openxmlformats.org/officeDocument/2006/relationships/tags" Target="../tags/tag265.xml"/><Relationship Id="rId11" Type="http://schemas.openxmlformats.org/officeDocument/2006/relationships/tags" Target="../tags/tag270.xml"/><Relationship Id="rId5" Type="http://schemas.openxmlformats.org/officeDocument/2006/relationships/tags" Target="../tags/tag264.xml"/><Relationship Id="rId15" Type="http://schemas.openxmlformats.org/officeDocument/2006/relationships/tags" Target="../tags/tag274.xml"/><Relationship Id="rId10" Type="http://schemas.openxmlformats.org/officeDocument/2006/relationships/tags" Target="../tags/tag269.xml"/><Relationship Id="rId19" Type="http://schemas.openxmlformats.org/officeDocument/2006/relationships/notesSlide" Target="../notesSlides/notesSlide16.xml"/><Relationship Id="rId4" Type="http://schemas.openxmlformats.org/officeDocument/2006/relationships/tags" Target="../tags/tag263.xml"/><Relationship Id="rId9" Type="http://schemas.openxmlformats.org/officeDocument/2006/relationships/tags" Target="../tags/tag268.xml"/><Relationship Id="rId14" Type="http://schemas.openxmlformats.org/officeDocument/2006/relationships/tags" Target="../tags/tag273.xml"/><Relationship Id="rId22" Type="http://schemas.openxmlformats.org/officeDocument/2006/relationships/image" Target="../media/image6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83.xml"/><Relationship Id="rId13" Type="http://schemas.openxmlformats.org/officeDocument/2006/relationships/tags" Target="../tags/tag288.xml"/><Relationship Id="rId18" Type="http://schemas.openxmlformats.org/officeDocument/2006/relationships/image" Target="../media/image66.png"/><Relationship Id="rId3" Type="http://schemas.openxmlformats.org/officeDocument/2006/relationships/tags" Target="../tags/tag278.xml"/><Relationship Id="rId7" Type="http://schemas.openxmlformats.org/officeDocument/2006/relationships/tags" Target="../tags/tag282.xml"/><Relationship Id="rId12" Type="http://schemas.openxmlformats.org/officeDocument/2006/relationships/tags" Target="../tags/tag287.xml"/><Relationship Id="rId17" Type="http://schemas.openxmlformats.org/officeDocument/2006/relationships/image" Target="../media/image5.emf"/><Relationship Id="rId2" Type="http://schemas.openxmlformats.org/officeDocument/2006/relationships/tags" Target="../tags/tag277.xml"/><Relationship Id="rId16" Type="http://schemas.openxmlformats.org/officeDocument/2006/relationships/oleObject" Target="../embeddings/oleObject23.bin"/><Relationship Id="rId1" Type="http://schemas.openxmlformats.org/officeDocument/2006/relationships/vmlDrawing" Target="../drawings/vmlDrawing9.vml"/><Relationship Id="rId6" Type="http://schemas.openxmlformats.org/officeDocument/2006/relationships/tags" Target="../tags/tag281.xml"/><Relationship Id="rId11" Type="http://schemas.openxmlformats.org/officeDocument/2006/relationships/tags" Target="../tags/tag286.xml"/><Relationship Id="rId5" Type="http://schemas.openxmlformats.org/officeDocument/2006/relationships/tags" Target="../tags/tag280.xml"/><Relationship Id="rId15" Type="http://schemas.openxmlformats.org/officeDocument/2006/relationships/notesSlide" Target="../notesSlides/notesSlide17.xml"/><Relationship Id="rId10" Type="http://schemas.openxmlformats.org/officeDocument/2006/relationships/tags" Target="../tags/tag285.xml"/><Relationship Id="rId4" Type="http://schemas.openxmlformats.org/officeDocument/2006/relationships/tags" Target="../tags/tag279.xml"/><Relationship Id="rId9" Type="http://schemas.openxmlformats.org/officeDocument/2006/relationships/tags" Target="../tags/tag284.xml"/><Relationship Id="rId14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13" Type="http://schemas.openxmlformats.org/officeDocument/2006/relationships/tags" Target="../tags/tag301.xml"/><Relationship Id="rId18" Type="http://schemas.openxmlformats.org/officeDocument/2006/relationships/tags" Target="../tags/tag306.xml"/><Relationship Id="rId26" Type="http://schemas.openxmlformats.org/officeDocument/2006/relationships/slideLayout" Target="../slideLayouts/slideLayout13.xml"/><Relationship Id="rId3" Type="http://schemas.openxmlformats.org/officeDocument/2006/relationships/tags" Target="../tags/tag291.xml"/><Relationship Id="rId21" Type="http://schemas.openxmlformats.org/officeDocument/2006/relationships/tags" Target="../tags/tag309.xml"/><Relationship Id="rId7" Type="http://schemas.openxmlformats.org/officeDocument/2006/relationships/tags" Target="../tags/tag295.xml"/><Relationship Id="rId12" Type="http://schemas.openxmlformats.org/officeDocument/2006/relationships/tags" Target="../tags/tag300.xml"/><Relationship Id="rId17" Type="http://schemas.openxmlformats.org/officeDocument/2006/relationships/tags" Target="../tags/tag305.xml"/><Relationship Id="rId25" Type="http://schemas.openxmlformats.org/officeDocument/2006/relationships/tags" Target="../tags/tag313.xml"/><Relationship Id="rId2" Type="http://schemas.openxmlformats.org/officeDocument/2006/relationships/tags" Target="../tags/tag290.xml"/><Relationship Id="rId16" Type="http://schemas.openxmlformats.org/officeDocument/2006/relationships/tags" Target="../tags/tag304.xml"/><Relationship Id="rId20" Type="http://schemas.openxmlformats.org/officeDocument/2006/relationships/tags" Target="../tags/tag308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11" Type="http://schemas.openxmlformats.org/officeDocument/2006/relationships/tags" Target="../tags/tag299.xml"/><Relationship Id="rId24" Type="http://schemas.openxmlformats.org/officeDocument/2006/relationships/tags" Target="../tags/tag312.xml"/><Relationship Id="rId5" Type="http://schemas.openxmlformats.org/officeDocument/2006/relationships/tags" Target="../tags/tag293.xml"/><Relationship Id="rId15" Type="http://schemas.openxmlformats.org/officeDocument/2006/relationships/tags" Target="../tags/tag303.xml"/><Relationship Id="rId23" Type="http://schemas.openxmlformats.org/officeDocument/2006/relationships/tags" Target="../tags/tag311.xml"/><Relationship Id="rId28" Type="http://schemas.openxmlformats.org/officeDocument/2006/relationships/image" Target="../media/image6.png"/><Relationship Id="rId10" Type="http://schemas.openxmlformats.org/officeDocument/2006/relationships/tags" Target="../tags/tag298.xml"/><Relationship Id="rId19" Type="http://schemas.openxmlformats.org/officeDocument/2006/relationships/tags" Target="../tags/tag307.xml"/><Relationship Id="rId4" Type="http://schemas.openxmlformats.org/officeDocument/2006/relationships/tags" Target="../tags/tag292.xml"/><Relationship Id="rId9" Type="http://schemas.openxmlformats.org/officeDocument/2006/relationships/tags" Target="../tags/tag297.xml"/><Relationship Id="rId14" Type="http://schemas.openxmlformats.org/officeDocument/2006/relationships/tags" Target="../tags/tag302.xml"/><Relationship Id="rId22" Type="http://schemas.openxmlformats.org/officeDocument/2006/relationships/tags" Target="../tags/tag310.xml"/><Relationship Id="rId27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7.xml"/><Relationship Id="rId9" Type="http://schemas.openxmlformats.org/officeDocument/2006/relationships/tags" Target="../tags/tag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notesSlide" Target="../notesSlides/notesSlide5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slideLayout" Target="../slideLayouts/slideLayout13.xml"/><Relationship Id="rId2" Type="http://schemas.openxmlformats.org/officeDocument/2006/relationships/tags" Target="../tags/tag13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1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image" Target="../media/image5.emf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image" Target="../media/image7.png"/><Relationship Id="rId3" Type="http://schemas.openxmlformats.org/officeDocument/2006/relationships/tags" Target="../tags/tag24.xml"/><Relationship Id="rId21" Type="http://schemas.openxmlformats.org/officeDocument/2006/relationships/image" Target="../media/image10.jpeg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image" Target="../media/image5.emf"/><Relationship Id="rId2" Type="http://schemas.openxmlformats.org/officeDocument/2006/relationships/tags" Target="../tags/tag23.xml"/><Relationship Id="rId16" Type="http://schemas.openxmlformats.org/officeDocument/2006/relationships/oleObject" Target="../embeddings/oleObject2.bin"/><Relationship Id="rId20" Type="http://schemas.openxmlformats.org/officeDocument/2006/relationships/image" Target="../media/image9.jpeg"/><Relationship Id="rId1" Type="http://schemas.openxmlformats.org/officeDocument/2006/relationships/vmlDrawing" Target="../drawings/vmlDrawing2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image" Target="../media/image13.jpeg"/><Relationship Id="rId5" Type="http://schemas.openxmlformats.org/officeDocument/2006/relationships/tags" Target="../tags/tag26.xml"/><Relationship Id="rId15" Type="http://schemas.openxmlformats.org/officeDocument/2006/relationships/notesSlide" Target="../notesSlides/notesSlide6.xml"/><Relationship Id="rId23" Type="http://schemas.openxmlformats.org/officeDocument/2006/relationships/image" Target="../media/image12.jpeg"/><Relationship Id="rId10" Type="http://schemas.openxmlformats.org/officeDocument/2006/relationships/tags" Target="../tags/tag31.xml"/><Relationship Id="rId19" Type="http://schemas.openxmlformats.org/officeDocument/2006/relationships/image" Target="../media/image8.jpeg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slideLayout" Target="../slideLayouts/slideLayout13.xml"/><Relationship Id="rId22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26" Type="http://schemas.openxmlformats.org/officeDocument/2006/relationships/tags" Target="../tags/tag59.xml"/><Relationship Id="rId39" Type="http://schemas.openxmlformats.org/officeDocument/2006/relationships/tags" Target="../tags/tag72.xml"/><Relationship Id="rId21" Type="http://schemas.openxmlformats.org/officeDocument/2006/relationships/tags" Target="../tags/tag54.xml"/><Relationship Id="rId34" Type="http://schemas.openxmlformats.org/officeDocument/2006/relationships/tags" Target="../tags/tag67.xml"/><Relationship Id="rId42" Type="http://schemas.openxmlformats.org/officeDocument/2006/relationships/tags" Target="../tags/tag75.xml"/><Relationship Id="rId47" Type="http://schemas.openxmlformats.org/officeDocument/2006/relationships/notesSlide" Target="../notesSlides/notesSlide7.xml"/><Relationship Id="rId50" Type="http://schemas.openxmlformats.org/officeDocument/2006/relationships/oleObject" Target="../embeddings/oleObject4.bin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9" Type="http://schemas.openxmlformats.org/officeDocument/2006/relationships/tags" Target="../tags/tag62.xml"/><Relationship Id="rId11" Type="http://schemas.openxmlformats.org/officeDocument/2006/relationships/tags" Target="../tags/tag44.xml"/><Relationship Id="rId24" Type="http://schemas.openxmlformats.org/officeDocument/2006/relationships/tags" Target="../tags/tag57.xml"/><Relationship Id="rId32" Type="http://schemas.openxmlformats.org/officeDocument/2006/relationships/tags" Target="../tags/tag65.xml"/><Relationship Id="rId37" Type="http://schemas.openxmlformats.org/officeDocument/2006/relationships/tags" Target="../tags/tag70.xml"/><Relationship Id="rId40" Type="http://schemas.openxmlformats.org/officeDocument/2006/relationships/tags" Target="../tags/tag73.xml"/><Relationship Id="rId45" Type="http://schemas.openxmlformats.org/officeDocument/2006/relationships/tags" Target="../tags/tag78.xml"/><Relationship Id="rId53" Type="http://schemas.openxmlformats.org/officeDocument/2006/relationships/image" Target="../media/image15.emf"/><Relationship Id="rId5" Type="http://schemas.openxmlformats.org/officeDocument/2006/relationships/tags" Target="../tags/tag38.xml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31" Type="http://schemas.openxmlformats.org/officeDocument/2006/relationships/tags" Target="../tags/tag64.xml"/><Relationship Id="rId44" Type="http://schemas.openxmlformats.org/officeDocument/2006/relationships/tags" Target="../tags/tag77.xml"/><Relationship Id="rId52" Type="http://schemas.openxmlformats.org/officeDocument/2006/relationships/oleObject" Target="../embeddings/oleObject5.bin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Relationship Id="rId27" Type="http://schemas.openxmlformats.org/officeDocument/2006/relationships/tags" Target="../tags/tag60.xml"/><Relationship Id="rId30" Type="http://schemas.openxmlformats.org/officeDocument/2006/relationships/tags" Target="../tags/tag63.xml"/><Relationship Id="rId35" Type="http://schemas.openxmlformats.org/officeDocument/2006/relationships/tags" Target="../tags/tag68.xml"/><Relationship Id="rId43" Type="http://schemas.openxmlformats.org/officeDocument/2006/relationships/tags" Target="../tags/tag76.xml"/><Relationship Id="rId48" Type="http://schemas.openxmlformats.org/officeDocument/2006/relationships/oleObject" Target="../embeddings/oleObject3.bin"/><Relationship Id="rId8" Type="http://schemas.openxmlformats.org/officeDocument/2006/relationships/tags" Target="../tags/tag41.xml"/><Relationship Id="rId51" Type="http://schemas.openxmlformats.org/officeDocument/2006/relationships/image" Target="../media/image14.emf"/><Relationship Id="rId3" Type="http://schemas.openxmlformats.org/officeDocument/2006/relationships/tags" Target="../tags/tag36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tags" Target="../tags/tag58.xml"/><Relationship Id="rId33" Type="http://schemas.openxmlformats.org/officeDocument/2006/relationships/tags" Target="../tags/tag66.xml"/><Relationship Id="rId38" Type="http://schemas.openxmlformats.org/officeDocument/2006/relationships/tags" Target="../tags/tag71.xml"/><Relationship Id="rId46" Type="http://schemas.openxmlformats.org/officeDocument/2006/relationships/slideLayout" Target="../slideLayouts/slideLayout2.xml"/><Relationship Id="rId20" Type="http://schemas.openxmlformats.org/officeDocument/2006/relationships/tags" Target="../tags/tag53.xml"/><Relationship Id="rId41" Type="http://schemas.openxmlformats.org/officeDocument/2006/relationships/tags" Target="../tags/tag74.xml"/><Relationship Id="rId1" Type="http://schemas.openxmlformats.org/officeDocument/2006/relationships/vmlDrawing" Target="../drawings/vmlDrawing3.vml"/><Relationship Id="rId6" Type="http://schemas.openxmlformats.org/officeDocument/2006/relationships/tags" Target="../tags/tag39.xml"/><Relationship Id="rId15" Type="http://schemas.openxmlformats.org/officeDocument/2006/relationships/tags" Target="../tags/tag48.xml"/><Relationship Id="rId23" Type="http://schemas.openxmlformats.org/officeDocument/2006/relationships/tags" Target="../tags/tag56.xml"/><Relationship Id="rId28" Type="http://schemas.openxmlformats.org/officeDocument/2006/relationships/tags" Target="../tags/tag61.xml"/><Relationship Id="rId36" Type="http://schemas.openxmlformats.org/officeDocument/2006/relationships/tags" Target="../tags/tag69.xml"/><Relationship Id="rId49" Type="http://schemas.openxmlformats.org/officeDocument/2006/relationships/image" Target="../media/image5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18" Type="http://schemas.openxmlformats.org/officeDocument/2006/relationships/image" Target="../media/image5.emf"/><Relationship Id="rId26" Type="http://schemas.openxmlformats.org/officeDocument/2006/relationships/image" Target="../media/image16.jpeg"/><Relationship Id="rId3" Type="http://schemas.openxmlformats.org/officeDocument/2006/relationships/tags" Target="../tags/tag80.xml"/><Relationship Id="rId21" Type="http://schemas.openxmlformats.org/officeDocument/2006/relationships/image" Target="../media/image9.jpeg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oleObject" Target="../embeddings/oleObject6.bin"/><Relationship Id="rId25" Type="http://schemas.openxmlformats.org/officeDocument/2006/relationships/image" Target="../media/image13.jpeg"/><Relationship Id="rId2" Type="http://schemas.openxmlformats.org/officeDocument/2006/relationships/tags" Target="../tags/tag79.xml"/><Relationship Id="rId16" Type="http://schemas.openxmlformats.org/officeDocument/2006/relationships/notesSlide" Target="../notesSlides/notesSlide8.xml"/><Relationship Id="rId20" Type="http://schemas.openxmlformats.org/officeDocument/2006/relationships/image" Target="../media/image8.jpeg"/><Relationship Id="rId1" Type="http://schemas.openxmlformats.org/officeDocument/2006/relationships/vmlDrawing" Target="../drawings/vmlDrawing4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24" Type="http://schemas.openxmlformats.org/officeDocument/2006/relationships/image" Target="../media/image12.jpeg"/><Relationship Id="rId5" Type="http://schemas.openxmlformats.org/officeDocument/2006/relationships/tags" Target="../tags/tag82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1.jpeg"/><Relationship Id="rId10" Type="http://schemas.openxmlformats.org/officeDocument/2006/relationships/tags" Target="../tags/tag87.xml"/><Relationship Id="rId19" Type="http://schemas.openxmlformats.org/officeDocument/2006/relationships/image" Target="../media/image7.png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tags" Target="../tags/tag91.xml"/><Relationship Id="rId22" Type="http://schemas.openxmlformats.org/officeDocument/2006/relationships/image" Target="../media/image10.jpeg"/><Relationship Id="rId27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116.xml"/><Relationship Id="rId21" Type="http://schemas.openxmlformats.org/officeDocument/2006/relationships/tags" Target="../tags/tag111.xml"/><Relationship Id="rId42" Type="http://schemas.openxmlformats.org/officeDocument/2006/relationships/tags" Target="../tags/tag132.xml"/><Relationship Id="rId47" Type="http://schemas.openxmlformats.org/officeDocument/2006/relationships/tags" Target="../tags/tag137.xml"/><Relationship Id="rId63" Type="http://schemas.openxmlformats.org/officeDocument/2006/relationships/image" Target="../media/image18.emf"/><Relationship Id="rId68" Type="http://schemas.openxmlformats.org/officeDocument/2006/relationships/image" Target="../media/image35.png"/><Relationship Id="rId84" Type="http://schemas.openxmlformats.org/officeDocument/2006/relationships/oleObject" Target="../embeddings/oleObject12.bin"/><Relationship Id="rId89" Type="http://schemas.openxmlformats.org/officeDocument/2006/relationships/image" Target="../media/image25.emf"/><Relationship Id="rId16" Type="http://schemas.openxmlformats.org/officeDocument/2006/relationships/tags" Target="../tags/tag106.xml"/><Relationship Id="rId11" Type="http://schemas.openxmlformats.org/officeDocument/2006/relationships/tags" Target="../tags/tag101.xml"/><Relationship Id="rId32" Type="http://schemas.openxmlformats.org/officeDocument/2006/relationships/tags" Target="../tags/tag122.xml"/><Relationship Id="rId37" Type="http://schemas.openxmlformats.org/officeDocument/2006/relationships/tags" Target="../tags/tag127.xml"/><Relationship Id="rId53" Type="http://schemas.openxmlformats.org/officeDocument/2006/relationships/tags" Target="../tags/tag143.xml"/><Relationship Id="rId58" Type="http://schemas.openxmlformats.org/officeDocument/2006/relationships/tags" Target="../tags/tag148.xml"/><Relationship Id="rId74" Type="http://schemas.openxmlformats.org/officeDocument/2006/relationships/image" Target="../media/image41.png"/><Relationship Id="rId79" Type="http://schemas.openxmlformats.org/officeDocument/2006/relationships/image" Target="../media/image20.emf"/><Relationship Id="rId5" Type="http://schemas.openxmlformats.org/officeDocument/2006/relationships/tags" Target="../tags/tag95.xml"/><Relationship Id="rId90" Type="http://schemas.openxmlformats.org/officeDocument/2006/relationships/oleObject" Target="../embeddings/oleObject15.bin"/><Relationship Id="rId95" Type="http://schemas.openxmlformats.org/officeDocument/2006/relationships/image" Target="../media/image28.emf"/><Relationship Id="rId22" Type="http://schemas.openxmlformats.org/officeDocument/2006/relationships/tags" Target="../tags/tag112.xml"/><Relationship Id="rId27" Type="http://schemas.openxmlformats.org/officeDocument/2006/relationships/tags" Target="../tags/tag117.xml"/><Relationship Id="rId43" Type="http://schemas.openxmlformats.org/officeDocument/2006/relationships/tags" Target="../tags/tag133.xml"/><Relationship Id="rId48" Type="http://schemas.openxmlformats.org/officeDocument/2006/relationships/tags" Target="../tags/tag138.xml"/><Relationship Id="rId64" Type="http://schemas.openxmlformats.org/officeDocument/2006/relationships/image" Target="../media/image31.png"/><Relationship Id="rId69" Type="http://schemas.openxmlformats.org/officeDocument/2006/relationships/image" Target="../media/image36.png"/><Relationship Id="rId80" Type="http://schemas.openxmlformats.org/officeDocument/2006/relationships/oleObject" Target="../embeddings/oleObject10.bin"/><Relationship Id="rId85" Type="http://schemas.openxmlformats.org/officeDocument/2006/relationships/image" Target="../media/image23.emf"/><Relationship Id="rId3" Type="http://schemas.openxmlformats.org/officeDocument/2006/relationships/tags" Target="../tags/tag93.xml"/><Relationship Id="rId12" Type="http://schemas.openxmlformats.org/officeDocument/2006/relationships/tags" Target="../tags/tag102.xml"/><Relationship Id="rId17" Type="http://schemas.openxmlformats.org/officeDocument/2006/relationships/tags" Target="../tags/tag107.xml"/><Relationship Id="rId25" Type="http://schemas.openxmlformats.org/officeDocument/2006/relationships/tags" Target="../tags/tag115.xml"/><Relationship Id="rId33" Type="http://schemas.openxmlformats.org/officeDocument/2006/relationships/tags" Target="../tags/tag123.xml"/><Relationship Id="rId38" Type="http://schemas.openxmlformats.org/officeDocument/2006/relationships/tags" Target="../tags/tag128.xml"/><Relationship Id="rId46" Type="http://schemas.openxmlformats.org/officeDocument/2006/relationships/tags" Target="../tags/tag136.xml"/><Relationship Id="rId59" Type="http://schemas.openxmlformats.org/officeDocument/2006/relationships/tags" Target="../tags/tag149.xml"/><Relationship Id="rId67" Type="http://schemas.openxmlformats.org/officeDocument/2006/relationships/image" Target="../media/image34.png"/><Relationship Id="rId20" Type="http://schemas.openxmlformats.org/officeDocument/2006/relationships/tags" Target="../tags/tag110.xml"/><Relationship Id="rId41" Type="http://schemas.openxmlformats.org/officeDocument/2006/relationships/tags" Target="../tags/tag131.xml"/><Relationship Id="rId54" Type="http://schemas.openxmlformats.org/officeDocument/2006/relationships/tags" Target="../tags/tag144.xml"/><Relationship Id="rId62" Type="http://schemas.openxmlformats.org/officeDocument/2006/relationships/oleObject" Target="../embeddings/oleObject7.bin"/><Relationship Id="rId70" Type="http://schemas.openxmlformats.org/officeDocument/2006/relationships/image" Target="../media/image37.png"/><Relationship Id="rId75" Type="http://schemas.openxmlformats.org/officeDocument/2006/relationships/image" Target="../media/image42.png"/><Relationship Id="rId83" Type="http://schemas.openxmlformats.org/officeDocument/2006/relationships/image" Target="../media/image22.emf"/><Relationship Id="rId88" Type="http://schemas.openxmlformats.org/officeDocument/2006/relationships/oleObject" Target="../embeddings/oleObject14.bin"/><Relationship Id="rId91" Type="http://schemas.openxmlformats.org/officeDocument/2006/relationships/image" Target="../media/image26.emf"/><Relationship Id="rId96" Type="http://schemas.openxmlformats.org/officeDocument/2006/relationships/oleObject" Target="../embeddings/oleObject18.bin"/><Relationship Id="rId1" Type="http://schemas.openxmlformats.org/officeDocument/2006/relationships/vmlDrawing" Target="../drawings/vmlDrawing5.vml"/><Relationship Id="rId6" Type="http://schemas.openxmlformats.org/officeDocument/2006/relationships/tags" Target="../tags/tag96.xml"/><Relationship Id="rId15" Type="http://schemas.openxmlformats.org/officeDocument/2006/relationships/tags" Target="../tags/tag105.xml"/><Relationship Id="rId23" Type="http://schemas.openxmlformats.org/officeDocument/2006/relationships/tags" Target="../tags/tag113.xml"/><Relationship Id="rId28" Type="http://schemas.openxmlformats.org/officeDocument/2006/relationships/tags" Target="../tags/tag118.xml"/><Relationship Id="rId36" Type="http://schemas.openxmlformats.org/officeDocument/2006/relationships/tags" Target="../tags/tag126.xml"/><Relationship Id="rId49" Type="http://schemas.openxmlformats.org/officeDocument/2006/relationships/tags" Target="../tags/tag139.xml"/><Relationship Id="rId57" Type="http://schemas.openxmlformats.org/officeDocument/2006/relationships/tags" Target="../tags/tag147.xml"/><Relationship Id="rId10" Type="http://schemas.openxmlformats.org/officeDocument/2006/relationships/tags" Target="../tags/tag100.xml"/><Relationship Id="rId31" Type="http://schemas.openxmlformats.org/officeDocument/2006/relationships/tags" Target="../tags/tag121.xml"/><Relationship Id="rId44" Type="http://schemas.openxmlformats.org/officeDocument/2006/relationships/tags" Target="../tags/tag134.xml"/><Relationship Id="rId52" Type="http://schemas.openxmlformats.org/officeDocument/2006/relationships/tags" Target="../tags/tag142.xml"/><Relationship Id="rId60" Type="http://schemas.openxmlformats.org/officeDocument/2006/relationships/slideLayout" Target="../slideLayouts/slideLayout2.xml"/><Relationship Id="rId65" Type="http://schemas.openxmlformats.org/officeDocument/2006/relationships/image" Target="../media/image32.png"/><Relationship Id="rId73" Type="http://schemas.openxmlformats.org/officeDocument/2006/relationships/image" Target="../media/image40.png"/><Relationship Id="rId78" Type="http://schemas.openxmlformats.org/officeDocument/2006/relationships/oleObject" Target="../embeddings/oleObject9.bin"/><Relationship Id="rId81" Type="http://schemas.openxmlformats.org/officeDocument/2006/relationships/image" Target="../media/image21.emf"/><Relationship Id="rId86" Type="http://schemas.openxmlformats.org/officeDocument/2006/relationships/oleObject" Target="../embeddings/oleObject13.bin"/><Relationship Id="rId94" Type="http://schemas.openxmlformats.org/officeDocument/2006/relationships/oleObject" Target="../embeddings/oleObject17.bin"/><Relationship Id="rId99" Type="http://schemas.openxmlformats.org/officeDocument/2006/relationships/image" Target="../media/image30.emf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3" Type="http://schemas.openxmlformats.org/officeDocument/2006/relationships/tags" Target="../tags/tag103.xml"/><Relationship Id="rId18" Type="http://schemas.openxmlformats.org/officeDocument/2006/relationships/tags" Target="../tags/tag108.xml"/><Relationship Id="rId39" Type="http://schemas.openxmlformats.org/officeDocument/2006/relationships/tags" Target="../tags/tag129.xml"/><Relationship Id="rId34" Type="http://schemas.openxmlformats.org/officeDocument/2006/relationships/tags" Target="../tags/tag124.xml"/><Relationship Id="rId50" Type="http://schemas.openxmlformats.org/officeDocument/2006/relationships/tags" Target="../tags/tag140.xml"/><Relationship Id="rId55" Type="http://schemas.openxmlformats.org/officeDocument/2006/relationships/tags" Target="../tags/tag145.xml"/><Relationship Id="rId76" Type="http://schemas.openxmlformats.org/officeDocument/2006/relationships/oleObject" Target="../embeddings/oleObject8.bin"/><Relationship Id="rId97" Type="http://schemas.openxmlformats.org/officeDocument/2006/relationships/image" Target="../media/image29.emf"/><Relationship Id="rId7" Type="http://schemas.openxmlformats.org/officeDocument/2006/relationships/tags" Target="../tags/tag97.xml"/><Relationship Id="rId71" Type="http://schemas.openxmlformats.org/officeDocument/2006/relationships/image" Target="../media/image38.png"/><Relationship Id="rId92" Type="http://schemas.openxmlformats.org/officeDocument/2006/relationships/oleObject" Target="../embeddings/oleObject16.bin"/><Relationship Id="rId2" Type="http://schemas.openxmlformats.org/officeDocument/2006/relationships/tags" Target="../tags/tag92.xml"/><Relationship Id="rId29" Type="http://schemas.openxmlformats.org/officeDocument/2006/relationships/tags" Target="../tags/tag119.xml"/><Relationship Id="rId24" Type="http://schemas.openxmlformats.org/officeDocument/2006/relationships/tags" Target="../tags/tag114.xml"/><Relationship Id="rId40" Type="http://schemas.openxmlformats.org/officeDocument/2006/relationships/tags" Target="../tags/tag130.xml"/><Relationship Id="rId45" Type="http://schemas.openxmlformats.org/officeDocument/2006/relationships/tags" Target="../tags/tag135.xml"/><Relationship Id="rId66" Type="http://schemas.openxmlformats.org/officeDocument/2006/relationships/image" Target="../media/image33.png"/><Relationship Id="rId87" Type="http://schemas.openxmlformats.org/officeDocument/2006/relationships/image" Target="../media/image24.emf"/><Relationship Id="rId61" Type="http://schemas.openxmlformats.org/officeDocument/2006/relationships/notesSlide" Target="../notesSlides/notesSlide9.xml"/><Relationship Id="rId82" Type="http://schemas.openxmlformats.org/officeDocument/2006/relationships/oleObject" Target="../embeddings/oleObject11.bin"/><Relationship Id="rId19" Type="http://schemas.openxmlformats.org/officeDocument/2006/relationships/tags" Target="../tags/tag109.xml"/><Relationship Id="rId14" Type="http://schemas.openxmlformats.org/officeDocument/2006/relationships/tags" Target="../tags/tag104.xml"/><Relationship Id="rId30" Type="http://schemas.openxmlformats.org/officeDocument/2006/relationships/tags" Target="../tags/tag120.xml"/><Relationship Id="rId35" Type="http://schemas.openxmlformats.org/officeDocument/2006/relationships/tags" Target="../tags/tag125.xml"/><Relationship Id="rId56" Type="http://schemas.openxmlformats.org/officeDocument/2006/relationships/tags" Target="../tags/tag146.xml"/><Relationship Id="rId77" Type="http://schemas.openxmlformats.org/officeDocument/2006/relationships/image" Target="../media/image19.emf"/><Relationship Id="rId100" Type="http://schemas.openxmlformats.org/officeDocument/2006/relationships/image" Target="../media/image43.png"/><Relationship Id="rId8" Type="http://schemas.openxmlformats.org/officeDocument/2006/relationships/tags" Target="../tags/tag98.xml"/><Relationship Id="rId51" Type="http://schemas.openxmlformats.org/officeDocument/2006/relationships/tags" Target="../tags/tag141.xml"/><Relationship Id="rId72" Type="http://schemas.openxmlformats.org/officeDocument/2006/relationships/image" Target="../media/image39.png"/><Relationship Id="rId93" Type="http://schemas.openxmlformats.org/officeDocument/2006/relationships/image" Target="../media/image27.emf"/><Relationship Id="rId98" Type="http://schemas.openxmlformats.org/officeDocument/2006/relationships/oleObject" Target="../embeddings/oleObject1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8891" y="1518956"/>
            <a:ext cx="1008219" cy="1040493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999835" y="3389959"/>
            <a:ext cx="7906332" cy="419871"/>
          </a:xfrm>
          <a:prstGeom prst="rect">
            <a:avLst/>
          </a:prstGeom>
        </p:spPr>
        <p:txBody>
          <a:bodyPr wrap="square" lIns="65290" tIns="32645" rIns="65290" bIns="32645">
            <a:spAutoFit/>
          </a:bodyPr>
          <a:lstStyle/>
          <a:p>
            <a:pPr algn="ctr" defTabSz="872480"/>
            <a:r>
              <a:rPr lang="ru-RU" altLang="zh-CN" sz="2300" dirty="0" smtClean="0">
                <a:solidFill>
                  <a:srgbClr val="4472C4">
                    <a:lumMod val="50000"/>
                  </a:srgbClr>
                </a:solidFill>
                <a:cs typeface="Arial"/>
              </a:rPr>
              <a:t>Концепция ТОР «Камчатка»: итоги проведенной работы</a:t>
            </a:r>
            <a:endParaRPr lang="ru-RU" altLang="zh-CN" sz="2300" dirty="0">
              <a:solidFill>
                <a:srgbClr val="4472C4">
                  <a:lumMod val="50000"/>
                </a:srgbClr>
              </a:solidFill>
              <a:cs typeface="Arial"/>
            </a:endParaRP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244331" y="6599781"/>
            <a:ext cx="1626089" cy="250624"/>
          </a:xfrm>
        </p:spPr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619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1268" y="187193"/>
            <a:ext cx="8390466" cy="625036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Горнолыжный туризм: страны, откуда будет перераспределен поток туристов на Камчатку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10</a:t>
            </a:fld>
            <a:endParaRPr lang="ru-RU"/>
          </a:p>
        </p:txBody>
      </p:sp>
      <p:grpSp>
        <p:nvGrpSpPr>
          <p:cNvPr id="3" name="Группа 1475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96548" y="1427269"/>
            <a:ext cx="8496000" cy="4891001"/>
            <a:chOff x="263321" y="1214422"/>
            <a:chExt cx="8737835" cy="5030225"/>
          </a:xfrm>
        </p:grpSpPr>
        <p:sp>
          <p:nvSpPr>
            <p:cNvPr id="6" name="Freeform 6"/>
            <p:cNvSpPr>
              <a:spLocks noChangeAspect="1"/>
            </p:cNvSpPr>
            <p:nvPr/>
          </p:nvSpPr>
          <p:spPr bwMode="auto">
            <a:xfrm>
              <a:off x="305519" y="3534618"/>
              <a:ext cx="210989" cy="234294"/>
            </a:xfrm>
            <a:custGeom>
              <a:avLst/>
              <a:gdLst/>
              <a:ahLst/>
              <a:cxnLst>
                <a:cxn ang="0">
                  <a:pos x="357" y="22"/>
                </a:cxn>
                <a:cxn ang="0">
                  <a:pos x="359" y="0"/>
                </a:cxn>
                <a:cxn ang="0">
                  <a:pos x="328" y="0"/>
                </a:cxn>
                <a:cxn ang="0">
                  <a:pos x="210" y="0"/>
                </a:cxn>
                <a:cxn ang="0">
                  <a:pos x="193" y="27"/>
                </a:cxn>
                <a:cxn ang="0">
                  <a:pos x="138" y="20"/>
                </a:cxn>
                <a:cxn ang="0">
                  <a:pos x="131" y="79"/>
                </a:cxn>
                <a:cxn ang="0">
                  <a:pos x="111" y="110"/>
                </a:cxn>
                <a:cxn ang="0">
                  <a:pos x="70" y="127"/>
                </a:cxn>
                <a:cxn ang="0">
                  <a:pos x="52" y="145"/>
                </a:cxn>
                <a:cxn ang="0">
                  <a:pos x="55" y="213"/>
                </a:cxn>
                <a:cxn ang="0">
                  <a:pos x="28" y="221"/>
                </a:cxn>
                <a:cxn ang="0">
                  <a:pos x="35" y="252"/>
                </a:cxn>
                <a:cxn ang="0">
                  <a:pos x="15" y="268"/>
                </a:cxn>
                <a:cxn ang="0">
                  <a:pos x="0" y="316"/>
                </a:cxn>
                <a:cxn ang="0">
                  <a:pos x="4" y="379"/>
                </a:cxn>
                <a:cxn ang="0">
                  <a:pos x="20" y="386"/>
                </a:cxn>
                <a:cxn ang="0">
                  <a:pos x="87" y="395"/>
                </a:cxn>
                <a:cxn ang="0">
                  <a:pos x="127" y="395"/>
                </a:cxn>
                <a:cxn ang="0">
                  <a:pos x="131" y="327"/>
                </a:cxn>
                <a:cxn ang="0">
                  <a:pos x="142" y="289"/>
                </a:cxn>
                <a:cxn ang="0">
                  <a:pos x="170" y="265"/>
                </a:cxn>
                <a:cxn ang="0">
                  <a:pos x="210" y="276"/>
                </a:cxn>
                <a:cxn ang="0">
                  <a:pos x="210" y="123"/>
                </a:cxn>
                <a:cxn ang="0">
                  <a:pos x="320" y="114"/>
                </a:cxn>
                <a:cxn ang="0">
                  <a:pos x="339" y="86"/>
                </a:cxn>
                <a:cxn ang="0">
                  <a:pos x="357" y="22"/>
                </a:cxn>
              </a:cxnLst>
              <a:rect l="0" t="0" r="r" b="b"/>
              <a:pathLst>
                <a:path w="359" h="395">
                  <a:moveTo>
                    <a:pt x="357" y="22"/>
                  </a:moveTo>
                  <a:lnTo>
                    <a:pt x="359" y="0"/>
                  </a:lnTo>
                  <a:lnTo>
                    <a:pt x="328" y="0"/>
                  </a:lnTo>
                  <a:lnTo>
                    <a:pt x="210" y="0"/>
                  </a:lnTo>
                  <a:lnTo>
                    <a:pt x="193" y="27"/>
                  </a:lnTo>
                  <a:lnTo>
                    <a:pt x="138" y="20"/>
                  </a:lnTo>
                  <a:lnTo>
                    <a:pt x="131" y="79"/>
                  </a:lnTo>
                  <a:lnTo>
                    <a:pt x="111" y="110"/>
                  </a:lnTo>
                  <a:lnTo>
                    <a:pt x="70" y="127"/>
                  </a:lnTo>
                  <a:lnTo>
                    <a:pt x="52" y="145"/>
                  </a:lnTo>
                  <a:lnTo>
                    <a:pt x="55" y="213"/>
                  </a:lnTo>
                  <a:lnTo>
                    <a:pt x="28" y="221"/>
                  </a:lnTo>
                  <a:lnTo>
                    <a:pt x="35" y="252"/>
                  </a:lnTo>
                  <a:lnTo>
                    <a:pt x="15" y="268"/>
                  </a:lnTo>
                  <a:lnTo>
                    <a:pt x="0" y="316"/>
                  </a:lnTo>
                  <a:lnTo>
                    <a:pt x="4" y="379"/>
                  </a:lnTo>
                  <a:lnTo>
                    <a:pt x="20" y="386"/>
                  </a:lnTo>
                  <a:lnTo>
                    <a:pt x="87" y="395"/>
                  </a:lnTo>
                  <a:lnTo>
                    <a:pt x="127" y="395"/>
                  </a:lnTo>
                  <a:lnTo>
                    <a:pt x="131" y="327"/>
                  </a:lnTo>
                  <a:lnTo>
                    <a:pt x="142" y="289"/>
                  </a:lnTo>
                  <a:lnTo>
                    <a:pt x="170" y="265"/>
                  </a:lnTo>
                  <a:lnTo>
                    <a:pt x="210" y="276"/>
                  </a:lnTo>
                  <a:lnTo>
                    <a:pt x="210" y="123"/>
                  </a:lnTo>
                  <a:lnTo>
                    <a:pt x="320" y="114"/>
                  </a:lnTo>
                  <a:lnTo>
                    <a:pt x="339" y="86"/>
                  </a:lnTo>
                  <a:lnTo>
                    <a:pt x="357" y="2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7"/>
            <p:cNvSpPr>
              <a:spLocks noChangeAspect="1"/>
            </p:cNvSpPr>
            <p:nvPr/>
          </p:nvSpPr>
          <p:spPr bwMode="auto">
            <a:xfrm>
              <a:off x="6907088" y="3960279"/>
              <a:ext cx="50989" cy="37274"/>
            </a:xfrm>
            <a:custGeom>
              <a:avLst/>
              <a:gdLst/>
              <a:ahLst/>
              <a:cxnLst>
                <a:cxn ang="0">
                  <a:pos x="88" y="62"/>
                </a:cxn>
                <a:cxn ang="0">
                  <a:pos x="85" y="3"/>
                </a:cxn>
                <a:cxn ang="0">
                  <a:pos x="33" y="0"/>
                </a:cxn>
                <a:cxn ang="0">
                  <a:pos x="0" y="15"/>
                </a:cxn>
                <a:cxn ang="0">
                  <a:pos x="88" y="62"/>
                </a:cxn>
              </a:cxnLst>
              <a:rect l="0" t="0" r="r" b="b"/>
              <a:pathLst>
                <a:path w="88" h="62">
                  <a:moveTo>
                    <a:pt x="88" y="62"/>
                  </a:moveTo>
                  <a:lnTo>
                    <a:pt x="85" y="3"/>
                  </a:lnTo>
                  <a:lnTo>
                    <a:pt x="33" y="0"/>
                  </a:lnTo>
                  <a:lnTo>
                    <a:pt x="0" y="15"/>
                  </a:lnTo>
                  <a:lnTo>
                    <a:pt x="88" y="6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" name="Freeform 8"/>
            <p:cNvSpPr>
              <a:spLocks noChangeAspect="1"/>
            </p:cNvSpPr>
            <p:nvPr/>
          </p:nvSpPr>
          <p:spPr bwMode="auto">
            <a:xfrm>
              <a:off x="7322034" y="3772133"/>
              <a:ext cx="77363" cy="74548"/>
            </a:xfrm>
            <a:custGeom>
              <a:avLst/>
              <a:gdLst/>
              <a:ahLst/>
              <a:cxnLst>
                <a:cxn ang="0">
                  <a:pos x="98" y="4"/>
                </a:cxn>
                <a:cxn ang="0">
                  <a:pos x="79" y="43"/>
                </a:cxn>
                <a:cxn ang="0">
                  <a:pos x="98" y="66"/>
                </a:cxn>
                <a:cxn ang="0">
                  <a:pos x="71" y="83"/>
                </a:cxn>
                <a:cxn ang="0">
                  <a:pos x="0" y="83"/>
                </a:cxn>
                <a:cxn ang="0">
                  <a:pos x="11" y="118"/>
                </a:cxn>
                <a:cxn ang="0">
                  <a:pos x="63" y="122"/>
                </a:cxn>
                <a:cxn ang="0">
                  <a:pos x="114" y="125"/>
                </a:cxn>
                <a:cxn ang="0">
                  <a:pos x="130" y="90"/>
                </a:cxn>
                <a:cxn ang="0">
                  <a:pos x="130" y="24"/>
                </a:cxn>
                <a:cxn ang="0">
                  <a:pos x="130" y="0"/>
                </a:cxn>
                <a:cxn ang="0">
                  <a:pos x="98" y="4"/>
                </a:cxn>
              </a:cxnLst>
              <a:rect l="0" t="0" r="r" b="b"/>
              <a:pathLst>
                <a:path w="130" h="125">
                  <a:moveTo>
                    <a:pt x="98" y="4"/>
                  </a:moveTo>
                  <a:lnTo>
                    <a:pt x="79" y="43"/>
                  </a:lnTo>
                  <a:lnTo>
                    <a:pt x="98" y="66"/>
                  </a:lnTo>
                  <a:lnTo>
                    <a:pt x="71" y="83"/>
                  </a:lnTo>
                  <a:lnTo>
                    <a:pt x="0" y="83"/>
                  </a:lnTo>
                  <a:lnTo>
                    <a:pt x="11" y="118"/>
                  </a:lnTo>
                  <a:lnTo>
                    <a:pt x="63" y="122"/>
                  </a:lnTo>
                  <a:lnTo>
                    <a:pt x="114" y="125"/>
                  </a:lnTo>
                  <a:lnTo>
                    <a:pt x="130" y="90"/>
                  </a:lnTo>
                  <a:lnTo>
                    <a:pt x="130" y="24"/>
                  </a:lnTo>
                  <a:lnTo>
                    <a:pt x="130" y="0"/>
                  </a:lnTo>
                  <a:lnTo>
                    <a:pt x="98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9"/>
            <p:cNvSpPr>
              <a:spLocks noChangeAspect="1"/>
            </p:cNvSpPr>
            <p:nvPr/>
          </p:nvSpPr>
          <p:spPr bwMode="auto">
            <a:xfrm>
              <a:off x="738047" y="4040481"/>
              <a:ext cx="87912" cy="195245"/>
            </a:xfrm>
            <a:custGeom>
              <a:avLst/>
              <a:gdLst/>
              <a:ahLst/>
              <a:cxnLst>
                <a:cxn ang="0">
                  <a:pos x="0" y="116"/>
                </a:cxn>
                <a:cxn ang="0">
                  <a:pos x="20" y="147"/>
                </a:cxn>
                <a:cxn ang="0">
                  <a:pos x="31" y="210"/>
                </a:cxn>
                <a:cxn ang="0">
                  <a:pos x="36" y="269"/>
                </a:cxn>
                <a:cxn ang="0">
                  <a:pos x="51" y="328"/>
                </a:cxn>
                <a:cxn ang="0">
                  <a:pos x="110" y="300"/>
                </a:cxn>
                <a:cxn ang="0">
                  <a:pos x="99" y="197"/>
                </a:cxn>
                <a:cxn ang="0">
                  <a:pos x="127" y="162"/>
                </a:cxn>
                <a:cxn ang="0">
                  <a:pos x="150" y="59"/>
                </a:cxn>
                <a:cxn ang="0">
                  <a:pos x="143" y="0"/>
                </a:cxn>
                <a:cxn ang="0">
                  <a:pos x="99" y="4"/>
                </a:cxn>
                <a:cxn ang="0">
                  <a:pos x="86" y="52"/>
                </a:cxn>
                <a:cxn ang="0">
                  <a:pos x="36" y="68"/>
                </a:cxn>
                <a:cxn ang="0">
                  <a:pos x="0" y="116"/>
                </a:cxn>
              </a:cxnLst>
              <a:rect l="0" t="0" r="r" b="b"/>
              <a:pathLst>
                <a:path w="150" h="328">
                  <a:moveTo>
                    <a:pt x="0" y="116"/>
                  </a:moveTo>
                  <a:lnTo>
                    <a:pt x="20" y="147"/>
                  </a:lnTo>
                  <a:lnTo>
                    <a:pt x="31" y="210"/>
                  </a:lnTo>
                  <a:lnTo>
                    <a:pt x="36" y="269"/>
                  </a:lnTo>
                  <a:lnTo>
                    <a:pt x="51" y="328"/>
                  </a:lnTo>
                  <a:lnTo>
                    <a:pt x="110" y="300"/>
                  </a:lnTo>
                  <a:lnTo>
                    <a:pt x="99" y="197"/>
                  </a:lnTo>
                  <a:lnTo>
                    <a:pt x="127" y="162"/>
                  </a:lnTo>
                  <a:lnTo>
                    <a:pt x="150" y="59"/>
                  </a:lnTo>
                  <a:lnTo>
                    <a:pt x="143" y="0"/>
                  </a:lnTo>
                  <a:lnTo>
                    <a:pt x="99" y="4"/>
                  </a:lnTo>
                  <a:lnTo>
                    <a:pt x="86" y="52"/>
                  </a:lnTo>
                  <a:lnTo>
                    <a:pt x="36" y="68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10"/>
            <p:cNvSpPr>
              <a:spLocks noChangeAspect="1"/>
            </p:cNvSpPr>
            <p:nvPr/>
          </p:nvSpPr>
          <p:spPr bwMode="auto">
            <a:xfrm>
              <a:off x="1038707" y="4940383"/>
              <a:ext cx="260220" cy="395815"/>
            </a:xfrm>
            <a:custGeom>
              <a:avLst/>
              <a:gdLst/>
              <a:ahLst/>
              <a:cxnLst>
                <a:cxn ang="0">
                  <a:pos x="3" y="18"/>
                </a:cxn>
                <a:cxn ang="0">
                  <a:pos x="48" y="0"/>
                </a:cxn>
                <a:cxn ang="0">
                  <a:pos x="96" y="23"/>
                </a:cxn>
                <a:cxn ang="0">
                  <a:pos x="176" y="31"/>
                </a:cxn>
                <a:cxn ang="0">
                  <a:pos x="293" y="27"/>
                </a:cxn>
                <a:cxn ang="0">
                  <a:pos x="309" y="52"/>
                </a:cxn>
                <a:cxn ang="0">
                  <a:pos x="406" y="65"/>
                </a:cxn>
                <a:cxn ang="0">
                  <a:pos x="444" y="71"/>
                </a:cxn>
                <a:cxn ang="0">
                  <a:pos x="420" y="113"/>
                </a:cxn>
                <a:cxn ang="0">
                  <a:pos x="417" y="275"/>
                </a:cxn>
                <a:cxn ang="0">
                  <a:pos x="395" y="292"/>
                </a:cxn>
                <a:cxn ang="0">
                  <a:pos x="371" y="301"/>
                </a:cxn>
                <a:cxn ang="0">
                  <a:pos x="374" y="465"/>
                </a:cxn>
                <a:cxn ang="0">
                  <a:pos x="362" y="643"/>
                </a:cxn>
                <a:cxn ang="0">
                  <a:pos x="334" y="671"/>
                </a:cxn>
                <a:cxn ang="0">
                  <a:pos x="275" y="665"/>
                </a:cxn>
                <a:cxn ang="0">
                  <a:pos x="254" y="627"/>
                </a:cxn>
                <a:cxn ang="0">
                  <a:pos x="244" y="641"/>
                </a:cxn>
                <a:cxn ang="0">
                  <a:pos x="210" y="645"/>
                </a:cxn>
                <a:cxn ang="0">
                  <a:pos x="197" y="604"/>
                </a:cxn>
                <a:cxn ang="0">
                  <a:pos x="174" y="577"/>
                </a:cxn>
                <a:cxn ang="0">
                  <a:pos x="142" y="571"/>
                </a:cxn>
                <a:cxn ang="0">
                  <a:pos x="145" y="508"/>
                </a:cxn>
                <a:cxn ang="0">
                  <a:pos x="131" y="440"/>
                </a:cxn>
                <a:cxn ang="0">
                  <a:pos x="128" y="391"/>
                </a:cxn>
                <a:cxn ang="0">
                  <a:pos x="125" y="328"/>
                </a:cxn>
                <a:cxn ang="0">
                  <a:pos x="108" y="282"/>
                </a:cxn>
                <a:cxn ang="0">
                  <a:pos x="93" y="249"/>
                </a:cxn>
                <a:cxn ang="0">
                  <a:pos x="79" y="215"/>
                </a:cxn>
                <a:cxn ang="0">
                  <a:pos x="49" y="157"/>
                </a:cxn>
                <a:cxn ang="0">
                  <a:pos x="35" y="129"/>
                </a:cxn>
                <a:cxn ang="0">
                  <a:pos x="0" y="81"/>
                </a:cxn>
                <a:cxn ang="0">
                  <a:pos x="3" y="18"/>
                </a:cxn>
              </a:cxnLst>
              <a:rect l="0" t="0" r="r" b="b"/>
              <a:pathLst>
                <a:path w="444" h="671">
                  <a:moveTo>
                    <a:pt x="3" y="18"/>
                  </a:moveTo>
                  <a:lnTo>
                    <a:pt x="48" y="0"/>
                  </a:lnTo>
                  <a:lnTo>
                    <a:pt x="96" y="23"/>
                  </a:lnTo>
                  <a:lnTo>
                    <a:pt x="176" y="31"/>
                  </a:lnTo>
                  <a:lnTo>
                    <a:pt x="293" y="27"/>
                  </a:lnTo>
                  <a:lnTo>
                    <a:pt x="309" y="52"/>
                  </a:lnTo>
                  <a:lnTo>
                    <a:pt x="406" y="65"/>
                  </a:lnTo>
                  <a:lnTo>
                    <a:pt x="444" y="71"/>
                  </a:lnTo>
                  <a:lnTo>
                    <a:pt x="420" y="113"/>
                  </a:lnTo>
                  <a:lnTo>
                    <a:pt x="417" y="275"/>
                  </a:lnTo>
                  <a:lnTo>
                    <a:pt x="395" y="292"/>
                  </a:lnTo>
                  <a:lnTo>
                    <a:pt x="371" y="301"/>
                  </a:lnTo>
                  <a:lnTo>
                    <a:pt x="374" y="465"/>
                  </a:lnTo>
                  <a:lnTo>
                    <a:pt x="362" y="643"/>
                  </a:lnTo>
                  <a:lnTo>
                    <a:pt x="334" y="671"/>
                  </a:lnTo>
                  <a:lnTo>
                    <a:pt x="275" y="665"/>
                  </a:lnTo>
                  <a:lnTo>
                    <a:pt x="254" y="627"/>
                  </a:lnTo>
                  <a:lnTo>
                    <a:pt x="244" y="641"/>
                  </a:lnTo>
                  <a:lnTo>
                    <a:pt x="210" y="645"/>
                  </a:lnTo>
                  <a:lnTo>
                    <a:pt x="197" y="604"/>
                  </a:lnTo>
                  <a:lnTo>
                    <a:pt x="174" y="577"/>
                  </a:lnTo>
                  <a:lnTo>
                    <a:pt x="142" y="571"/>
                  </a:lnTo>
                  <a:lnTo>
                    <a:pt x="145" y="508"/>
                  </a:lnTo>
                  <a:lnTo>
                    <a:pt x="131" y="440"/>
                  </a:lnTo>
                  <a:lnTo>
                    <a:pt x="128" y="391"/>
                  </a:lnTo>
                  <a:lnTo>
                    <a:pt x="125" y="328"/>
                  </a:lnTo>
                  <a:lnTo>
                    <a:pt x="108" y="282"/>
                  </a:lnTo>
                  <a:lnTo>
                    <a:pt x="93" y="249"/>
                  </a:lnTo>
                  <a:lnTo>
                    <a:pt x="79" y="215"/>
                  </a:lnTo>
                  <a:lnTo>
                    <a:pt x="49" y="157"/>
                  </a:lnTo>
                  <a:lnTo>
                    <a:pt x="35" y="129"/>
                  </a:lnTo>
                  <a:lnTo>
                    <a:pt x="0" y="81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 11"/>
            <p:cNvSpPr>
              <a:spLocks noChangeAspect="1"/>
            </p:cNvSpPr>
            <p:nvPr/>
          </p:nvSpPr>
          <p:spPr bwMode="auto">
            <a:xfrm>
              <a:off x="4774975" y="4459370"/>
              <a:ext cx="52747" cy="763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3" y="64"/>
                </a:cxn>
                <a:cxn ang="0">
                  <a:pos x="72" y="127"/>
                </a:cxn>
                <a:cxn ang="0">
                  <a:pos x="88" y="48"/>
                </a:cxn>
                <a:cxn ang="0">
                  <a:pos x="0" y="0"/>
                </a:cxn>
              </a:cxnLst>
              <a:rect l="0" t="0" r="r" b="b"/>
              <a:pathLst>
                <a:path w="88" h="127">
                  <a:moveTo>
                    <a:pt x="0" y="0"/>
                  </a:moveTo>
                  <a:lnTo>
                    <a:pt x="33" y="64"/>
                  </a:lnTo>
                  <a:lnTo>
                    <a:pt x="72" y="127"/>
                  </a:lnTo>
                  <a:lnTo>
                    <a:pt x="88" y="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12"/>
            <p:cNvSpPr>
              <a:spLocks noChangeAspect="1"/>
            </p:cNvSpPr>
            <p:nvPr/>
          </p:nvSpPr>
          <p:spPr bwMode="auto">
            <a:xfrm>
              <a:off x="6237197" y="3365669"/>
              <a:ext cx="761320" cy="580411"/>
            </a:xfrm>
            <a:custGeom>
              <a:avLst/>
              <a:gdLst/>
              <a:ahLst/>
              <a:cxnLst>
                <a:cxn ang="0">
                  <a:pos x="774" y="375"/>
                </a:cxn>
                <a:cxn ang="0">
                  <a:pos x="723" y="292"/>
                </a:cxn>
                <a:cxn ang="0">
                  <a:pos x="683" y="189"/>
                </a:cxn>
                <a:cxn ang="0">
                  <a:pos x="620" y="217"/>
                </a:cxn>
                <a:cxn ang="0">
                  <a:pos x="548" y="142"/>
                </a:cxn>
                <a:cxn ang="0">
                  <a:pos x="517" y="90"/>
                </a:cxn>
                <a:cxn ang="0">
                  <a:pos x="465" y="35"/>
                </a:cxn>
                <a:cxn ang="0">
                  <a:pos x="394" y="62"/>
                </a:cxn>
                <a:cxn ang="0">
                  <a:pos x="320" y="90"/>
                </a:cxn>
                <a:cxn ang="0">
                  <a:pos x="197" y="95"/>
                </a:cxn>
                <a:cxn ang="0">
                  <a:pos x="110" y="31"/>
                </a:cxn>
                <a:cxn ang="0">
                  <a:pos x="0" y="0"/>
                </a:cxn>
                <a:cxn ang="0">
                  <a:pos x="51" y="165"/>
                </a:cxn>
                <a:cxn ang="0">
                  <a:pos x="79" y="272"/>
                </a:cxn>
                <a:cxn ang="0">
                  <a:pos x="129" y="348"/>
                </a:cxn>
                <a:cxn ang="0">
                  <a:pos x="189" y="462"/>
                </a:cxn>
                <a:cxn ang="0">
                  <a:pos x="311" y="557"/>
                </a:cxn>
                <a:cxn ang="0">
                  <a:pos x="248" y="407"/>
                </a:cxn>
                <a:cxn ang="0">
                  <a:pos x="162" y="261"/>
                </a:cxn>
                <a:cxn ang="0">
                  <a:pos x="98" y="142"/>
                </a:cxn>
                <a:cxn ang="0">
                  <a:pos x="129" y="86"/>
                </a:cxn>
                <a:cxn ang="0">
                  <a:pos x="201" y="154"/>
                </a:cxn>
                <a:cxn ang="0">
                  <a:pos x="245" y="276"/>
                </a:cxn>
                <a:cxn ang="0">
                  <a:pos x="307" y="351"/>
                </a:cxn>
                <a:cxn ang="0">
                  <a:pos x="347" y="415"/>
                </a:cxn>
                <a:cxn ang="0">
                  <a:pos x="406" y="498"/>
                </a:cxn>
                <a:cxn ang="0">
                  <a:pos x="442" y="541"/>
                </a:cxn>
                <a:cxn ang="0">
                  <a:pos x="465" y="651"/>
                </a:cxn>
                <a:cxn ang="0">
                  <a:pos x="493" y="727"/>
                </a:cxn>
                <a:cxn ang="0">
                  <a:pos x="869" y="929"/>
                </a:cxn>
                <a:cxn ang="0">
                  <a:pos x="948" y="916"/>
                </a:cxn>
                <a:cxn ang="0">
                  <a:pos x="1033" y="982"/>
                </a:cxn>
                <a:cxn ang="0">
                  <a:pos x="1093" y="914"/>
                </a:cxn>
                <a:cxn ang="0">
                  <a:pos x="1171" y="827"/>
                </a:cxn>
                <a:cxn ang="0">
                  <a:pos x="1250" y="787"/>
                </a:cxn>
                <a:cxn ang="0">
                  <a:pos x="1279" y="688"/>
                </a:cxn>
                <a:cxn ang="0">
                  <a:pos x="1288" y="629"/>
                </a:cxn>
                <a:cxn ang="0">
                  <a:pos x="1145" y="656"/>
                </a:cxn>
                <a:cxn ang="0">
                  <a:pos x="1027" y="771"/>
                </a:cxn>
                <a:cxn ang="0">
                  <a:pos x="852" y="723"/>
                </a:cxn>
                <a:cxn ang="0">
                  <a:pos x="806" y="502"/>
                </a:cxn>
                <a:cxn ang="0">
                  <a:pos x="837" y="375"/>
                </a:cxn>
              </a:cxnLst>
              <a:rect l="0" t="0" r="r" b="b"/>
              <a:pathLst>
                <a:path w="1299" h="982">
                  <a:moveTo>
                    <a:pt x="837" y="375"/>
                  </a:moveTo>
                  <a:lnTo>
                    <a:pt x="774" y="375"/>
                  </a:lnTo>
                  <a:lnTo>
                    <a:pt x="762" y="312"/>
                  </a:lnTo>
                  <a:lnTo>
                    <a:pt x="723" y="292"/>
                  </a:lnTo>
                  <a:lnTo>
                    <a:pt x="710" y="224"/>
                  </a:lnTo>
                  <a:lnTo>
                    <a:pt x="683" y="189"/>
                  </a:lnTo>
                  <a:lnTo>
                    <a:pt x="635" y="154"/>
                  </a:lnTo>
                  <a:lnTo>
                    <a:pt x="620" y="217"/>
                  </a:lnTo>
                  <a:lnTo>
                    <a:pt x="572" y="217"/>
                  </a:lnTo>
                  <a:lnTo>
                    <a:pt x="548" y="142"/>
                  </a:lnTo>
                  <a:lnTo>
                    <a:pt x="521" y="134"/>
                  </a:lnTo>
                  <a:lnTo>
                    <a:pt x="517" y="90"/>
                  </a:lnTo>
                  <a:lnTo>
                    <a:pt x="482" y="83"/>
                  </a:lnTo>
                  <a:lnTo>
                    <a:pt x="465" y="35"/>
                  </a:lnTo>
                  <a:lnTo>
                    <a:pt x="434" y="59"/>
                  </a:lnTo>
                  <a:lnTo>
                    <a:pt x="394" y="62"/>
                  </a:lnTo>
                  <a:lnTo>
                    <a:pt x="386" y="90"/>
                  </a:lnTo>
                  <a:lnTo>
                    <a:pt x="320" y="90"/>
                  </a:lnTo>
                  <a:lnTo>
                    <a:pt x="268" y="110"/>
                  </a:lnTo>
                  <a:lnTo>
                    <a:pt x="197" y="95"/>
                  </a:lnTo>
                  <a:lnTo>
                    <a:pt x="149" y="47"/>
                  </a:lnTo>
                  <a:lnTo>
                    <a:pt x="110" y="31"/>
                  </a:lnTo>
                  <a:lnTo>
                    <a:pt x="98" y="3"/>
                  </a:lnTo>
                  <a:lnTo>
                    <a:pt x="0" y="0"/>
                  </a:lnTo>
                  <a:lnTo>
                    <a:pt x="7" y="114"/>
                  </a:lnTo>
                  <a:lnTo>
                    <a:pt x="51" y="165"/>
                  </a:lnTo>
                  <a:lnTo>
                    <a:pt x="90" y="229"/>
                  </a:lnTo>
                  <a:lnTo>
                    <a:pt x="79" y="272"/>
                  </a:lnTo>
                  <a:lnTo>
                    <a:pt x="55" y="289"/>
                  </a:lnTo>
                  <a:lnTo>
                    <a:pt x="129" y="348"/>
                  </a:lnTo>
                  <a:lnTo>
                    <a:pt x="180" y="388"/>
                  </a:lnTo>
                  <a:lnTo>
                    <a:pt x="189" y="462"/>
                  </a:lnTo>
                  <a:lnTo>
                    <a:pt x="276" y="557"/>
                  </a:lnTo>
                  <a:lnTo>
                    <a:pt x="311" y="557"/>
                  </a:lnTo>
                  <a:lnTo>
                    <a:pt x="287" y="486"/>
                  </a:lnTo>
                  <a:lnTo>
                    <a:pt x="248" y="407"/>
                  </a:lnTo>
                  <a:lnTo>
                    <a:pt x="217" y="327"/>
                  </a:lnTo>
                  <a:lnTo>
                    <a:pt x="162" y="261"/>
                  </a:lnTo>
                  <a:lnTo>
                    <a:pt x="125" y="197"/>
                  </a:lnTo>
                  <a:lnTo>
                    <a:pt x="98" y="142"/>
                  </a:lnTo>
                  <a:lnTo>
                    <a:pt x="98" y="68"/>
                  </a:lnTo>
                  <a:lnTo>
                    <a:pt x="129" y="86"/>
                  </a:lnTo>
                  <a:lnTo>
                    <a:pt x="165" y="127"/>
                  </a:lnTo>
                  <a:lnTo>
                    <a:pt x="201" y="154"/>
                  </a:lnTo>
                  <a:lnTo>
                    <a:pt x="208" y="241"/>
                  </a:lnTo>
                  <a:lnTo>
                    <a:pt x="245" y="276"/>
                  </a:lnTo>
                  <a:lnTo>
                    <a:pt x="280" y="336"/>
                  </a:lnTo>
                  <a:lnTo>
                    <a:pt x="307" y="351"/>
                  </a:lnTo>
                  <a:lnTo>
                    <a:pt x="304" y="399"/>
                  </a:lnTo>
                  <a:lnTo>
                    <a:pt x="347" y="415"/>
                  </a:lnTo>
                  <a:lnTo>
                    <a:pt x="351" y="471"/>
                  </a:lnTo>
                  <a:lnTo>
                    <a:pt x="406" y="498"/>
                  </a:lnTo>
                  <a:lnTo>
                    <a:pt x="406" y="537"/>
                  </a:lnTo>
                  <a:lnTo>
                    <a:pt x="442" y="541"/>
                  </a:lnTo>
                  <a:lnTo>
                    <a:pt x="445" y="600"/>
                  </a:lnTo>
                  <a:lnTo>
                    <a:pt x="465" y="651"/>
                  </a:lnTo>
                  <a:lnTo>
                    <a:pt x="449" y="699"/>
                  </a:lnTo>
                  <a:lnTo>
                    <a:pt x="493" y="727"/>
                  </a:lnTo>
                  <a:lnTo>
                    <a:pt x="742" y="889"/>
                  </a:lnTo>
                  <a:lnTo>
                    <a:pt x="869" y="929"/>
                  </a:lnTo>
                  <a:lnTo>
                    <a:pt x="912" y="901"/>
                  </a:lnTo>
                  <a:lnTo>
                    <a:pt x="948" y="916"/>
                  </a:lnTo>
                  <a:lnTo>
                    <a:pt x="999" y="936"/>
                  </a:lnTo>
                  <a:lnTo>
                    <a:pt x="1033" y="982"/>
                  </a:lnTo>
                  <a:lnTo>
                    <a:pt x="1053" y="926"/>
                  </a:lnTo>
                  <a:lnTo>
                    <a:pt x="1093" y="914"/>
                  </a:lnTo>
                  <a:lnTo>
                    <a:pt x="1101" y="859"/>
                  </a:lnTo>
                  <a:lnTo>
                    <a:pt x="1171" y="827"/>
                  </a:lnTo>
                  <a:lnTo>
                    <a:pt x="1195" y="820"/>
                  </a:lnTo>
                  <a:lnTo>
                    <a:pt x="1250" y="787"/>
                  </a:lnTo>
                  <a:lnTo>
                    <a:pt x="1284" y="747"/>
                  </a:lnTo>
                  <a:lnTo>
                    <a:pt x="1279" y="688"/>
                  </a:lnTo>
                  <a:lnTo>
                    <a:pt x="1299" y="675"/>
                  </a:lnTo>
                  <a:lnTo>
                    <a:pt x="1288" y="629"/>
                  </a:lnTo>
                  <a:lnTo>
                    <a:pt x="1189" y="620"/>
                  </a:lnTo>
                  <a:lnTo>
                    <a:pt x="1145" y="656"/>
                  </a:lnTo>
                  <a:lnTo>
                    <a:pt x="1098" y="751"/>
                  </a:lnTo>
                  <a:lnTo>
                    <a:pt x="1027" y="771"/>
                  </a:lnTo>
                  <a:lnTo>
                    <a:pt x="928" y="774"/>
                  </a:lnTo>
                  <a:lnTo>
                    <a:pt x="852" y="723"/>
                  </a:lnTo>
                  <a:lnTo>
                    <a:pt x="830" y="592"/>
                  </a:lnTo>
                  <a:lnTo>
                    <a:pt x="806" y="502"/>
                  </a:lnTo>
                  <a:lnTo>
                    <a:pt x="825" y="434"/>
                  </a:lnTo>
                  <a:lnTo>
                    <a:pt x="837" y="37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13"/>
            <p:cNvSpPr>
              <a:spLocks noChangeAspect="1"/>
            </p:cNvSpPr>
            <p:nvPr/>
          </p:nvSpPr>
          <p:spPr bwMode="auto">
            <a:xfrm>
              <a:off x="6907088" y="3905255"/>
              <a:ext cx="179341" cy="92298"/>
            </a:xfrm>
            <a:custGeom>
              <a:avLst/>
              <a:gdLst/>
              <a:ahLst/>
              <a:cxnLst>
                <a:cxn ang="0">
                  <a:pos x="48" y="24"/>
                </a:cxn>
                <a:cxn ang="0">
                  <a:pos x="41" y="63"/>
                </a:cxn>
                <a:cxn ang="0">
                  <a:pos x="9" y="63"/>
                </a:cxn>
                <a:cxn ang="0">
                  <a:pos x="0" y="107"/>
                </a:cxn>
                <a:cxn ang="0">
                  <a:pos x="33" y="92"/>
                </a:cxn>
                <a:cxn ang="0">
                  <a:pos x="85" y="95"/>
                </a:cxn>
                <a:cxn ang="0">
                  <a:pos x="88" y="154"/>
                </a:cxn>
                <a:cxn ang="0">
                  <a:pos x="132" y="129"/>
                </a:cxn>
                <a:cxn ang="0">
                  <a:pos x="191" y="125"/>
                </a:cxn>
                <a:cxn ang="0">
                  <a:pos x="208" y="78"/>
                </a:cxn>
                <a:cxn ang="0">
                  <a:pos x="279" y="81"/>
                </a:cxn>
                <a:cxn ang="0">
                  <a:pos x="307" y="46"/>
                </a:cxn>
                <a:cxn ang="0">
                  <a:pos x="259" y="30"/>
                </a:cxn>
                <a:cxn ang="0">
                  <a:pos x="231" y="2"/>
                </a:cxn>
                <a:cxn ang="0">
                  <a:pos x="156" y="2"/>
                </a:cxn>
                <a:cxn ang="0">
                  <a:pos x="129" y="26"/>
                </a:cxn>
                <a:cxn ang="0">
                  <a:pos x="107" y="0"/>
                </a:cxn>
                <a:cxn ang="0">
                  <a:pos x="76" y="20"/>
                </a:cxn>
                <a:cxn ang="0">
                  <a:pos x="48" y="24"/>
                </a:cxn>
              </a:cxnLst>
              <a:rect l="0" t="0" r="r" b="b"/>
              <a:pathLst>
                <a:path w="307" h="154">
                  <a:moveTo>
                    <a:pt x="48" y="24"/>
                  </a:moveTo>
                  <a:lnTo>
                    <a:pt x="41" y="63"/>
                  </a:lnTo>
                  <a:lnTo>
                    <a:pt x="9" y="63"/>
                  </a:lnTo>
                  <a:lnTo>
                    <a:pt x="0" y="107"/>
                  </a:lnTo>
                  <a:lnTo>
                    <a:pt x="33" y="92"/>
                  </a:lnTo>
                  <a:lnTo>
                    <a:pt x="85" y="95"/>
                  </a:lnTo>
                  <a:lnTo>
                    <a:pt x="88" y="154"/>
                  </a:lnTo>
                  <a:lnTo>
                    <a:pt x="132" y="129"/>
                  </a:lnTo>
                  <a:lnTo>
                    <a:pt x="191" y="125"/>
                  </a:lnTo>
                  <a:lnTo>
                    <a:pt x="208" y="78"/>
                  </a:lnTo>
                  <a:lnTo>
                    <a:pt x="279" y="81"/>
                  </a:lnTo>
                  <a:lnTo>
                    <a:pt x="307" y="46"/>
                  </a:lnTo>
                  <a:lnTo>
                    <a:pt x="259" y="30"/>
                  </a:lnTo>
                  <a:lnTo>
                    <a:pt x="231" y="2"/>
                  </a:lnTo>
                  <a:lnTo>
                    <a:pt x="156" y="2"/>
                  </a:lnTo>
                  <a:lnTo>
                    <a:pt x="129" y="26"/>
                  </a:lnTo>
                  <a:lnTo>
                    <a:pt x="107" y="0"/>
                  </a:lnTo>
                  <a:lnTo>
                    <a:pt x="76" y="20"/>
                  </a:lnTo>
                  <a:lnTo>
                    <a:pt x="48" y="2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14"/>
            <p:cNvSpPr>
              <a:spLocks noChangeAspect="1"/>
            </p:cNvSpPr>
            <p:nvPr/>
          </p:nvSpPr>
          <p:spPr bwMode="auto">
            <a:xfrm>
              <a:off x="6907088" y="3905255"/>
              <a:ext cx="179341" cy="92298"/>
            </a:xfrm>
            <a:custGeom>
              <a:avLst/>
              <a:gdLst/>
              <a:ahLst/>
              <a:cxnLst>
                <a:cxn ang="0">
                  <a:pos x="48" y="24"/>
                </a:cxn>
                <a:cxn ang="0">
                  <a:pos x="41" y="63"/>
                </a:cxn>
                <a:cxn ang="0">
                  <a:pos x="9" y="63"/>
                </a:cxn>
                <a:cxn ang="0">
                  <a:pos x="0" y="107"/>
                </a:cxn>
                <a:cxn ang="0">
                  <a:pos x="33" y="92"/>
                </a:cxn>
                <a:cxn ang="0">
                  <a:pos x="85" y="95"/>
                </a:cxn>
                <a:cxn ang="0">
                  <a:pos x="88" y="154"/>
                </a:cxn>
                <a:cxn ang="0">
                  <a:pos x="132" y="129"/>
                </a:cxn>
                <a:cxn ang="0">
                  <a:pos x="191" y="125"/>
                </a:cxn>
                <a:cxn ang="0">
                  <a:pos x="208" y="78"/>
                </a:cxn>
                <a:cxn ang="0">
                  <a:pos x="279" y="81"/>
                </a:cxn>
                <a:cxn ang="0">
                  <a:pos x="307" y="46"/>
                </a:cxn>
                <a:cxn ang="0">
                  <a:pos x="259" y="30"/>
                </a:cxn>
                <a:cxn ang="0">
                  <a:pos x="231" y="2"/>
                </a:cxn>
                <a:cxn ang="0">
                  <a:pos x="156" y="2"/>
                </a:cxn>
                <a:cxn ang="0">
                  <a:pos x="129" y="26"/>
                </a:cxn>
                <a:cxn ang="0">
                  <a:pos x="107" y="0"/>
                </a:cxn>
                <a:cxn ang="0">
                  <a:pos x="76" y="20"/>
                </a:cxn>
                <a:cxn ang="0">
                  <a:pos x="48" y="24"/>
                </a:cxn>
              </a:cxnLst>
              <a:rect l="0" t="0" r="r" b="b"/>
              <a:pathLst>
                <a:path w="307" h="154">
                  <a:moveTo>
                    <a:pt x="48" y="24"/>
                  </a:moveTo>
                  <a:lnTo>
                    <a:pt x="41" y="63"/>
                  </a:lnTo>
                  <a:lnTo>
                    <a:pt x="9" y="63"/>
                  </a:lnTo>
                  <a:lnTo>
                    <a:pt x="0" y="107"/>
                  </a:lnTo>
                  <a:lnTo>
                    <a:pt x="33" y="92"/>
                  </a:lnTo>
                  <a:lnTo>
                    <a:pt x="85" y="95"/>
                  </a:lnTo>
                  <a:lnTo>
                    <a:pt x="88" y="154"/>
                  </a:lnTo>
                  <a:lnTo>
                    <a:pt x="132" y="129"/>
                  </a:lnTo>
                  <a:lnTo>
                    <a:pt x="191" y="125"/>
                  </a:lnTo>
                  <a:lnTo>
                    <a:pt x="208" y="78"/>
                  </a:lnTo>
                  <a:lnTo>
                    <a:pt x="279" y="81"/>
                  </a:lnTo>
                  <a:lnTo>
                    <a:pt x="307" y="46"/>
                  </a:lnTo>
                  <a:lnTo>
                    <a:pt x="259" y="30"/>
                  </a:lnTo>
                  <a:lnTo>
                    <a:pt x="231" y="2"/>
                  </a:lnTo>
                  <a:lnTo>
                    <a:pt x="156" y="2"/>
                  </a:lnTo>
                  <a:lnTo>
                    <a:pt x="129" y="26"/>
                  </a:lnTo>
                  <a:lnTo>
                    <a:pt x="107" y="0"/>
                  </a:lnTo>
                  <a:lnTo>
                    <a:pt x="76" y="20"/>
                  </a:lnTo>
                  <a:lnTo>
                    <a:pt x="48" y="24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15"/>
            <p:cNvSpPr>
              <a:spLocks noChangeAspect="1"/>
            </p:cNvSpPr>
            <p:nvPr/>
          </p:nvSpPr>
          <p:spPr bwMode="auto">
            <a:xfrm>
              <a:off x="6958077" y="3951404"/>
              <a:ext cx="121319" cy="117147"/>
            </a:xfrm>
            <a:custGeom>
              <a:avLst/>
              <a:gdLst/>
              <a:ahLst/>
              <a:cxnLst>
                <a:cxn ang="0">
                  <a:pos x="191" y="3"/>
                </a:cxn>
                <a:cxn ang="0">
                  <a:pos x="120" y="0"/>
                </a:cxn>
                <a:cxn ang="0">
                  <a:pos x="103" y="47"/>
                </a:cxn>
                <a:cxn ang="0">
                  <a:pos x="44" y="51"/>
                </a:cxn>
                <a:cxn ang="0">
                  <a:pos x="0" y="76"/>
                </a:cxn>
                <a:cxn ang="0">
                  <a:pos x="25" y="99"/>
                </a:cxn>
                <a:cxn ang="0">
                  <a:pos x="48" y="158"/>
                </a:cxn>
                <a:cxn ang="0">
                  <a:pos x="81" y="193"/>
                </a:cxn>
                <a:cxn ang="0">
                  <a:pos x="179" y="197"/>
                </a:cxn>
                <a:cxn ang="0">
                  <a:pos x="191" y="59"/>
                </a:cxn>
                <a:cxn ang="0">
                  <a:pos x="206" y="24"/>
                </a:cxn>
                <a:cxn ang="0">
                  <a:pos x="191" y="3"/>
                </a:cxn>
              </a:cxnLst>
              <a:rect l="0" t="0" r="r" b="b"/>
              <a:pathLst>
                <a:path w="206" h="197">
                  <a:moveTo>
                    <a:pt x="191" y="3"/>
                  </a:moveTo>
                  <a:lnTo>
                    <a:pt x="120" y="0"/>
                  </a:lnTo>
                  <a:lnTo>
                    <a:pt x="103" y="47"/>
                  </a:lnTo>
                  <a:lnTo>
                    <a:pt x="44" y="51"/>
                  </a:lnTo>
                  <a:lnTo>
                    <a:pt x="0" y="76"/>
                  </a:lnTo>
                  <a:lnTo>
                    <a:pt x="25" y="99"/>
                  </a:lnTo>
                  <a:lnTo>
                    <a:pt x="48" y="158"/>
                  </a:lnTo>
                  <a:lnTo>
                    <a:pt x="81" y="193"/>
                  </a:lnTo>
                  <a:lnTo>
                    <a:pt x="179" y="197"/>
                  </a:lnTo>
                  <a:lnTo>
                    <a:pt x="191" y="59"/>
                  </a:lnTo>
                  <a:lnTo>
                    <a:pt x="206" y="24"/>
                  </a:lnTo>
                  <a:lnTo>
                    <a:pt x="191" y="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16"/>
            <p:cNvSpPr>
              <a:spLocks noChangeAspect="1"/>
            </p:cNvSpPr>
            <p:nvPr/>
          </p:nvSpPr>
          <p:spPr bwMode="auto">
            <a:xfrm>
              <a:off x="7606869" y="6173649"/>
              <a:ext cx="75604" cy="70998"/>
            </a:xfrm>
            <a:custGeom>
              <a:avLst/>
              <a:gdLst/>
              <a:ahLst/>
              <a:cxnLst>
                <a:cxn ang="0">
                  <a:pos x="0" y="101"/>
                </a:cxn>
                <a:cxn ang="0">
                  <a:pos x="31" y="0"/>
                </a:cxn>
                <a:cxn ang="0">
                  <a:pos x="39" y="2"/>
                </a:cxn>
                <a:cxn ang="0">
                  <a:pos x="71" y="38"/>
                </a:cxn>
                <a:cxn ang="0">
                  <a:pos x="130" y="85"/>
                </a:cxn>
                <a:cxn ang="0">
                  <a:pos x="63" y="81"/>
                </a:cxn>
                <a:cxn ang="0">
                  <a:pos x="47" y="121"/>
                </a:cxn>
                <a:cxn ang="0">
                  <a:pos x="0" y="101"/>
                </a:cxn>
              </a:cxnLst>
              <a:rect l="0" t="0" r="r" b="b"/>
              <a:pathLst>
                <a:path w="130" h="121">
                  <a:moveTo>
                    <a:pt x="0" y="101"/>
                  </a:moveTo>
                  <a:lnTo>
                    <a:pt x="31" y="0"/>
                  </a:lnTo>
                  <a:lnTo>
                    <a:pt x="39" y="2"/>
                  </a:lnTo>
                  <a:lnTo>
                    <a:pt x="71" y="38"/>
                  </a:lnTo>
                  <a:lnTo>
                    <a:pt x="130" y="85"/>
                  </a:lnTo>
                  <a:lnTo>
                    <a:pt x="63" y="81"/>
                  </a:lnTo>
                  <a:lnTo>
                    <a:pt x="47" y="121"/>
                  </a:lnTo>
                  <a:lnTo>
                    <a:pt x="0" y="10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17"/>
            <p:cNvSpPr>
              <a:spLocks noChangeAspect="1"/>
            </p:cNvSpPr>
            <p:nvPr/>
          </p:nvSpPr>
          <p:spPr bwMode="auto">
            <a:xfrm>
              <a:off x="7439836" y="5085601"/>
              <a:ext cx="448352" cy="1031249"/>
            </a:xfrm>
            <a:custGeom>
              <a:avLst/>
              <a:gdLst/>
              <a:ahLst/>
              <a:cxnLst>
                <a:cxn ang="0">
                  <a:pos x="169" y="0"/>
                </a:cxn>
                <a:cxn ang="0">
                  <a:pos x="267" y="55"/>
                </a:cxn>
                <a:cxn ang="0">
                  <a:pos x="349" y="43"/>
                </a:cxn>
                <a:cxn ang="0">
                  <a:pos x="406" y="83"/>
                </a:cxn>
                <a:cxn ang="0">
                  <a:pos x="460" y="119"/>
                </a:cxn>
                <a:cxn ang="0">
                  <a:pos x="539" y="157"/>
                </a:cxn>
                <a:cxn ang="0">
                  <a:pos x="567" y="182"/>
                </a:cxn>
                <a:cxn ang="0">
                  <a:pos x="539" y="291"/>
                </a:cxn>
                <a:cxn ang="0">
                  <a:pos x="686" y="270"/>
                </a:cxn>
                <a:cxn ang="0">
                  <a:pos x="735" y="214"/>
                </a:cxn>
                <a:cxn ang="0">
                  <a:pos x="765" y="263"/>
                </a:cxn>
                <a:cxn ang="0">
                  <a:pos x="734" y="304"/>
                </a:cxn>
                <a:cxn ang="0">
                  <a:pos x="687" y="345"/>
                </a:cxn>
                <a:cxn ang="0">
                  <a:pos x="638" y="407"/>
                </a:cxn>
                <a:cxn ang="0">
                  <a:pos x="594" y="474"/>
                </a:cxn>
                <a:cxn ang="0">
                  <a:pos x="562" y="566"/>
                </a:cxn>
                <a:cxn ang="0">
                  <a:pos x="580" y="693"/>
                </a:cxn>
                <a:cxn ang="0">
                  <a:pos x="597" y="710"/>
                </a:cxn>
                <a:cxn ang="0">
                  <a:pos x="646" y="725"/>
                </a:cxn>
                <a:cxn ang="0">
                  <a:pos x="672" y="800"/>
                </a:cxn>
                <a:cxn ang="0">
                  <a:pos x="638" y="879"/>
                </a:cxn>
                <a:cxn ang="0">
                  <a:pos x="589" y="914"/>
                </a:cxn>
                <a:cxn ang="0">
                  <a:pos x="479" y="934"/>
                </a:cxn>
                <a:cxn ang="0">
                  <a:pos x="437" y="954"/>
                </a:cxn>
                <a:cxn ang="0">
                  <a:pos x="449" y="1062"/>
                </a:cxn>
                <a:cxn ang="0">
                  <a:pos x="331" y="1041"/>
                </a:cxn>
                <a:cxn ang="0">
                  <a:pos x="356" y="1116"/>
                </a:cxn>
                <a:cxn ang="0">
                  <a:pos x="377" y="1183"/>
                </a:cxn>
                <a:cxn ang="0">
                  <a:pos x="339" y="1231"/>
                </a:cxn>
                <a:cxn ang="0">
                  <a:pos x="294" y="1302"/>
                </a:cxn>
                <a:cxn ang="0">
                  <a:pos x="259" y="1336"/>
                </a:cxn>
                <a:cxn ang="0">
                  <a:pos x="318" y="1430"/>
                </a:cxn>
                <a:cxn ang="0">
                  <a:pos x="321" y="1488"/>
                </a:cxn>
                <a:cxn ang="0">
                  <a:pos x="277" y="1535"/>
                </a:cxn>
                <a:cxn ang="0">
                  <a:pos x="245" y="1619"/>
                </a:cxn>
                <a:cxn ang="0">
                  <a:pos x="224" y="1678"/>
                </a:cxn>
                <a:cxn ang="0">
                  <a:pos x="81" y="1743"/>
                </a:cxn>
                <a:cxn ang="0">
                  <a:pos x="32" y="1655"/>
                </a:cxn>
                <a:cxn ang="0">
                  <a:pos x="49" y="1507"/>
                </a:cxn>
                <a:cxn ang="0">
                  <a:pos x="59" y="1278"/>
                </a:cxn>
                <a:cxn ang="0">
                  <a:pos x="38" y="1148"/>
                </a:cxn>
                <a:cxn ang="0">
                  <a:pos x="5" y="1021"/>
                </a:cxn>
                <a:cxn ang="0">
                  <a:pos x="43" y="941"/>
                </a:cxn>
                <a:cxn ang="0">
                  <a:pos x="34" y="796"/>
                </a:cxn>
                <a:cxn ang="0">
                  <a:pos x="34" y="741"/>
                </a:cxn>
                <a:cxn ang="0">
                  <a:pos x="59" y="666"/>
                </a:cxn>
                <a:cxn ang="0">
                  <a:pos x="34" y="603"/>
                </a:cxn>
                <a:cxn ang="0">
                  <a:pos x="52" y="507"/>
                </a:cxn>
                <a:cxn ang="0">
                  <a:pos x="36" y="391"/>
                </a:cxn>
                <a:cxn ang="0">
                  <a:pos x="59" y="318"/>
                </a:cxn>
                <a:cxn ang="0">
                  <a:pos x="103" y="255"/>
                </a:cxn>
                <a:cxn ang="0">
                  <a:pos x="105" y="187"/>
                </a:cxn>
                <a:cxn ang="0">
                  <a:pos x="136" y="118"/>
                </a:cxn>
              </a:cxnLst>
              <a:rect l="0" t="0" r="r" b="b"/>
              <a:pathLst>
                <a:path w="766" h="1743">
                  <a:moveTo>
                    <a:pt x="140" y="59"/>
                  </a:moveTo>
                  <a:lnTo>
                    <a:pt x="169" y="0"/>
                  </a:lnTo>
                  <a:lnTo>
                    <a:pt x="211" y="35"/>
                  </a:lnTo>
                  <a:lnTo>
                    <a:pt x="267" y="55"/>
                  </a:lnTo>
                  <a:lnTo>
                    <a:pt x="322" y="11"/>
                  </a:lnTo>
                  <a:lnTo>
                    <a:pt x="349" y="43"/>
                  </a:lnTo>
                  <a:lnTo>
                    <a:pt x="393" y="63"/>
                  </a:lnTo>
                  <a:lnTo>
                    <a:pt x="406" y="83"/>
                  </a:lnTo>
                  <a:lnTo>
                    <a:pt x="435" y="94"/>
                  </a:lnTo>
                  <a:lnTo>
                    <a:pt x="460" y="119"/>
                  </a:lnTo>
                  <a:lnTo>
                    <a:pt x="474" y="148"/>
                  </a:lnTo>
                  <a:lnTo>
                    <a:pt x="539" y="157"/>
                  </a:lnTo>
                  <a:lnTo>
                    <a:pt x="552" y="167"/>
                  </a:lnTo>
                  <a:lnTo>
                    <a:pt x="567" y="182"/>
                  </a:lnTo>
                  <a:lnTo>
                    <a:pt x="549" y="249"/>
                  </a:lnTo>
                  <a:lnTo>
                    <a:pt x="539" y="291"/>
                  </a:lnTo>
                  <a:lnTo>
                    <a:pt x="682" y="294"/>
                  </a:lnTo>
                  <a:lnTo>
                    <a:pt x="686" y="270"/>
                  </a:lnTo>
                  <a:lnTo>
                    <a:pt x="714" y="251"/>
                  </a:lnTo>
                  <a:lnTo>
                    <a:pt x="735" y="214"/>
                  </a:lnTo>
                  <a:lnTo>
                    <a:pt x="741" y="263"/>
                  </a:lnTo>
                  <a:lnTo>
                    <a:pt x="765" y="263"/>
                  </a:lnTo>
                  <a:lnTo>
                    <a:pt x="766" y="300"/>
                  </a:lnTo>
                  <a:lnTo>
                    <a:pt x="734" y="304"/>
                  </a:lnTo>
                  <a:lnTo>
                    <a:pt x="710" y="335"/>
                  </a:lnTo>
                  <a:lnTo>
                    <a:pt x="687" y="345"/>
                  </a:lnTo>
                  <a:lnTo>
                    <a:pt x="665" y="379"/>
                  </a:lnTo>
                  <a:lnTo>
                    <a:pt x="638" y="407"/>
                  </a:lnTo>
                  <a:lnTo>
                    <a:pt x="618" y="441"/>
                  </a:lnTo>
                  <a:lnTo>
                    <a:pt x="594" y="474"/>
                  </a:lnTo>
                  <a:lnTo>
                    <a:pt x="569" y="517"/>
                  </a:lnTo>
                  <a:lnTo>
                    <a:pt x="562" y="566"/>
                  </a:lnTo>
                  <a:lnTo>
                    <a:pt x="567" y="641"/>
                  </a:lnTo>
                  <a:lnTo>
                    <a:pt x="580" y="693"/>
                  </a:lnTo>
                  <a:lnTo>
                    <a:pt x="601" y="687"/>
                  </a:lnTo>
                  <a:lnTo>
                    <a:pt x="597" y="710"/>
                  </a:lnTo>
                  <a:lnTo>
                    <a:pt x="621" y="718"/>
                  </a:lnTo>
                  <a:lnTo>
                    <a:pt x="646" y="725"/>
                  </a:lnTo>
                  <a:lnTo>
                    <a:pt x="648" y="790"/>
                  </a:lnTo>
                  <a:lnTo>
                    <a:pt x="672" y="800"/>
                  </a:lnTo>
                  <a:lnTo>
                    <a:pt x="666" y="862"/>
                  </a:lnTo>
                  <a:lnTo>
                    <a:pt x="638" y="879"/>
                  </a:lnTo>
                  <a:lnTo>
                    <a:pt x="601" y="883"/>
                  </a:lnTo>
                  <a:lnTo>
                    <a:pt x="589" y="914"/>
                  </a:lnTo>
                  <a:lnTo>
                    <a:pt x="563" y="918"/>
                  </a:lnTo>
                  <a:lnTo>
                    <a:pt x="479" y="934"/>
                  </a:lnTo>
                  <a:lnTo>
                    <a:pt x="451" y="938"/>
                  </a:lnTo>
                  <a:lnTo>
                    <a:pt x="437" y="954"/>
                  </a:lnTo>
                  <a:lnTo>
                    <a:pt x="446" y="1003"/>
                  </a:lnTo>
                  <a:lnTo>
                    <a:pt x="449" y="1062"/>
                  </a:lnTo>
                  <a:lnTo>
                    <a:pt x="401" y="1080"/>
                  </a:lnTo>
                  <a:lnTo>
                    <a:pt x="331" y="1041"/>
                  </a:lnTo>
                  <a:lnTo>
                    <a:pt x="321" y="1093"/>
                  </a:lnTo>
                  <a:lnTo>
                    <a:pt x="356" y="1116"/>
                  </a:lnTo>
                  <a:lnTo>
                    <a:pt x="367" y="1145"/>
                  </a:lnTo>
                  <a:lnTo>
                    <a:pt x="377" y="1183"/>
                  </a:lnTo>
                  <a:lnTo>
                    <a:pt x="358" y="1207"/>
                  </a:lnTo>
                  <a:lnTo>
                    <a:pt x="339" y="1231"/>
                  </a:lnTo>
                  <a:lnTo>
                    <a:pt x="322" y="1290"/>
                  </a:lnTo>
                  <a:lnTo>
                    <a:pt x="294" y="1302"/>
                  </a:lnTo>
                  <a:lnTo>
                    <a:pt x="289" y="1326"/>
                  </a:lnTo>
                  <a:lnTo>
                    <a:pt x="259" y="1336"/>
                  </a:lnTo>
                  <a:lnTo>
                    <a:pt x="249" y="1399"/>
                  </a:lnTo>
                  <a:lnTo>
                    <a:pt x="318" y="1430"/>
                  </a:lnTo>
                  <a:lnTo>
                    <a:pt x="322" y="1460"/>
                  </a:lnTo>
                  <a:lnTo>
                    <a:pt x="321" y="1488"/>
                  </a:lnTo>
                  <a:lnTo>
                    <a:pt x="294" y="1507"/>
                  </a:lnTo>
                  <a:lnTo>
                    <a:pt x="277" y="1535"/>
                  </a:lnTo>
                  <a:lnTo>
                    <a:pt x="279" y="1610"/>
                  </a:lnTo>
                  <a:lnTo>
                    <a:pt x="245" y="1619"/>
                  </a:lnTo>
                  <a:lnTo>
                    <a:pt x="221" y="1636"/>
                  </a:lnTo>
                  <a:lnTo>
                    <a:pt x="224" y="1678"/>
                  </a:lnTo>
                  <a:lnTo>
                    <a:pt x="219" y="1737"/>
                  </a:lnTo>
                  <a:lnTo>
                    <a:pt x="81" y="1743"/>
                  </a:lnTo>
                  <a:lnTo>
                    <a:pt x="71" y="1678"/>
                  </a:lnTo>
                  <a:lnTo>
                    <a:pt x="32" y="1655"/>
                  </a:lnTo>
                  <a:lnTo>
                    <a:pt x="24" y="1516"/>
                  </a:lnTo>
                  <a:lnTo>
                    <a:pt x="49" y="1507"/>
                  </a:lnTo>
                  <a:lnTo>
                    <a:pt x="57" y="1468"/>
                  </a:lnTo>
                  <a:lnTo>
                    <a:pt x="59" y="1278"/>
                  </a:lnTo>
                  <a:lnTo>
                    <a:pt x="39" y="1224"/>
                  </a:lnTo>
                  <a:lnTo>
                    <a:pt x="38" y="1148"/>
                  </a:lnTo>
                  <a:lnTo>
                    <a:pt x="26" y="1065"/>
                  </a:lnTo>
                  <a:lnTo>
                    <a:pt x="5" y="1021"/>
                  </a:lnTo>
                  <a:lnTo>
                    <a:pt x="10" y="983"/>
                  </a:lnTo>
                  <a:lnTo>
                    <a:pt x="43" y="941"/>
                  </a:lnTo>
                  <a:lnTo>
                    <a:pt x="0" y="848"/>
                  </a:lnTo>
                  <a:lnTo>
                    <a:pt x="34" y="796"/>
                  </a:lnTo>
                  <a:lnTo>
                    <a:pt x="53" y="765"/>
                  </a:lnTo>
                  <a:lnTo>
                    <a:pt x="34" y="741"/>
                  </a:lnTo>
                  <a:lnTo>
                    <a:pt x="34" y="672"/>
                  </a:lnTo>
                  <a:lnTo>
                    <a:pt x="59" y="666"/>
                  </a:lnTo>
                  <a:lnTo>
                    <a:pt x="56" y="610"/>
                  </a:lnTo>
                  <a:lnTo>
                    <a:pt x="34" y="603"/>
                  </a:lnTo>
                  <a:lnTo>
                    <a:pt x="29" y="525"/>
                  </a:lnTo>
                  <a:lnTo>
                    <a:pt x="52" y="507"/>
                  </a:lnTo>
                  <a:lnTo>
                    <a:pt x="48" y="470"/>
                  </a:lnTo>
                  <a:lnTo>
                    <a:pt x="36" y="391"/>
                  </a:lnTo>
                  <a:lnTo>
                    <a:pt x="53" y="362"/>
                  </a:lnTo>
                  <a:lnTo>
                    <a:pt x="59" y="318"/>
                  </a:lnTo>
                  <a:lnTo>
                    <a:pt x="87" y="296"/>
                  </a:lnTo>
                  <a:lnTo>
                    <a:pt x="103" y="255"/>
                  </a:lnTo>
                  <a:lnTo>
                    <a:pt x="80" y="221"/>
                  </a:lnTo>
                  <a:lnTo>
                    <a:pt x="105" y="187"/>
                  </a:lnTo>
                  <a:lnTo>
                    <a:pt x="107" y="128"/>
                  </a:lnTo>
                  <a:lnTo>
                    <a:pt x="136" y="118"/>
                  </a:lnTo>
                  <a:lnTo>
                    <a:pt x="140" y="5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18"/>
            <p:cNvSpPr>
              <a:spLocks noChangeAspect="1"/>
            </p:cNvSpPr>
            <p:nvPr/>
          </p:nvSpPr>
          <p:spPr bwMode="auto">
            <a:xfrm>
              <a:off x="7627968" y="4995078"/>
              <a:ext cx="242638" cy="264468"/>
            </a:xfrm>
            <a:custGeom>
              <a:avLst/>
              <a:gdLst/>
              <a:ahLst/>
              <a:cxnLst>
                <a:cxn ang="0">
                  <a:pos x="71" y="217"/>
                </a:cxn>
                <a:cxn ang="0">
                  <a:pos x="84" y="237"/>
                </a:cxn>
                <a:cxn ang="0">
                  <a:pos x="113" y="248"/>
                </a:cxn>
                <a:cxn ang="0">
                  <a:pos x="138" y="273"/>
                </a:cxn>
                <a:cxn ang="0">
                  <a:pos x="152" y="302"/>
                </a:cxn>
                <a:cxn ang="0">
                  <a:pos x="217" y="311"/>
                </a:cxn>
                <a:cxn ang="0">
                  <a:pos x="230" y="321"/>
                </a:cxn>
                <a:cxn ang="0">
                  <a:pos x="245" y="336"/>
                </a:cxn>
                <a:cxn ang="0">
                  <a:pos x="227" y="403"/>
                </a:cxn>
                <a:cxn ang="0">
                  <a:pos x="217" y="445"/>
                </a:cxn>
                <a:cxn ang="0">
                  <a:pos x="360" y="448"/>
                </a:cxn>
                <a:cxn ang="0">
                  <a:pos x="364" y="424"/>
                </a:cxn>
                <a:cxn ang="0">
                  <a:pos x="392" y="405"/>
                </a:cxn>
                <a:cxn ang="0">
                  <a:pos x="413" y="368"/>
                </a:cxn>
                <a:cxn ang="0">
                  <a:pos x="407" y="358"/>
                </a:cxn>
                <a:cxn ang="0">
                  <a:pos x="398" y="238"/>
                </a:cxn>
                <a:cxn ang="0">
                  <a:pos x="358" y="234"/>
                </a:cxn>
                <a:cxn ang="0">
                  <a:pos x="354" y="182"/>
                </a:cxn>
                <a:cxn ang="0">
                  <a:pos x="310" y="179"/>
                </a:cxn>
                <a:cxn ang="0">
                  <a:pos x="286" y="169"/>
                </a:cxn>
                <a:cxn ang="0">
                  <a:pos x="275" y="145"/>
                </a:cxn>
                <a:cxn ang="0">
                  <a:pos x="233" y="138"/>
                </a:cxn>
                <a:cxn ang="0">
                  <a:pos x="230" y="99"/>
                </a:cxn>
                <a:cxn ang="0">
                  <a:pos x="198" y="86"/>
                </a:cxn>
                <a:cxn ang="0">
                  <a:pos x="194" y="52"/>
                </a:cxn>
                <a:cxn ang="0">
                  <a:pos x="174" y="20"/>
                </a:cxn>
                <a:cxn ang="0">
                  <a:pos x="119" y="0"/>
                </a:cxn>
                <a:cxn ang="0">
                  <a:pos x="83" y="27"/>
                </a:cxn>
                <a:cxn ang="0">
                  <a:pos x="31" y="47"/>
                </a:cxn>
                <a:cxn ang="0">
                  <a:pos x="16" y="86"/>
                </a:cxn>
                <a:cxn ang="0">
                  <a:pos x="0" y="165"/>
                </a:cxn>
                <a:cxn ang="0">
                  <a:pos x="27" y="197"/>
                </a:cxn>
                <a:cxn ang="0">
                  <a:pos x="71" y="217"/>
                </a:cxn>
              </a:cxnLst>
              <a:rect l="0" t="0" r="r" b="b"/>
              <a:pathLst>
                <a:path w="413" h="448">
                  <a:moveTo>
                    <a:pt x="71" y="217"/>
                  </a:moveTo>
                  <a:lnTo>
                    <a:pt x="84" y="237"/>
                  </a:lnTo>
                  <a:lnTo>
                    <a:pt x="113" y="248"/>
                  </a:lnTo>
                  <a:lnTo>
                    <a:pt x="138" y="273"/>
                  </a:lnTo>
                  <a:lnTo>
                    <a:pt x="152" y="302"/>
                  </a:lnTo>
                  <a:lnTo>
                    <a:pt x="217" y="311"/>
                  </a:lnTo>
                  <a:lnTo>
                    <a:pt x="230" y="321"/>
                  </a:lnTo>
                  <a:lnTo>
                    <a:pt x="245" y="336"/>
                  </a:lnTo>
                  <a:lnTo>
                    <a:pt x="227" y="403"/>
                  </a:lnTo>
                  <a:lnTo>
                    <a:pt x="217" y="445"/>
                  </a:lnTo>
                  <a:lnTo>
                    <a:pt x="360" y="448"/>
                  </a:lnTo>
                  <a:lnTo>
                    <a:pt x="364" y="424"/>
                  </a:lnTo>
                  <a:lnTo>
                    <a:pt x="392" y="405"/>
                  </a:lnTo>
                  <a:lnTo>
                    <a:pt x="413" y="368"/>
                  </a:lnTo>
                  <a:lnTo>
                    <a:pt x="407" y="358"/>
                  </a:lnTo>
                  <a:lnTo>
                    <a:pt x="398" y="238"/>
                  </a:lnTo>
                  <a:lnTo>
                    <a:pt x="358" y="234"/>
                  </a:lnTo>
                  <a:lnTo>
                    <a:pt x="354" y="182"/>
                  </a:lnTo>
                  <a:lnTo>
                    <a:pt x="310" y="179"/>
                  </a:lnTo>
                  <a:lnTo>
                    <a:pt x="286" y="169"/>
                  </a:lnTo>
                  <a:lnTo>
                    <a:pt x="275" y="145"/>
                  </a:lnTo>
                  <a:lnTo>
                    <a:pt x="233" y="138"/>
                  </a:lnTo>
                  <a:lnTo>
                    <a:pt x="230" y="99"/>
                  </a:lnTo>
                  <a:lnTo>
                    <a:pt x="198" y="86"/>
                  </a:lnTo>
                  <a:lnTo>
                    <a:pt x="194" y="52"/>
                  </a:lnTo>
                  <a:lnTo>
                    <a:pt x="174" y="20"/>
                  </a:lnTo>
                  <a:lnTo>
                    <a:pt x="119" y="0"/>
                  </a:lnTo>
                  <a:lnTo>
                    <a:pt x="83" y="27"/>
                  </a:lnTo>
                  <a:lnTo>
                    <a:pt x="31" y="47"/>
                  </a:lnTo>
                  <a:lnTo>
                    <a:pt x="16" y="86"/>
                  </a:lnTo>
                  <a:lnTo>
                    <a:pt x="0" y="165"/>
                  </a:lnTo>
                  <a:lnTo>
                    <a:pt x="27" y="197"/>
                  </a:lnTo>
                  <a:lnTo>
                    <a:pt x="71" y="21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9"/>
            <p:cNvSpPr>
              <a:spLocks noChangeAspect="1"/>
            </p:cNvSpPr>
            <p:nvPr/>
          </p:nvSpPr>
          <p:spPr bwMode="auto">
            <a:xfrm>
              <a:off x="7218297" y="3821832"/>
              <a:ext cx="61539" cy="31949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64" y="0"/>
                </a:cxn>
                <a:cxn ang="0">
                  <a:pos x="106" y="20"/>
                </a:cxn>
                <a:cxn ang="0">
                  <a:pos x="91" y="51"/>
                </a:cxn>
                <a:cxn ang="0">
                  <a:pos x="35" y="55"/>
                </a:cxn>
                <a:cxn ang="0">
                  <a:pos x="0" y="31"/>
                </a:cxn>
                <a:cxn ang="0">
                  <a:pos x="23" y="0"/>
                </a:cxn>
              </a:cxnLst>
              <a:rect l="0" t="0" r="r" b="b"/>
              <a:pathLst>
                <a:path w="106" h="55">
                  <a:moveTo>
                    <a:pt x="23" y="0"/>
                  </a:moveTo>
                  <a:lnTo>
                    <a:pt x="64" y="0"/>
                  </a:lnTo>
                  <a:lnTo>
                    <a:pt x="106" y="20"/>
                  </a:lnTo>
                  <a:lnTo>
                    <a:pt x="91" y="51"/>
                  </a:lnTo>
                  <a:lnTo>
                    <a:pt x="35" y="55"/>
                  </a:lnTo>
                  <a:lnTo>
                    <a:pt x="0" y="31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20"/>
            <p:cNvSpPr>
              <a:spLocks noChangeAspect="1"/>
            </p:cNvSpPr>
            <p:nvPr/>
          </p:nvSpPr>
          <p:spPr bwMode="auto">
            <a:xfrm>
              <a:off x="7388847" y="3772133"/>
              <a:ext cx="103736" cy="74548"/>
            </a:xfrm>
            <a:custGeom>
              <a:avLst/>
              <a:gdLst/>
              <a:ahLst/>
              <a:cxnLst>
                <a:cxn ang="0">
                  <a:pos x="0" y="125"/>
                </a:cxn>
                <a:cxn ang="0">
                  <a:pos x="16" y="90"/>
                </a:cxn>
                <a:cxn ang="0">
                  <a:pos x="16" y="24"/>
                </a:cxn>
                <a:cxn ang="0">
                  <a:pos x="16" y="0"/>
                </a:cxn>
                <a:cxn ang="0">
                  <a:pos x="58" y="7"/>
                </a:cxn>
                <a:cxn ang="0">
                  <a:pos x="73" y="27"/>
                </a:cxn>
                <a:cxn ang="0">
                  <a:pos x="93" y="35"/>
                </a:cxn>
                <a:cxn ang="0">
                  <a:pos x="113" y="35"/>
                </a:cxn>
                <a:cxn ang="0">
                  <a:pos x="121" y="65"/>
                </a:cxn>
                <a:cxn ang="0">
                  <a:pos x="144" y="76"/>
                </a:cxn>
                <a:cxn ang="0">
                  <a:pos x="176" y="98"/>
                </a:cxn>
                <a:cxn ang="0">
                  <a:pos x="165" y="118"/>
                </a:cxn>
                <a:cxn ang="0">
                  <a:pos x="123" y="120"/>
                </a:cxn>
                <a:cxn ang="0">
                  <a:pos x="58" y="118"/>
                </a:cxn>
                <a:cxn ang="0">
                  <a:pos x="0" y="125"/>
                </a:cxn>
              </a:cxnLst>
              <a:rect l="0" t="0" r="r" b="b"/>
              <a:pathLst>
                <a:path w="176" h="125">
                  <a:moveTo>
                    <a:pt x="0" y="125"/>
                  </a:moveTo>
                  <a:lnTo>
                    <a:pt x="16" y="90"/>
                  </a:lnTo>
                  <a:lnTo>
                    <a:pt x="16" y="24"/>
                  </a:lnTo>
                  <a:lnTo>
                    <a:pt x="16" y="0"/>
                  </a:lnTo>
                  <a:lnTo>
                    <a:pt x="58" y="7"/>
                  </a:lnTo>
                  <a:lnTo>
                    <a:pt x="73" y="27"/>
                  </a:lnTo>
                  <a:lnTo>
                    <a:pt x="93" y="35"/>
                  </a:lnTo>
                  <a:lnTo>
                    <a:pt x="113" y="35"/>
                  </a:lnTo>
                  <a:lnTo>
                    <a:pt x="121" y="65"/>
                  </a:lnTo>
                  <a:lnTo>
                    <a:pt x="144" y="76"/>
                  </a:lnTo>
                  <a:lnTo>
                    <a:pt x="176" y="98"/>
                  </a:lnTo>
                  <a:lnTo>
                    <a:pt x="165" y="118"/>
                  </a:lnTo>
                  <a:lnTo>
                    <a:pt x="123" y="120"/>
                  </a:lnTo>
                  <a:lnTo>
                    <a:pt x="58" y="118"/>
                  </a:lnTo>
                  <a:lnTo>
                    <a:pt x="0" y="12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21"/>
            <p:cNvSpPr>
              <a:spLocks noChangeAspect="1"/>
            </p:cNvSpPr>
            <p:nvPr/>
          </p:nvSpPr>
          <p:spPr bwMode="auto">
            <a:xfrm>
              <a:off x="7511924" y="3823607"/>
              <a:ext cx="42198" cy="28399"/>
            </a:xfrm>
            <a:custGeom>
              <a:avLst/>
              <a:gdLst/>
              <a:ahLst/>
              <a:cxnLst>
                <a:cxn ang="0">
                  <a:pos x="25" y="4"/>
                </a:cxn>
                <a:cxn ang="0">
                  <a:pos x="0" y="22"/>
                </a:cxn>
                <a:cxn ang="0">
                  <a:pos x="17" y="36"/>
                </a:cxn>
                <a:cxn ang="0">
                  <a:pos x="45" y="48"/>
                </a:cxn>
                <a:cxn ang="0">
                  <a:pos x="71" y="34"/>
                </a:cxn>
                <a:cxn ang="0">
                  <a:pos x="69" y="0"/>
                </a:cxn>
                <a:cxn ang="0">
                  <a:pos x="25" y="4"/>
                </a:cxn>
              </a:cxnLst>
              <a:rect l="0" t="0" r="r" b="b"/>
              <a:pathLst>
                <a:path w="71" h="48">
                  <a:moveTo>
                    <a:pt x="25" y="4"/>
                  </a:moveTo>
                  <a:lnTo>
                    <a:pt x="0" y="22"/>
                  </a:lnTo>
                  <a:lnTo>
                    <a:pt x="17" y="36"/>
                  </a:lnTo>
                  <a:lnTo>
                    <a:pt x="45" y="48"/>
                  </a:lnTo>
                  <a:lnTo>
                    <a:pt x="71" y="34"/>
                  </a:lnTo>
                  <a:lnTo>
                    <a:pt x="69" y="0"/>
                  </a:lnTo>
                  <a:lnTo>
                    <a:pt x="25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22"/>
            <p:cNvSpPr>
              <a:spLocks noChangeAspect="1"/>
            </p:cNvSpPr>
            <p:nvPr/>
          </p:nvSpPr>
          <p:spPr bwMode="auto">
            <a:xfrm>
              <a:off x="263321" y="3907359"/>
              <a:ext cx="179341" cy="157971"/>
            </a:xfrm>
            <a:custGeom>
              <a:avLst/>
              <a:gdLst/>
              <a:ahLst/>
              <a:cxnLst>
                <a:cxn ang="0">
                  <a:pos x="54" y="209"/>
                </a:cxn>
                <a:cxn ang="0">
                  <a:pos x="56" y="244"/>
                </a:cxn>
                <a:cxn ang="0">
                  <a:pos x="94" y="244"/>
                </a:cxn>
                <a:cxn ang="0">
                  <a:pos x="113" y="265"/>
                </a:cxn>
                <a:cxn ang="0">
                  <a:pos x="137" y="233"/>
                </a:cxn>
                <a:cxn ang="0">
                  <a:pos x="192" y="214"/>
                </a:cxn>
                <a:cxn ang="0">
                  <a:pos x="256" y="225"/>
                </a:cxn>
                <a:cxn ang="0">
                  <a:pos x="307" y="225"/>
                </a:cxn>
                <a:cxn ang="0">
                  <a:pos x="284" y="174"/>
                </a:cxn>
                <a:cxn ang="0">
                  <a:pos x="256" y="154"/>
                </a:cxn>
                <a:cxn ang="0">
                  <a:pos x="248" y="115"/>
                </a:cxn>
                <a:cxn ang="0">
                  <a:pos x="216" y="91"/>
                </a:cxn>
                <a:cxn ang="0">
                  <a:pos x="181" y="39"/>
                </a:cxn>
                <a:cxn ang="0">
                  <a:pos x="150" y="28"/>
                </a:cxn>
                <a:cxn ang="0">
                  <a:pos x="130" y="0"/>
                </a:cxn>
                <a:cxn ang="0">
                  <a:pos x="89" y="8"/>
                </a:cxn>
                <a:cxn ang="0">
                  <a:pos x="32" y="73"/>
                </a:cxn>
                <a:cxn ang="0">
                  <a:pos x="0" y="89"/>
                </a:cxn>
                <a:cxn ang="0">
                  <a:pos x="35" y="101"/>
                </a:cxn>
                <a:cxn ang="0">
                  <a:pos x="67" y="141"/>
                </a:cxn>
                <a:cxn ang="0">
                  <a:pos x="86" y="159"/>
                </a:cxn>
                <a:cxn ang="0">
                  <a:pos x="59" y="176"/>
                </a:cxn>
                <a:cxn ang="0">
                  <a:pos x="54" y="209"/>
                </a:cxn>
              </a:cxnLst>
              <a:rect l="0" t="0" r="r" b="b"/>
              <a:pathLst>
                <a:path w="307" h="265">
                  <a:moveTo>
                    <a:pt x="54" y="209"/>
                  </a:moveTo>
                  <a:lnTo>
                    <a:pt x="56" y="244"/>
                  </a:lnTo>
                  <a:lnTo>
                    <a:pt x="94" y="244"/>
                  </a:lnTo>
                  <a:lnTo>
                    <a:pt x="113" y="265"/>
                  </a:lnTo>
                  <a:lnTo>
                    <a:pt x="137" y="233"/>
                  </a:lnTo>
                  <a:lnTo>
                    <a:pt x="192" y="214"/>
                  </a:lnTo>
                  <a:lnTo>
                    <a:pt x="256" y="225"/>
                  </a:lnTo>
                  <a:lnTo>
                    <a:pt x="307" y="225"/>
                  </a:lnTo>
                  <a:lnTo>
                    <a:pt x="284" y="174"/>
                  </a:lnTo>
                  <a:lnTo>
                    <a:pt x="256" y="154"/>
                  </a:lnTo>
                  <a:lnTo>
                    <a:pt x="248" y="115"/>
                  </a:lnTo>
                  <a:lnTo>
                    <a:pt x="216" y="91"/>
                  </a:lnTo>
                  <a:lnTo>
                    <a:pt x="181" y="39"/>
                  </a:lnTo>
                  <a:lnTo>
                    <a:pt x="150" y="28"/>
                  </a:lnTo>
                  <a:lnTo>
                    <a:pt x="130" y="0"/>
                  </a:lnTo>
                  <a:lnTo>
                    <a:pt x="89" y="8"/>
                  </a:lnTo>
                  <a:lnTo>
                    <a:pt x="32" y="73"/>
                  </a:lnTo>
                  <a:lnTo>
                    <a:pt x="0" y="89"/>
                  </a:lnTo>
                  <a:lnTo>
                    <a:pt x="35" y="101"/>
                  </a:lnTo>
                  <a:lnTo>
                    <a:pt x="67" y="141"/>
                  </a:lnTo>
                  <a:lnTo>
                    <a:pt x="86" y="159"/>
                  </a:lnTo>
                  <a:lnTo>
                    <a:pt x="59" y="176"/>
                  </a:lnTo>
                  <a:lnTo>
                    <a:pt x="54" y="20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23"/>
            <p:cNvSpPr>
              <a:spLocks noChangeAspect="1"/>
            </p:cNvSpPr>
            <p:nvPr/>
          </p:nvSpPr>
          <p:spPr bwMode="auto">
            <a:xfrm>
              <a:off x="263321" y="3907359"/>
              <a:ext cx="179341" cy="157971"/>
            </a:xfrm>
            <a:custGeom>
              <a:avLst/>
              <a:gdLst/>
              <a:ahLst/>
              <a:cxnLst>
                <a:cxn ang="0">
                  <a:pos x="54" y="209"/>
                </a:cxn>
                <a:cxn ang="0">
                  <a:pos x="56" y="244"/>
                </a:cxn>
                <a:cxn ang="0">
                  <a:pos x="94" y="244"/>
                </a:cxn>
                <a:cxn ang="0">
                  <a:pos x="113" y="265"/>
                </a:cxn>
                <a:cxn ang="0">
                  <a:pos x="137" y="233"/>
                </a:cxn>
                <a:cxn ang="0">
                  <a:pos x="192" y="214"/>
                </a:cxn>
                <a:cxn ang="0">
                  <a:pos x="256" y="225"/>
                </a:cxn>
                <a:cxn ang="0">
                  <a:pos x="307" y="225"/>
                </a:cxn>
                <a:cxn ang="0">
                  <a:pos x="284" y="174"/>
                </a:cxn>
                <a:cxn ang="0">
                  <a:pos x="256" y="154"/>
                </a:cxn>
                <a:cxn ang="0">
                  <a:pos x="248" y="115"/>
                </a:cxn>
                <a:cxn ang="0">
                  <a:pos x="216" y="91"/>
                </a:cxn>
                <a:cxn ang="0">
                  <a:pos x="181" y="39"/>
                </a:cxn>
                <a:cxn ang="0">
                  <a:pos x="150" y="28"/>
                </a:cxn>
                <a:cxn ang="0">
                  <a:pos x="130" y="0"/>
                </a:cxn>
                <a:cxn ang="0">
                  <a:pos x="89" y="8"/>
                </a:cxn>
                <a:cxn ang="0">
                  <a:pos x="32" y="73"/>
                </a:cxn>
                <a:cxn ang="0">
                  <a:pos x="0" y="89"/>
                </a:cxn>
                <a:cxn ang="0">
                  <a:pos x="35" y="101"/>
                </a:cxn>
                <a:cxn ang="0">
                  <a:pos x="67" y="141"/>
                </a:cxn>
                <a:cxn ang="0">
                  <a:pos x="86" y="159"/>
                </a:cxn>
                <a:cxn ang="0">
                  <a:pos x="59" y="176"/>
                </a:cxn>
                <a:cxn ang="0">
                  <a:pos x="54" y="209"/>
                </a:cxn>
              </a:cxnLst>
              <a:rect l="0" t="0" r="r" b="b"/>
              <a:pathLst>
                <a:path w="307" h="265">
                  <a:moveTo>
                    <a:pt x="54" y="209"/>
                  </a:moveTo>
                  <a:lnTo>
                    <a:pt x="56" y="244"/>
                  </a:lnTo>
                  <a:lnTo>
                    <a:pt x="94" y="244"/>
                  </a:lnTo>
                  <a:lnTo>
                    <a:pt x="113" y="265"/>
                  </a:lnTo>
                  <a:lnTo>
                    <a:pt x="137" y="233"/>
                  </a:lnTo>
                  <a:lnTo>
                    <a:pt x="192" y="214"/>
                  </a:lnTo>
                  <a:lnTo>
                    <a:pt x="256" y="225"/>
                  </a:lnTo>
                  <a:lnTo>
                    <a:pt x="307" y="225"/>
                  </a:lnTo>
                  <a:lnTo>
                    <a:pt x="284" y="174"/>
                  </a:lnTo>
                  <a:lnTo>
                    <a:pt x="256" y="154"/>
                  </a:lnTo>
                  <a:lnTo>
                    <a:pt x="248" y="115"/>
                  </a:lnTo>
                  <a:lnTo>
                    <a:pt x="216" y="91"/>
                  </a:lnTo>
                  <a:lnTo>
                    <a:pt x="181" y="39"/>
                  </a:lnTo>
                  <a:lnTo>
                    <a:pt x="150" y="28"/>
                  </a:lnTo>
                  <a:lnTo>
                    <a:pt x="130" y="0"/>
                  </a:lnTo>
                  <a:lnTo>
                    <a:pt x="89" y="8"/>
                  </a:lnTo>
                  <a:lnTo>
                    <a:pt x="32" y="73"/>
                  </a:lnTo>
                  <a:lnTo>
                    <a:pt x="0" y="89"/>
                  </a:lnTo>
                  <a:lnTo>
                    <a:pt x="35" y="101"/>
                  </a:lnTo>
                  <a:lnTo>
                    <a:pt x="67" y="141"/>
                  </a:lnTo>
                  <a:lnTo>
                    <a:pt x="86" y="159"/>
                  </a:lnTo>
                  <a:lnTo>
                    <a:pt x="59" y="176"/>
                  </a:lnTo>
                  <a:lnTo>
                    <a:pt x="54" y="209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24"/>
            <p:cNvSpPr>
              <a:spLocks noChangeAspect="1"/>
            </p:cNvSpPr>
            <p:nvPr/>
          </p:nvSpPr>
          <p:spPr bwMode="auto">
            <a:xfrm>
              <a:off x="4534096" y="4503744"/>
              <a:ext cx="218022" cy="228969"/>
            </a:xfrm>
            <a:custGeom>
              <a:avLst/>
              <a:gdLst/>
              <a:ahLst/>
              <a:cxnLst>
                <a:cxn ang="0">
                  <a:pos x="55" y="234"/>
                </a:cxn>
                <a:cxn ang="0">
                  <a:pos x="0" y="0"/>
                </a:cxn>
                <a:cxn ang="0">
                  <a:pos x="49" y="19"/>
                </a:cxn>
                <a:cxn ang="0">
                  <a:pos x="124" y="15"/>
                </a:cxn>
                <a:cxn ang="0">
                  <a:pos x="124" y="78"/>
                </a:cxn>
                <a:cxn ang="0">
                  <a:pos x="171" y="95"/>
                </a:cxn>
                <a:cxn ang="0">
                  <a:pos x="183" y="126"/>
                </a:cxn>
                <a:cxn ang="0">
                  <a:pos x="222" y="161"/>
                </a:cxn>
                <a:cxn ang="0">
                  <a:pos x="246" y="185"/>
                </a:cxn>
                <a:cxn ang="0">
                  <a:pos x="238" y="240"/>
                </a:cxn>
                <a:cxn ang="0">
                  <a:pos x="274" y="295"/>
                </a:cxn>
                <a:cxn ang="0">
                  <a:pos x="338" y="316"/>
                </a:cxn>
                <a:cxn ang="0">
                  <a:pos x="373" y="375"/>
                </a:cxn>
                <a:cxn ang="0">
                  <a:pos x="373" y="375"/>
                </a:cxn>
                <a:cxn ang="0">
                  <a:pos x="363" y="378"/>
                </a:cxn>
                <a:cxn ang="0">
                  <a:pos x="341" y="383"/>
                </a:cxn>
                <a:cxn ang="0">
                  <a:pos x="329" y="387"/>
                </a:cxn>
                <a:cxn ang="0">
                  <a:pos x="318" y="388"/>
                </a:cxn>
                <a:cxn ang="0">
                  <a:pos x="307" y="388"/>
                </a:cxn>
                <a:cxn ang="0">
                  <a:pos x="304" y="388"/>
                </a:cxn>
                <a:cxn ang="0">
                  <a:pos x="301" y="387"/>
                </a:cxn>
                <a:cxn ang="0">
                  <a:pos x="301" y="387"/>
                </a:cxn>
                <a:cxn ang="0">
                  <a:pos x="295" y="383"/>
                </a:cxn>
                <a:cxn ang="0">
                  <a:pos x="285" y="381"/>
                </a:cxn>
                <a:cxn ang="0">
                  <a:pos x="261" y="373"/>
                </a:cxn>
                <a:cxn ang="0">
                  <a:pos x="231" y="367"/>
                </a:cxn>
                <a:cxn ang="0">
                  <a:pos x="171" y="304"/>
                </a:cxn>
                <a:cxn ang="0">
                  <a:pos x="128" y="244"/>
                </a:cxn>
                <a:cxn ang="0">
                  <a:pos x="55" y="234"/>
                </a:cxn>
              </a:cxnLst>
              <a:rect l="0" t="0" r="r" b="b"/>
              <a:pathLst>
                <a:path w="373" h="388">
                  <a:moveTo>
                    <a:pt x="55" y="234"/>
                  </a:moveTo>
                  <a:lnTo>
                    <a:pt x="0" y="0"/>
                  </a:lnTo>
                  <a:lnTo>
                    <a:pt x="49" y="19"/>
                  </a:lnTo>
                  <a:lnTo>
                    <a:pt x="124" y="15"/>
                  </a:lnTo>
                  <a:lnTo>
                    <a:pt x="124" y="78"/>
                  </a:lnTo>
                  <a:lnTo>
                    <a:pt x="171" y="95"/>
                  </a:lnTo>
                  <a:lnTo>
                    <a:pt x="183" y="126"/>
                  </a:lnTo>
                  <a:lnTo>
                    <a:pt x="222" y="161"/>
                  </a:lnTo>
                  <a:lnTo>
                    <a:pt x="246" y="185"/>
                  </a:lnTo>
                  <a:lnTo>
                    <a:pt x="238" y="240"/>
                  </a:lnTo>
                  <a:lnTo>
                    <a:pt x="274" y="295"/>
                  </a:lnTo>
                  <a:lnTo>
                    <a:pt x="338" y="316"/>
                  </a:lnTo>
                  <a:lnTo>
                    <a:pt x="373" y="375"/>
                  </a:lnTo>
                  <a:lnTo>
                    <a:pt x="373" y="375"/>
                  </a:lnTo>
                  <a:lnTo>
                    <a:pt x="363" y="378"/>
                  </a:lnTo>
                  <a:lnTo>
                    <a:pt x="341" y="383"/>
                  </a:lnTo>
                  <a:lnTo>
                    <a:pt x="329" y="387"/>
                  </a:lnTo>
                  <a:lnTo>
                    <a:pt x="318" y="388"/>
                  </a:lnTo>
                  <a:lnTo>
                    <a:pt x="307" y="388"/>
                  </a:lnTo>
                  <a:lnTo>
                    <a:pt x="304" y="388"/>
                  </a:lnTo>
                  <a:lnTo>
                    <a:pt x="301" y="387"/>
                  </a:lnTo>
                  <a:lnTo>
                    <a:pt x="301" y="387"/>
                  </a:lnTo>
                  <a:lnTo>
                    <a:pt x="295" y="383"/>
                  </a:lnTo>
                  <a:lnTo>
                    <a:pt x="285" y="381"/>
                  </a:lnTo>
                  <a:lnTo>
                    <a:pt x="261" y="373"/>
                  </a:lnTo>
                  <a:lnTo>
                    <a:pt x="231" y="367"/>
                  </a:lnTo>
                  <a:lnTo>
                    <a:pt x="171" y="304"/>
                  </a:lnTo>
                  <a:lnTo>
                    <a:pt x="128" y="244"/>
                  </a:lnTo>
                  <a:lnTo>
                    <a:pt x="55" y="23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25"/>
            <p:cNvSpPr>
              <a:spLocks noChangeAspect="1"/>
            </p:cNvSpPr>
            <p:nvPr/>
          </p:nvSpPr>
          <p:spPr bwMode="auto">
            <a:xfrm>
              <a:off x="4711678" y="4542793"/>
              <a:ext cx="75604" cy="58574"/>
            </a:xfrm>
            <a:custGeom>
              <a:avLst/>
              <a:gdLst/>
              <a:ahLst/>
              <a:cxnLst>
                <a:cxn ang="0">
                  <a:pos x="9" y="51"/>
                </a:cxn>
                <a:cxn ang="0">
                  <a:pos x="0" y="87"/>
                </a:cxn>
                <a:cxn ang="0">
                  <a:pos x="51" y="98"/>
                </a:cxn>
                <a:cxn ang="0">
                  <a:pos x="103" y="70"/>
                </a:cxn>
                <a:cxn ang="0">
                  <a:pos x="127" y="35"/>
                </a:cxn>
                <a:cxn ang="0">
                  <a:pos x="123" y="0"/>
                </a:cxn>
                <a:cxn ang="0">
                  <a:pos x="83" y="4"/>
                </a:cxn>
                <a:cxn ang="0">
                  <a:pos x="75" y="35"/>
                </a:cxn>
                <a:cxn ang="0">
                  <a:pos x="9" y="51"/>
                </a:cxn>
              </a:cxnLst>
              <a:rect l="0" t="0" r="r" b="b"/>
              <a:pathLst>
                <a:path w="127" h="98">
                  <a:moveTo>
                    <a:pt x="9" y="51"/>
                  </a:moveTo>
                  <a:lnTo>
                    <a:pt x="0" y="87"/>
                  </a:lnTo>
                  <a:lnTo>
                    <a:pt x="51" y="98"/>
                  </a:lnTo>
                  <a:lnTo>
                    <a:pt x="103" y="70"/>
                  </a:lnTo>
                  <a:lnTo>
                    <a:pt x="127" y="35"/>
                  </a:lnTo>
                  <a:lnTo>
                    <a:pt x="123" y="0"/>
                  </a:lnTo>
                  <a:lnTo>
                    <a:pt x="83" y="4"/>
                  </a:lnTo>
                  <a:lnTo>
                    <a:pt x="75" y="35"/>
                  </a:lnTo>
                  <a:lnTo>
                    <a:pt x="9" y="5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26"/>
            <p:cNvSpPr>
              <a:spLocks noChangeAspect="1"/>
            </p:cNvSpPr>
            <p:nvPr/>
          </p:nvSpPr>
          <p:spPr bwMode="auto">
            <a:xfrm>
              <a:off x="4834756" y="4564093"/>
              <a:ext cx="38681" cy="26624"/>
            </a:xfrm>
            <a:custGeom>
              <a:avLst/>
              <a:gdLst/>
              <a:ahLst/>
              <a:cxnLst>
                <a:cxn ang="0">
                  <a:pos x="34" y="45"/>
                </a:cxn>
                <a:cxn ang="0">
                  <a:pos x="34" y="45"/>
                </a:cxn>
                <a:cxn ang="0">
                  <a:pos x="40" y="44"/>
                </a:cxn>
                <a:cxn ang="0">
                  <a:pos x="46" y="43"/>
                </a:cxn>
                <a:cxn ang="0">
                  <a:pos x="51" y="42"/>
                </a:cxn>
                <a:cxn ang="0">
                  <a:pos x="56" y="38"/>
                </a:cxn>
                <a:cxn ang="0">
                  <a:pos x="61" y="35"/>
                </a:cxn>
                <a:cxn ang="0">
                  <a:pos x="64" y="31"/>
                </a:cxn>
                <a:cxn ang="0">
                  <a:pos x="66" y="26"/>
                </a:cxn>
                <a:cxn ang="0">
                  <a:pos x="66" y="23"/>
                </a:cxn>
                <a:cxn ang="0">
                  <a:pos x="66" y="23"/>
                </a:cxn>
                <a:cxn ang="0">
                  <a:pos x="66" y="18"/>
                </a:cxn>
                <a:cxn ang="0">
                  <a:pos x="64" y="14"/>
                </a:cxn>
                <a:cxn ang="0">
                  <a:pos x="61" y="10"/>
                </a:cxn>
                <a:cxn ang="0">
                  <a:pos x="56" y="6"/>
                </a:cxn>
                <a:cxn ang="0">
                  <a:pos x="51" y="4"/>
                </a:cxn>
                <a:cxn ang="0">
                  <a:pos x="46" y="1"/>
                </a:cxn>
                <a:cxn ang="0">
                  <a:pos x="40" y="0"/>
                </a:cxn>
                <a:cxn ang="0">
                  <a:pos x="34" y="0"/>
                </a:cxn>
                <a:cxn ang="0">
                  <a:pos x="34" y="0"/>
                </a:cxn>
                <a:cxn ang="0">
                  <a:pos x="26" y="0"/>
                </a:cxn>
                <a:cxn ang="0">
                  <a:pos x="20" y="1"/>
                </a:cxn>
                <a:cxn ang="0">
                  <a:pos x="15" y="4"/>
                </a:cxn>
                <a:cxn ang="0">
                  <a:pos x="10" y="6"/>
                </a:cxn>
                <a:cxn ang="0">
                  <a:pos x="5" y="10"/>
                </a:cxn>
                <a:cxn ang="0">
                  <a:pos x="2" y="14"/>
                </a:cxn>
                <a:cxn ang="0">
                  <a:pos x="0" y="18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26"/>
                </a:cxn>
                <a:cxn ang="0">
                  <a:pos x="2" y="31"/>
                </a:cxn>
                <a:cxn ang="0">
                  <a:pos x="5" y="35"/>
                </a:cxn>
                <a:cxn ang="0">
                  <a:pos x="10" y="38"/>
                </a:cxn>
                <a:cxn ang="0">
                  <a:pos x="15" y="42"/>
                </a:cxn>
                <a:cxn ang="0">
                  <a:pos x="20" y="43"/>
                </a:cxn>
                <a:cxn ang="0">
                  <a:pos x="26" y="44"/>
                </a:cxn>
                <a:cxn ang="0">
                  <a:pos x="34" y="45"/>
                </a:cxn>
                <a:cxn ang="0">
                  <a:pos x="34" y="45"/>
                </a:cxn>
              </a:cxnLst>
              <a:rect l="0" t="0" r="r" b="b"/>
              <a:pathLst>
                <a:path w="66" h="45">
                  <a:moveTo>
                    <a:pt x="34" y="45"/>
                  </a:moveTo>
                  <a:lnTo>
                    <a:pt x="34" y="45"/>
                  </a:lnTo>
                  <a:lnTo>
                    <a:pt x="40" y="44"/>
                  </a:lnTo>
                  <a:lnTo>
                    <a:pt x="46" y="43"/>
                  </a:lnTo>
                  <a:lnTo>
                    <a:pt x="51" y="42"/>
                  </a:lnTo>
                  <a:lnTo>
                    <a:pt x="56" y="38"/>
                  </a:lnTo>
                  <a:lnTo>
                    <a:pt x="61" y="35"/>
                  </a:lnTo>
                  <a:lnTo>
                    <a:pt x="64" y="31"/>
                  </a:lnTo>
                  <a:lnTo>
                    <a:pt x="66" y="26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18"/>
                  </a:lnTo>
                  <a:lnTo>
                    <a:pt x="64" y="14"/>
                  </a:lnTo>
                  <a:lnTo>
                    <a:pt x="61" y="10"/>
                  </a:lnTo>
                  <a:lnTo>
                    <a:pt x="56" y="6"/>
                  </a:lnTo>
                  <a:lnTo>
                    <a:pt x="51" y="4"/>
                  </a:lnTo>
                  <a:lnTo>
                    <a:pt x="46" y="1"/>
                  </a:lnTo>
                  <a:lnTo>
                    <a:pt x="40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0" y="1"/>
                  </a:lnTo>
                  <a:lnTo>
                    <a:pt x="15" y="4"/>
                  </a:lnTo>
                  <a:lnTo>
                    <a:pt x="10" y="6"/>
                  </a:lnTo>
                  <a:lnTo>
                    <a:pt x="5" y="10"/>
                  </a:lnTo>
                  <a:lnTo>
                    <a:pt x="2" y="14"/>
                  </a:lnTo>
                  <a:lnTo>
                    <a:pt x="0" y="18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2" y="31"/>
                  </a:lnTo>
                  <a:lnTo>
                    <a:pt x="5" y="35"/>
                  </a:lnTo>
                  <a:lnTo>
                    <a:pt x="10" y="38"/>
                  </a:lnTo>
                  <a:lnTo>
                    <a:pt x="15" y="42"/>
                  </a:lnTo>
                  <a:lnTo>
                    <a:pt x="20" y="43"/>
                  </a:lnTo>
                  <a:lnTo>
                    <a:pt x="26" y="44"/>
                  </a:lnTo>
                  <a:lnTo>
                    <a:pt x="34" y="45"/>
                  </a:lnTo>
                  <a:lnTo>
                    <a:pt x="34" y="4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Freeform 27"/>
            <p:cNvSpPr>
              <a:spLocks noChangeAspect="1"/>
            </p:cNvSpPr>
            <p:nvPr/>
          </p:nvSpPr>
          <p:spPr bwMode="auto">
            <a:xfrm>
              <a:off x="927937" y="3232876"/>
              <a:ext cx="101978" cy="198795"/>
            </a:xfrm>
            <a:custGeom>
              <a:avLst/>
              <a:gdLst/>
              <a:ahLst/>
              <a:cxnLst>
                <a:cxn ang="0">
                  <a:pos x="99" y="335"/>
                </a:cxn>
                <a:cxn ang="0">
                  <a:pos x="71" y="334"/>
                </a:cxn>
                <a:cxn ang="0">
                  <a:pos x="60" y="284"/>
                </a:cxn>
                <a:cxn ang="0">
                  <a:pos x="20" y="267"/>
                </a:cxn>
                <a:cxn ang="0">
                  <a:pos x="0" y="216"/>
                </a:cxn>
                <a:cxn ang="0">
                  <a:pos x="12" y="168"/>
                </a:cxn>
                <a:cxn ang="0">
                  <a:pos x="55" y="153"/>
                </a:cxn>
                <a:cxn ang="0">
                  <a:pos x="32" y="117"/>
                </a:cxn>
                <a:cxn ang="0">
                  <a:pos x="40" y="82"/>
                </a:cxn>
                <a:cxn ang="0">
                  <a:pos x="60" y="82"/>
                </a:cxn>
                <a:cxn ang="0">
                  <a:pos x="51" y="23"/>
                </a:cxn>
                <a:cxn ang="0">
                  <a:pos x="81" y="1"/>
                </a:cxn>
                <a:cxn ang="0">
                  <a:pos x="105" y="0"/>
                </a:cxn>
                <a:cxn ang="0">
                  <a:pos x="128" y="15"/>
                </a:cxn>
                <a:cxn ang="0">
                  <a:pos x="165" y="31"/>
                </a:cxn>
                <a:cxn ang="0">
                  <a:pos x="153" y="66"/>
                </a:cxn>
                <a:cxn ang="0">
                  <a:pos x="170" y="94"/>
                </a:cxn>
                <a:cxn ang="0">
                  <a:pos x="165" y="151"/>
                </a:cxn>
                <a:cxn ang="0">
                  <a:pos x="133" y="159"/>
                </a:cxn>
                <a:cxn ang="0">
                  <a:pos x="129" y="203"/>
                </a:cxn>
                <a:cxn ang="0">
                  <a:pos x="157" y="213"/>
                </a:cxn>
                <a:cxn ang="0">
                  <a:pos x="174" y="235"/>
                </a:cxn>
                <a:cxn ang="0">
                  <a:pos x="167" y="308"/>
                </a:cxn>
                <a:cxn ang="0">
                  <a:pos x="143" y="314"/>
                </a:cxn>
                <a:cxn ang="0">
                  <a:pos x="99" y="335"/>
                </a:cxn>
              </a:cxnLst>
              <a:rect l="0" t="0" r="r" b="b"/>
              <a:pathLst>
                <a:path w="174" h="335">
                  <a:moveTo>
                    <a:pt x="99" y="335"/>
                  </a:moveTo>
                  <a:lnTo>
                    <a:pt x="71" y="334"/>
                  </a:lnTo>
                  <a:lnTo>
                    <a:pt x="60" y="284"/>
                  </a:lnTo>
                  <a:lnTo>
                    <a:pt x="20" y="267"/>
                  </a:lnTo>
                  <a:lnTo>
                    <a:pt x="0" y="216"/>
                  </a:lnTo>
                  <a:lnTo>
                    <a:pt x="12" y="168"/>
                  </a:lnTo>
                  <a:lnTo>
                    <a:pt x="55" y="153"/>
                  </a:lnTo>
                  <a:lnTo>
                    <a:pt x="32" y="117"/>
                  </a:lnTo>
                  <a:lnTo>
                    <a:pt x="40" y="82"/>
                  </a:lnTo>
                  <a:lnTo>
                    <a:pt x="60" y="82"/>
                  </a:lnTo>
                  <a:lnTo>
                    <a:pt x="51" y="23"/>
                  </a:lnTo>
                  <a:lnTo>
                    <a:pt x="81" y="1"/>
                  </a:lnTo>
                  <a:lnTo>
                    <a:pt x="105" y="0"/>
                  </a:lnTo>
                  <a:lnTo>
                    <a:pt x="128" y="15"/>
                  </a:lnTo>
                  <a:lnTo>
                    <a:pt x="165" y="31"/>
                  </a:lnTo>
                  <a:lnTo>
                    <a:pt x="153" y="66"/>
                  </a:lnTo>
                  <a:lnTo>
                    <a:pt x="170" y="94"/>
                  </a:lnTo>
                  <a:lnTo>
                    <a:pt x="165" y="151"/>
                  </a:lnTo>
                  <a:lnTo>
                    <a:pt x="133" y="159"/>
                  </a:lnTo>
                  <a:lnTo>
                    <a:pt x="129" y="203"/>
                  </a:lnTo>
                  <a:lnTo>
                    <a:pt x="157" y="213"/>
                  </a:lnTo>
                  <a:lnTo>
                    <a:pt x="174" y="235"/>
                  </a:lnTo>
                  <a:lnTo>
                    <a:pt x="167" y="308"/>
                  </a:lnTo>
                  <a:lnTo>
                    <a:pt x="143" y="314"/>
                  </a:lnTo>
                  <a:lnTo>
                    <a:pt x="99" y="33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28"/>
            <p:cNvSpPr>
              <a:spLocks noChangeAspect="1"/>
            </p:cNvSpPr>
            <p:nvPr/>
          </p:nvSpPr>
          <p:spPr bwMode="auto">
            <a:xfrm>
              <a:off x="2830357" y="3474270"/>
              <a:ext cx="225055" cy="11892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1" y="2"/>
                </a:cxn>
                <a:cxn ang="0">
                  <a:pos x="90" y="41"/>
                </a:cxn>
                <a:cxn ang="0">
                  <a:pos x="138" y="64"/>
                </a:cxn>
                <a:cxn ang="0">
                  <a:pos x="153" y="31"/>
                </a:cxn>
                <a:cxn ang="0">
                  <a:pos x="158" y="83"/>
                </a:cxn>
                <a:cxn ang="0">
                  <a:pos x="193" y="103"/>
                </a:cxn>
                <a:cxn ang="0">
                  <a:pos x="238" y="127"/>
                </a:cxn>
                <a:cxn ang="0">
                  <a:pos x="340" y="134"/>
                </a:cxn>
                <a:cxn ang="0">
                  <a:pos x="383" y="150"/>
                </a:cxn>
                <a:cxn ang="0">
                  <a:pos x="359" y="197"/>
                </a:cxn>
                <a:cxn ang="0">
                  <a:pos x="315" y="197"/>
                </a:cxn>
                <a:cxn ang="0">
                  <a:pos x="265" y="202"/>
                </a:cxn>
                <a:cxn ang="0">
                  <a:pos x="224" y="178"/>
                </a:cxn>
                <a:cxn ang="0">
                  <a:pos x="169" y="166"/>
                </a:cxn>
                <a:cxn ang="0">
                  <a:pos x="98" y="138"/>
                </a:cxn>
                <a:cxn ang="0">
                  <a:pos x="42" y="123"/>
                </a:cxn>
                <a:cxn ang="0">
                  <a:pos x="7" y="79"/>
                </a:cxn>
                <a:cxn ang="0">
                  <a:pos x="0" y="0"/>
                </a:cxn>
              </a:cxnLst>
              <a:rect l="0" t="0" r="r" b="b"/>
              <a:pathLst>
                <a:path w="383" h="202">
                  <a:moveTo>
                    <a:pt x="0" y="0"/>
                  </a:moveTo>
                  <a:lnTo>
                    <a:pt x="51" y="2"/>
                  </a:lnTo>
                  <a:lnTo>
                    <a:pt x="90" y="41"/>
                  </a:lnTo>
                  <a:lnTo>
                    <a:pt x="138" y="64"/>
                  </a:lnTo>
                  <a:lnTo>
                    <a:pt x="153" y="31"/>
                  </a:lnTo>
                  <a:lnTo>
                    <a:pt x="158" y="83"/>
                  </a:lnTo>
                  <a:lnTo>
                    <a:pt x="193" y="103"/>
                  </a:lnTo>
                  <a:lnTo>
                    <a:pt x="238" y="127"/>
                  </a:lnTo>
                  <a:lnTo>
                    <a:pt x="340" y="134"/>
                  </a:lnTo>
                  <a:lnTo>
                    <a:pt x="383" y="150"/>
                  </a:lnTo>
                  <a:lnTo>
                    <a:pt x="359" y="197"/>
                  </a:lnTo>
                  <a:lnTo>
                    <a:pt x="315" y="197"/>
                  </a:lnTo>
                  <a:lnTo>
                    <a:pt x="265" y="202"/>
                  </a:lnTo>
                  <a:lnTo>
                    <a:pt x="224" y="178"/>
                  </a:lnTo>
                  <a:lnTo>
                    <a:pt x="169" y="166"/>
                  </a:lnTo>
                  <a:lnTo>
                    <a:pt x="98" y="138"/>
                  </a:lnTo>
                  <a:lnTo>
                    <a:pt x="42" y="123"/>
                  </a:lnTo>
                  <a:lnTo>
                    <a:pt x="7" y="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29"/>
            <p:cNvSpPr>
              <a:spLocks noChangeAspect="1"/>
            </p:cNvSpPr>
            <p:nvPr/>
          </p:nvSpPr>
          <p:spPr bwMode="auto">
            <a:xfrm>
              <a:off x="2830357" y="3474270"/>
              <a:ext cx="225055" cy="11892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1" y="2"/>
                </a:cxn>
                <a:cxn ang="0">
                  <a:pos x="90" y="41"/>
                </a:cxn>
                <a:cxn ang="0">
                  <a:pos x="138" y="64"/>
                </a:cxn>
                <a:cxn ang="0">
                  <a:pos x="153" y="31"/>
                </a:cxn>
                <a:cxn ang="0">
                  <a:pos x="158" y="83"/>
                </a:cxn>
                <a:cxn ang="0">
                  <a:pos x="193" y="103"/>
                </a:cxn>
                <a:cxn ang="0">
                  <a:pos x="238" y="127"/>
                </a:cxn>
                <a:cxn ang="0">
                  <a:pos x="340" y="134"/>
                </a:cxn>
                <a:cxn ang="0">
                  <a:pos x="383" y="150"/>
                </a:cxn>
                <a:cxn ang="0">
                  <a:pos x="359" y="197"/>
                </a:cxn>
                <a:cxn ang="0">
                  <a:pos x="315" y="197"/>
                </a:cxn>
                <a:cxn ang="0">
                  <a:pos x="265" y="202"/>
                </a:cxn>
                <a:cxn ang="0">
                  <a:pos x="224" y="178"/>
                </a:cxn>
                <a:cxn ang="0">
                  <a:pos x="169" y="166"/>
                </a:cxn>
                <a:cxn ang="0">
                  <a:pos x="98" y="138"/>
                </a:cxn>
                <a:cxn ang="0">
                  <a:pos x="42" y="123"/>
                </a:cxn>
                <a:cxn ang="0">
                  <a:pos x="7" y="79"/>
                </a:cxn>
                <a:cxn ang="0">
                  <a:pos x="0" y="0"/>
                </a:cxn>
              </a:cxnLst>
              <a:rect l="0" t="0" r="r" b="b"/>
              <a:pathLst>
                <a:path w="383" h="202">
                  <a:moveTo>
                    <a:pt x="0" y="0"/>
                  </a:moveTo>
                  <a:lnTo>
                    <a:pt x="51" y="2"/>
                  </a:lnTo>
                  <a:lnTo>
                    <a:pt x="90" y="41"/>
                  </a:lnTo>
                  <a:lnTo>
                    <a:pt x="138" y="64"/>
                  </a:lnTo>
                  <a:lnTo>
                    <a:pt x="153" y="31"/>
                  </a:lnTo>
                  <a:lnTo>
                    <a:pt x="158" y="83"/>
                  </a:lnTo>
                  <a:lnTo>
                    <a:pt x="193" y="103"/>
                  </a:lnTo>
                  <a:lnTo>
                    <a:pt x="238" y="127"/>
                  </a:lnTo>
                  <a:lnTo>
                    <a:pt x="340" y="134"/>
                  </a:lnTo>
                  <a:lnTo>
                    <a:pt x="383" y="150"/>
                  </a:lnTo>
                  <a:lnTo>
                    <a:pt x="359" y="197"/>
                  </a:lnTo>
                  <a:lnTo>
                    <a:pt x="315" y="197"/>
                  </a:lnTo>
                  <a:lnTo>
                    <a:pt x="265" y="202"/>
                  </a:lnTo>
                  <a:lnTo>
                    <a:pt x="224" y="178"/>
                  </a:lnTo>
                  <a:lnTo>
                    <a:pt x="169" y="166"/>
                  </a:lnTo>
                  <a:lnTo>
                    <a:pt x="98" y="138"/>
                  </a:lnTo>
                  <a:lnTo>
                    <a:pt x="42" y="123"/>
                  </a:lnTo>
                  <a:lnTo>
                    <a:pt x="7" y="79"/>
                  </a:lnTo>
                  <a:lnTo>
                    <a:pt x="0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30"/>
            <p:cNvSpPr>
              <a:spLocks noChangeAspect="1"/>
            </p:cNvSpPr>
            <p:nvPr/>
          </p:nvSpPr>
          <p:spPr bwMode="auto">
            <a:xfrm>
              <a:off x="3320907" y="3758263"/>
              <a:ext cx="209231" cy="369191"/>
            </a:xfrm>
            <a:custGeom>
              <a:avLst/>
              <a:gdLst/>
              <a:ahLst/>
              <a:cxnLst>
                <a:cxn ang="0">
                  <a:pos x="43" y="561"/>
                </a:cxn>
                <a:cxn ang="0">
                  <a:pos x="63" y="530"/>
                </a:cxn>
                <a:cxn ang="0">
                  <a:pos x="94" y="462"/>
                </a:cxn>
                <a:cxn ang="0">
                  <a:pos x="55" y="427"/>
                </a:cxn>
                <a:cxn ang="0">
                  <a:pos x="39" y="368"/>
                </a:cxn>
                <a:cxn ang="0">
                  <a:pos x="35" y="328"/>
                </a:cxn>
                <a:cxn ang="0">
                  <a:pos x="48" y="249"/>
                </a:cxn>
                <a:cxn ang="0">
                  <a:pos x="11" y="202"/>
                </a:cxn>
                <a:cxn ang="0">
                  <a:pos x="0" y="171"/>
                </a:cxn>
                <a:cxn ang="0">
                  <a:pos x="4" y="87"/>
                </a:cxn>
                <a:cxn ang="0">
                  <a:pos x="52" y="68"/>
                </a:cxn>
                <a:cxn ang="0">
                  <a:pos x="79" y="44"/>
                </a:cxn>
                <a:cxn ang="0">
                  <a:pos x="99" y="0"/>
                </a:cxn>
                <a:cxn ang="0">
                  <a:pos x="107" y="40"/>
                </a:cxn>
                <a:cxn ang="0">
                  <a:pos x="118" y="87"/>
                </a:cxn>
                <a:cxn ang="0">
                  <a:pos x="142" y="107"/>
                </a:cxn>
                <a:cxn ang="0">
                  <a:pos x="173" y="123"/>
                </a:cxn>
                <a:cxn ang="0">
                  <a:pos x="221" y="182"/>
                </a:cxn>
                <a:cxn ang="0">
                  <a:pos x="256" y="151"/>
                </a:cxn>
                <a:cxn ang="0">
                  <a:pos x="293" y="190"/>
                </a:cxn>
                <a:cxn ang="0">
                  <a:pos x="316" y="254"/>
                </a:cxn>
                <a:cxn ang="0">
                  <a:pos x="332" y="289"/>
                </a:cxn>
                <a:cxn ang="0">
                  <a:pos x="355" y="293"/>
                </a:cxn>
                <a:cxn ang="0">
                  <a:pos x="355" y="368"/>
                </a:cxn>
                <a:cxn ang="0">
                  <a:pos x="308" y="375"/>
                </a:cxn>
                <a:cxn ang="0">
                  <a:pos x="265" y="348"/>
                </a:cxn>
                <a:cxn ang="0">
                  <a:pos x="221" y="392"/>
                </a:cxn>
                <a:cxn ang="0">
                  <a:pos x="201" y="447"/>
                </a:cxn>
                <a:cxn ang="0">
                  <a:pos x="155" y="439"/>
                </a:cxn>
                <a:cxn ang="0">
                  <a:pos x="126" y="535"/>
                </a:cxn>
                <a:cxn ang="0">
                  <a:pos x="153" y="585"/>
                </a:cxn>
                <a:cxn ang="0">
                  <a:pos x="113" y="624"/>
                </a:cxn>
                <a:cxn ang="0">
                  <a:pos x="79" y="601"/>
                </a:cxn>
                <a:cxn ang="0">
                  <a:pos x="43" y="561"/>
                </a:cxn>
              </a:cxnLst>
              <a:rect l="0" t="0" r="r" b="b"/>
              <a:pathLst>
                <a:path w="355" h="624">
                  <a:moveTo>
                    <a:pt x="43" y="561"/>
                  </a:moveTo>
                  <a:lnTo>
                    <a:pt x="63" y="530"/>
                  </a:lnTo>
                  <a:lnTo>
                    <a:pt x="94" y="462"/>
                  </a:lnTo>
                  <a:lnTo>
                    <a:pt x="55" y="427"/>
                  </a:lnTo>
                  <a:lnTo>
                    <a:pt x="39" y="368"/>
                  </a:lnTo>
                  <a:lnTo>
                    <a:pt x="35" y="328"/>
                  </a:lnTo>
                  <a:lnTo>
                    <a:pt x="48" y="249"/>
                  </a:lnTo>
                  <a:lnTo>
                    <a:pt x="11" y="202"/>
                  </a:lnTo>
                  <a:lnTo>
                    <a:pt x="0" y="171"/>
                  </a:lnTo>
                  <a:lnTo>
                    <a:pt x="4" y="87"/>
                  </a:lnTo>
                  <a:lnTo>
                    <a:pt x="52" y="68"/>
                  </a:lnTo>
                  <a:lnTo>
                    <a:pt x="79" y="44"/>
                  </a:lnTo>
                  <a:lnTo>
                    <a:pt x="99" y="0"/>
                  </a:lnTo>
                  <a:lnTo>
                    <a:pt x="107" y="40"/>
                  </a:lnTo>
                  <a:lnTo>
                    <a:pt x="118" y="87"/>
                  </a:lnTo>
                  <a:lnTo>
                    <a:pt x="142" y="107"/>
                  </a:lnTo>
                  <a:lnTo>
                    <a:pt x="173" y="123"/>
                  </a:lnTo>
                  <a:lnTo>
                    <a:pt x="221" y="182"/>
                  </a:lnTo>
                  <a:lnTo>
                    <a:pt x="256" y="151"/>
                  </a:lnTo>
                  <a:lnTo>
                    <a:pt x="293" y="190"/>
                  </a:lnTo>
                  <a:lnTo>
                    <a:pt x="316" y="254"/>
                  </a:lnTo>
                  <a:lnTo>
                    <a:pt x="332" y="289"/>
                  </a:lnTo>
                  <a:lnTo>
                    <a:pt x="355" y="293"/>
                  </a:lnTo>
                  <a:lnTo>
                    <a:pt x="355" y="368"/>
                  </a:lnTo>
                  <a:lnTo>
                    <a:pt x="308" y="375"/>
                  </a:lnTo>
                  <a:lnTo>
                    <a:pt x="265" y="348"/>
                  </a:lnTo>
                  <a:lnTo>
                    <a:pt x="221" y="392"/>
                  </a:lnTo>
                  <a:lnTo>
                    <a:pt x="201" y="447"/>
                  </a:lnTo>
                  <a:lnTo>
                    <a:pt x="155" y="439"/>
                  </a:lnTo>
                  <a:lnTo>
                    <a:pt x="126" y="535"/>
                  </a:lnTo>
                  <a:lnTo>
                    <a:pt x="153" y="585"/>
                  </a:lnTo>
                  <a:lnTo>
                    <a:pt x="113" y="624"/>
                  </a:lnTo>
                  <a:lnTo>
                    <a:pt x="79" y="601"/>
                  </a:lnTo>
                  <a:lnTo>
                    <a:pt x="43" y="56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31"/>
            <p:cNvSpPr>
              <a:spLocks noChangeAspect="1"/>
            </p:cNvSpPr>
            <p:nvPr/>
          </p:nvSpPr>
          <p:spPr bwMode="auto">
            <a:xfrm>
              <a:off x="1851015" y="1967332"/>
              <a:ext cx="42198" cy="42599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0" y="41"/>
                </a:cxn>
                <a:cxn ang="0">
                  <a:pos x="17" y="72"/>
                </a:cxn>
                <a:cxn ang="0">
                  <a:pos x="44" y="68"/>
                </a:cxn>
                <a:cxn ang="0">
                  <a:pos x="72" y="28"/>
                </a:cxn>
                <a:cxn ang="0">
                  <a:pos x="37" y="0"/>
                </a:cxn>
              </a:cxnLst>
              <a:rect l="0" t="0" r="r" b="b"/>
              <a:pathLst>
                <a:path w="72" h="72">
                  <a:moveTo>
                    <a:pt x="37" y="0"/>
                  </a:moveTo>
                  <a:lnTo>
                    <a:pt x="0" y="41"/>
                  </a:lnTo>
                  <a:lnTo>
                    <a:pt x="17" y="72"/>
                  </a:lnTo>
                  <a:lnTo>
                    <a:pt x="44" y="68"/>
                  </a:lnTo>
                  <a:lnTo>
                    <a:pt x="72" y="28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32"/>
            <p:cNvSpPr>
              <a:spLocks noChangeAspect="1"/>
            </p:cNvSpPr>
            <p:nvPr/>
          </p:nvSpPr>
          <p:spPr bwMode="auto">
            <a:xfrm>
              <a:off x="2058488" y="1926508"/>
              <a:ext cx="61539" cy="28399"/>
            </a:xfrm>
            <a:custGeom>
              <a:avLst/>
              <a:gdLst/>
              <a:ahLst/>
              <a:cxnLst>
                <a:cxn ang="0">
                  <a:pos x="88" y="15"/>
                </a:cxn>
                <a:cxn ang="0">
                  <a:pos x="44" y="0"/>
                </a:cxn>
                <a:cxn ang="0">
                  <a:pos x="0" y="39"/>
                </a:cxn>
                <a:cxn ang="0">
                  <a:pos x="32" y="43"/>
                </a:cxn>
                <a:cxn ang="0">
                  <a:pos x="103" y="50"/>
                </a:cxn>
                <a:cxn ang="0">
                  <a:pos x="88" y="15"/>
                </a:cxn>
              </a:cxnLst>
              <a:rect l="0" t="0" r="r" b="b"/>
              <a:pathLst>
                <a:path w="103" h="50">
                  <a:moveTo>
                    <a:pt x="88" y="15"/>
                  </a:moveTo>
                  <a:lnTo>
                    <a:pt x="44" y="0"/>
                  </a:lnTo>
                  <a:lnTo>
                    <a:pt x="0" y="39"/>
                  </a:lnTo>
                  <a:lnTo>
                    <a:pt x="32" y="43"/>
                  </a:lnTo>
                  <a:lnTo>
                    <a:pt x="103" y="50"/>
                  </a:lnTo>
                  <a:lnTo>
                    <a:pt x="88" y="1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33"/>
            <p:cNvSpPr>
              <a:spLocks noChangeAspect="1"/>
            </p:cNvSpPr>
            <p:nvPr/>
          </p:nvSpPr>
          <p:spPr bwMode="auto">
            <a:xfrm>
              <a:off x="1926620" y="1617666"/>
              <a:ext cx="356924" cy="310617"/>
            </a:xfrm>
            <a:custGeom>
              <a:avLst/>
              <a:gdLst/>
              <a:ahLst/>
              <a:cxnLst>
                <a:cxn ang="0">
                  <a:pos x="151" y="300"/>
                </a:cxn>
                <a:cxn ang="0">
                  <a:pos x="186" y="269"/>
                </a:cxn>
                <a:cxn ang="0">
                  <a:pos x="202" y="248"/>
                </a:cxn>
                <a:cxn ang="0">
                  <a:pos x="257" y="206"/>
                </a:cxn>
                <a:cxn ang="0">
                  <a:pos x="316" y="169"/>
                </a:cxn>
                <a:cxn ang="0">
                  <a:pos x="387" y="118"/>
                </a:cxn>
                <a:cxn ang="0">
                  <a:pos x="431" y="103"/>
                </a:cxn>
                <a:cxn ang="0">
                  <a:pos x="517" y="71"/>
                </a:cxn>
                <a:cxn ang="0">
                  <a:pos x="581" y="51"/>
                </a:cxn>
                <a:cxn ang="0">
                  <a:pos x="609" y="35"/>
                </a:cxn>
                <a:cxn ang="0">
                  <a:pos x="589" y="4"/>
                </a:cxn>
                <a:cxn ang="0">
                  <a:pos x="510" y="0"/>
                </a:cxn>
                <a:cxn ang="0">
                  <a:pos x="462" y="40"/>
                </a:cxn>
                <a:cxn ang="0">
                  <a:pos x="387" y="59"/>
                </a:cxn>
                <a:cxn ang="0">
                  <a:pos x="300" y="63"/>
                </a:cxn>
                <a:cxn ang="0">
                  <a:pos x="257" y="103"/>
                </a:cxn>
                <a:cxn ang="0">
                  <a:pos x="206" y="103"/>
                </a:cxn>
                <a:cxn ang="0">
                  <a:pos x="182" y="138"/>
                </a:cxn>
                <a:cxn ang="0">
                  <a:pos x="103" y="154"/>
                </a:cxn>
                <a:cxn ang="0">
                  <a:pos x="90" y="213"/>
                </a:cxn>
                <a:cxn ang="0">
                  <a:pos x="87" y="245"/>
                </a:cxn>
                <a:cxn ang="0">
                  <a:pos x="51" y="241"/>
                </a:cxn>
                <a:cxn ang="0">
                  <a:pos x="51" y="252"/>
                </a:cxn>
                <a:cxn ang="0">
                  <a:pos x="55" y="269"/>
                </a:cxn>
                <a:cxn ang="0">
                  <a:pos x="44" y="292"/>
                </a:cxn>
                <a:cxn ang="0">
                  <a:pos x="20" y="309"/>
                </a:cxn>
                <a:cxn ang="0">
                  <a:pos x="7" y="359"/>
                </a:cxn>
                <a:cxn ang="0">
                  <a:pos x="0" y="423"/>
                </a:cxn>
                <a:cxn ang="0">
                  <a:pos x="40" y="443"/>
                </a:cxn>
                <a:cxn ang="0">
                  <a:pos x="75" y="517"/>
                </a:cxn>
                <a:cxn ang="0">
                  <a:pos x="134" y="526"/>
                </a:cxn>
                <a:cxn ang="0">
                  <a:pos x="210" y="517"/>
                </a:cxn>
                <a:cxn ang="0">
                  <a:pos x="217" y="486"/>
                </a:cxn>
                <a:cxn ang="0">
                  <a:pos x="169" y="458"/>
                </a:cxn>
                <a:cxn ang="0">
                  <a:pos x="138" y="427"/>
                </a:cxn>
                <a:cxn ang="0">
                  <a:pos x="138" y="364"/>
                </a:cxn>
                <a:cxn ang="0">
                  <a:pos x="151" y="312"/>
                </a:cxn>
                <a:cxn ang="0">
                  <a:pos x="151" y="300"/>
                </a:cxn>
              </a:cxnLst>
              <a:rect l="0" t="0" r="r" b="b"/>
              <a:pathLst>
                <a:path w="609" h="526">
                  <a:moveTo>
                    <a:pt x="151" y="300"/>
                  </a:moveTo>
                  <a:lnTo>
                    <a:pt x="186" y="269"/>
                  </a:lnTo>
                  <a:lnTo>
                    <a:pt x="202" y="248"/>
                  </a:lnTo>
                  <a:lnTo>
                    <a:pt x="257" y="206"/>
                  </a:lnTo>
                  <a:lnTo>
                    <a:pt x="316" y="169"/>
                  </a:lnTo>
                  <a:lnTo>
                    <a:pt x="387" y="118"/>
                  </a:lnTo>
                  <a:lnTo>
                    <a:pt x="431" y="103"/>
                  </a:lnTo>
                  <a:lnTo>
                    <a:pt x="517" y="71"/>
                  </a:lnTo>
                  <a:lnTo>
                    <a:pt x="581" y="51"/>
                  </a:lnTo>
                  <a:lnTo>
                    <a:pt x="609" y="35"/>
                  </a:lnTo>
                  <a:lnTo>
                    <a:pt x="589" y="4"/>
                  </a:lnTo>
                  <a:lnTo>
                    <a:pt x="510" y="0"/>
                  </a:lnTo>
                  <a:lnTo>
                    <a:pt x="462" y="40"/>
                  </a:lnTo>
                  <a:lnTo>
                    <a:pt x="387" y="59"/>
                  </a:lnTo>
                  <a:lnTo>
                    <a:pt x="300" y="63"/>
                  </a:lnTo>
                  <a:lnTo>
                    <a:pt x="257" y="103"/>
                  </a:lnTo>
                  <a:lnTo>
                    <a:pt x="206" y="103"/>
                  </a:lnTo>
                  <a:lnTo>
                    <a:pt x="182" y="138"/>
                  </a:lnTo>
                  <a:lnTo>
                    <a:pt x="103" y="154"/>
                  </a:lnTo>
                  <a:lnTo>
                    <a:pt x="90" y="213"/>
                  </a:lnTo>
                  <a:lnTo>
                    <a:pt x="87" y="245"/>
                  </a:lnTo>
                  <a:lnTo>
                    <a:pt x="51" y="241"/>
                  </a:lnTo>
                  <a:lnTo>
                    <a:pt x="51" y="252"/>
                  </a:lnTo>
                  <a:lnTo>
                    <a:pt x="55" y="269"/>
                  </a:lnTo>
                  <a:lnTo>
                    <a:pt x="44" y="292"/>
                  </a:lnTo>
                  <a:lnTo>
                    <a:pt x="20" y="309"/>
                  </a:lnTo>
                  <a:lnTo>
                    <a:pt x="7" y="359"/>
                  </a:lnTo>
                  <a:lnTo>
                    <a:pt x="0" y="423"/>
                  </a:lnTo>
                  <a:lnTo>
                    <a:pt x="40" y="443"/>
                  </a:lnTo>
                  <a:lnTo>
                    <a:pt x="75" y="517"/>
                  </a:lnTo>
                  <a:lnTo>
                    <a:pt x="134" y="526"/>
                  </a:lnTo>
                  <a:lnTo>
                    <a:pt x="210" y="517"/>
                  </a:lnTo>
                  <a:lnTo>
                    <a:pt x="217" y="486"/>
                  </a:lnTo>
                  <a:lnTo>
                    <a:pt x="169" y="458"/>
                  </a:lnTo>
                  <a:lnTo>
                    <a:pt x="138" y="427"/>
                  </a:lnTo>
                  <a:lnTo>
                    <a:pt x="138" y="364"/>
                  </a:lnTo>
                  <a:lnTo>
                    <a:pt x="151" y="312"/>
                  </a:lnTo>
                  <a:lnTo>
                    <a:pt x="151" y="30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34"/>
            <p:cNvSpPr>
              <a:spLocks noChangeAspect="1"/>
            </p:cNvSpPr>
            <p:nvPr/>
          </p:nvSpPr>
          <p:spPr bwMode="auto">
            <a:xfrm>
              <a:off x="2332774" y="1729488"/>
              <a:ext cx="15824" cy="30174"/>
            </a:xfrm>
            <a:custGeom>
              <a:avLst/>
              <a:gdLst/>
              <a:ahLst/>
              <a:cxnLst>
                <a:cxn ang="0">
                  <a:pos x="14" y="50"/>
                </a:cxn>
                <a:cxn ang="0">
                  <a:pos x="14" y="50"/>
                </a:cxn>
                <a:cxn ang="0">
                  <a:pos x="16" y="49"/>
                </a:cxn>
                <a:cxn ang="0">
                  <a:pos x="19" y="47"/>
                </a:cxn>
                <a:cxn ang="0">
                  <a:pos x="24" y="42"/>
                </a:cxn>
                <a:cxn ang="0">
                  <a:pos x="26" y="34"/>
                </a:cxn>
                <a:cxn ang="0">
                  <a:pos x="27" y="25"/>
                </a:cxn>
                <a:cxn ang="0">
                  <a:pos x="27" y="25"/>
                </a:cxn>
                <a:cxn ang="0">
                  <a:pos x="26" y="15"/>
                </a:cxn>
                <a:cxn ang="0">
                  <a:pos x="24" y="6"/>
                </a:cxn>
                <a:cxn ang="0">
                  <a:pos x="19" y="1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1" y="0"/>
                </a:cxn>
                <a:cxn ang="0">
                  <a:pos x="9" y="1"/>
                </a:cxn>
                <a:cxn ang="0">
                  <a:pos x="3" y="6"/>
                </a:cxn>
                <a:cxn ang="0">
                  <a:pos x="1" y="15"/>
                </a:cxn>
                <a:cxn ang="0">
                  <a:pos x="0" y="25"/>
                </a:cxn>
                <a:cxn ang="0">
                  <a:pos x="0" y="25"/>
                </a:cxn>
                <a:cxn ang="0">
                  <a:pos x="1" y="34"/>
                </a:cxn>
                <a:cxn ang="0">
                  <a:pos x="3" y="42"/>
                </a:cxn>
                <a:cxn ang="0">
                  <a:pos x="9" y="47"/>
                </a:cxn>
                <a:cxn ang="0">
                  <a:pos x="11" y="49"/>
                </a:cxn>
                <a:cxn ang="0">
                  <a:pos x="14" y="50"/>
                </a:cxn>
                <a:cxn ang="0">
                  <a:pos x="14" y="50"/>
                </a:cxn>
              </a:cxnLst>
              <a:rect l="0" t="0" r="r" b="b"/>
              <a:pathLst>
                <a:path w="27" h="50">
                  <a:moveTo>
                    <a:pt x="14" y="50"/>
                  </a:moveTo>
                  <a:lnTo>
                    <a:pt x="14" y="50"/>
                  </a:lnTo>
                  <a:lnTo>
                    <a:pt x="16" y="49"/>
                  </a:lnTo>
                  <a:lnTo>
                    <a:pt x="19" y="47"/>
                  </a:lnTo>
                  <a:lnTo>
                    <a:pt x="24" y="42"/>
                  </a:lnTo>
                  <a:lnTo>
                    <a:pt x="26" y="34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6" y="15"/>
                  </a:lnTo>
                  <a:lnTo>
                    <a:pt x="24" y="6"/>
                  </a:lnTo>
                  <a:lnTo>
                    <a:pt x="19" y="1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3" y="6"/>
                  </a:lnTo>
                  <a:lnTo>
                    <a:pt x="1" y="1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34"/>
                  </a:lnTo>
                  <a:lnTo>
                    <a:pt x="3" y="42"/>
                  </a:lnTo>
                  <a:lnTo>
                    <a:pt x="9" y="47"/>
                  </a:lnTo>
                  <a:lnTo>
                    <a:pt x="11" y="49"/>
                  </a:lnTo>
                  <a:lnTo>
                    <a:pt x="14" y="50"/>
                  </a:lnTo>
                  <a:lnTo>
                    <a:pt x="14" y="5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35"/>
            <p:cNvSpPr>
              <a:spLocks noChangeAspect="1"/>
            </p:cNvSpPr>
            <p:nvPr/>
          </p:nvSpPr>
          <p:spPr bwMode="auto">
            <a:xfrm>
              <a:off x="2733654" y="1370947"/>
              <a:ext cx="124835" cy="95848"/>
            </a:xfrm>
            <a:custGeom>
              <a:avLst/>
              <a:gdLst/>
              <a:ahLst/>
              <a:cxnLst>
                <a:cxn ang="0">
                  <a:pos x="106" y="23"/>
                </a:cxn>
                <a:cxn ang="0">
                  <a:pos x="71" y="56"/>
                </a:cxn>
                <a:cxn ang="0">
                  <a:pos x="36" y="59"/>
                </a:cxn>
                <a:cxn ang="0">
                  <a:pos x="0" y="87"/>
                </a:cxn>
                <a:cxn ang="0">
                  <a:pos x="27" y="126"/>
                </a:cxn>
                <a:cxn ang="0">
                  <a:pos x="83" y="162"/>
                </a:cxn>
                <a:cxn ang="0">
                  <a:pos x="154" y="130"/>
                </a:cxn>
                <a:cxn ang="0">
                  <a:pos x="213" y="102"/>
                </a:cxn>
                <a:cxn ang="0">
                  <a:pos x="202" y="36"/>
                </a:cxn>
                <a:cxn ang="0">
                  <a:pos x="143" y="0"/>
                </a:cxn>
                <a:cxn ang="0">
                  <a:pos x="106" y="23"/>
                </a:cxn>
              </a:cxnLst>
              <a:rect l="0" t="0" r="r" b="b"/>
              <a:pathLst>
                <a:path w="213" h="162">
                  <a:moveTo>
                    <a:pt x="106" y="23"/>
                  </a:moveTo>
                  <a:lnTo>
                    <a:pt x="71" y="56"/>
                  </a:lnTo>
                  <a:lnTo>
                    <a:pt x="36" y="59"/>
                  </a:lnTo>
                  <a:lnTo>
                    <a:pt x="0" y="87"/>
                  </a:lnTo>
                  <a:lnTo>
                    <a:pt x="27" y="126"/>
                  </a:lnTo>
                  <a:lnTo>
                    <a:pt x="83" y="162"/>
                  </a:lnTo>
                  <a:lnTo>
                    <a:pt x="154" y="130"/>
                  </a:lnTo>
                  <a:lnTo>
                    <a:pt x="213" y="102"/>
                  </a:lnTo>
                  <a:lnTo>
                    <a:pt x="202" y="36"/>
                  </a:lnTo>
                  <a:lnTo>
                    <a:pt x="143" y="0"/>
                  </a:lnTo>
                  <a:lnTo>
                    <a:pt x="106" y="2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36"/>
            <p:cNvSpPr>
              <a:spLocks noChangeAspect="1"/>
            </p:cNvSpPr>
            <p:nvPr/>
          </p:nvSpPr>
          <p:spPr bwMode="auto">
            <a:xfrm>
              <a:off x="2819808" y="1441945"/>
              <a:ext cx="119561" cy="79873"/>
            </a:xfrm>
            <a:custGeom>
              <a:avLst/>
              <a:gdLst/>
              <a:ahLst/>
              <a:cxnLst>
                <a:cxn ang="0">
                  <a:pos x="55" y="48"/>
                </a:cxn>
                <a:cxn ang="0">
                  <a:pos x="79" y="8"/>
                </a:cxn>
                <a:cxn ang="0">
                  <a:pos x="114" y="0"/>
                </a:cxn>
                <a:cxn ang="0">
                  <a:pos x="149" y="12"/>
                </a:cxn>
                <a:cxn ang="0">
                  <a:pos x="177" y="56"/>
                </a:cxn>
                <a:cxn ang="0">
                  <a:pos x="177" y="87"/>
                </a:cxn>
                <a:cxn ang="0">
                  <a:pos x="200" y="83"/>
                </a:cxn>
                <a:cxn ang="0">
                  <a:pos x="206" y="115"/>
                </a:cxn>
                <a:cxn ang="0">
                  <a:pos x="134" y="135"/>
                </a:cxn>
                <a:cxn ang="0">
                  <a:pos x="66" y="107"/>
                </a:cxn>
                <a:cxn ang="0">
                  <a:pos x="0" y="83"/>
                </a:cxn>
                <a:cxn ang="0">
                  <a:pos x="11" y="52"/>
                </a:cxn>
                <a:cxn ang="0">
                  <a:pos x="55" y="48"/>
                </a:cxn>
              </a:cxnLst>
              <a:rect l="0" t="0" r="r" b="b"/>
              <a:pathLst>
                <a:path w="206" h="135">
                  <a:moveTo>
                    <a:pt x="55" y="48"/>
                  </a:moveTo>
                  <a:lnTo>
                    <a:pt x="79" y="8"/>
                  </a:lnTo>
                  <a:lnTo>
                    <a:pt x="114" y="0"/>
                  </a:lnTo>
                  <a:lnTo>
                    <a:pt x="149" y="12"/>
                  </a:lnTo>
                  <a:lnTo>
                    <a:pt x="177" y="56"/>
                  </a:lnTo>
                  <a:lnTo>
                    <a:pt x="177" y="87"/>
                  </a:lnTo>
                  <a:lnTo>
                    <a:pt x="200" y="83"/>
                  </a:lnTo>
                  <a:lnTo>
                    <a:pt x="206" y="115"/>
                  </a:lnTo>
                  <a:lnTo>
                    <a:pt x="134" y="135"/>
                  </a:lnTo>
                  <a:lnTo>
                    <a:pt x="66" y="107"/>
                  </a:lnTo>
                  <a:lnTo>
                    <a:pt x="0" y="83"/>
                  </a:lnTo>
                  <a:lnTo>
                    <a:pt x="11" y="52"/>
                  </a:lnTo>
                  <a:lnTo>
                    <a:pt x="55" y="4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37"/>
            <p:cNvSpPr>
              <a:spLocks noChangeAspect="1"/>
            </p:cNvSpPr>
            <p:nvPr/>
          </p:nvSpPr>
          <p:spPr bwMode="auto">
            <a:xfrm>
              <a:off x="2953434" y="1475669"/>
              <a:ext cx="100220" cy="78098"/>
            </a:xfrm>
            <a:custGeom>
              <a:avLst/>
              <a:gdLst/>
              <a:ahLst/>
              <a:cxnLst>
                <a:cxn ang="0">
                  <a:pos x="20" y="56"/>
                </a:cxn>
                <a:cxn ang="0">
                  <a:pos x="40" y="24"/>
                </a:cxn>
                <a:cxn ang="0">
                  <a:pos x="75" y="0"/>
                </a:cxn>
                <a:cxn ang="0">
                  <a:pos x="88" y="24"/>
                </a:cxn>
                <a:cxn ang="0">
                  <a:pos x="107" y="32"/>
                </a:cxn>
                <a:cxn ang="0">
                  <a:pos x="131" y="32"/>
                </a:cxn>
                <a:cxn ang="0">
                  <a:pos x="162" y="44"/>
                </a:cxn>
                <a:cxn ang="0">
                  <a:pos x="171" y="83"/>
                </a:cxn>
                <a:cxn ang="0">
                  <a:pos x="151" y="120"/>
                </a:cxn>
                <a:cxn ang="0">
                  <a:pos x="92" y="131"/>
                </a:cxn>
                <a:cxn ang="0">
                  <a:pos x="20" y="124"/>
                </a:cxn>
                <a:cxn ang="0">
                  <a:pos x="0" y="100"/>
                </a:cxn>
                <a:cxn ang="0">
                  <a:pos x="20" y="56"/>
                </a:cxn>
              </a:cxnLst>
              <a:rect l="0" t="0" r="r" b="b"/>
              <a:pathLst>
                <a:path w="171" h="131">
                  <a:moveTo>
                    <a:pt x="20" y="56"/>
                  </a:moveTo>
                  <a:lnTo>
                    <a:pt x="40" y="24"/>
                  </a:lnTo>
                  <a:lnTo>
                    <a:pt x="75" y="0"/>
                  </a:lnTo>
                  <a:lnTo>
                    <a:pt x="88" y="24"/>
                  </a:lnTo>
                  <a:lnTo>
                    <a:pt x="107" y="32"/>
                  </a:lnTo>
                  <a:lnTo>
                    <a:pt x="131" y="32"/>
                  </a:lnTo>
                  <a:lnTo>
                    <a:pt x="162" y="44"/>
                  </a:lnTo>
                  <a:lnTo>
                    <a:pt x="171" y="83"/>
                  </a:lnTo>
                  <a:lnTo>
                    <a:pt x="151" y="120"/>
                  </a:lnTo>
                  <a:lnTo>
                    <a:pt x="92" y="131"/>
                  </a:lnTo>
                  <a:lnTo>
                    <a:pt x="20" y="124"/>
                  </a:lnTo>
                  <a:lnTo>
                    <a:pt x="0" y="100"/>
                  </a:lnTo>
                  <a:lnTo>
                    <a:pt x="20" y="5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38"/>
            <p:cNvSpPr>
              <a:spLocks noChangeAspect="1"/>
            </p:cNvSpPr>
            <p:nvPr/>
          </p:nvSpPr>
          <p:spPr bwMode="auto">
            <a:xfrm>
              <a:off x="3825523" y="1647840"/>
              <a:ext cx="174066" cy="76323"/>
            </a:xfrm>
            <a:custGeom>
              <a:avLst/>
              <a:gdLst/>
              <a:ahLst/>
              <a:cxnLst>
                <a:cxn ang="0">
                  <a:pos x="162" y="12"/>
                </a:cxn>
                <a:cxn ang="0">
                  <a:pos x="155" y="48"/>
                </a:cxn>
                <a:cxn ang="0">
                  <a:pos x="103" y="44"/>
                </a:cxn>
                <a:cxn ang="0">
                  <a:pos x="87" y="24"/>
                </a:cxn>
                <a:cxn ang="0">
                  <a:pos x="39" y="0"/>
                </a:cxn>
                <a:cxn ang="0">
                  <a:pos x="0" y="24"/>
                </a:cxn>
                <a:cxn ang="0">
                  <a:pos x="0" y="79"/>
                </a:cxn>
                <a:cxn ang="0">
                  <a:pos x="59" y="123"/>
                </a:cxn>
                <a:cxn ang="0">
                  <a:pos x="135" y="131"/>
                </a:cxn>
                <a:cxn ang="0">
                  <a:pos x="166" y="103"/>
                </a:cxn>
                <a:cxn ang="0">
                  <a:pos x="214" y="123"/>
                </a:cxn>
                <a:cxn ang="0">
                  <a:pos x="273" y="118"/>
                </a:cxn>
                <a:cxn ang="0">
                  <a:pos x="297" y="87"/>
                </a:cxn>
                <a:cxn ang="0">
                  <a:pos x="249" y="72"/>
                </a:cxn>
                <a:cxn ang="0">
                  <a:pos x="225" y="24"/>
                </a:cxn>
                <a:cxn ang="0">
                  <a:pos x="182" y="4"/>
                </a:cxn>
                <a:cxn ang="0">
                  <a:pos x="162" y="12"/>
                </a:cxn>
              </a:cxnLst>
              <a:rect l="0" t="0" r="r" b="b"/>
              <a:pathLst>
                <a:path w="297" h="131">
                  <a:moveTo>
                    <a:pt x="162" y="12"/>
                  </a:moveTo>
                  <a:lnTo>
                    <a:pt x="155" y="48"/>
                  </a:lnTo>
                  <a:lnTo>
                    <a:pt x="103" y="44"/>
                  </a:lnTo>
                  <a:lnTo>
                    <a:pt x="87" y="24"/>
                  </a:lnTo>
                  <a:lnTo>
                    <a:pt x="39" y="0"/>
                  </a:lnTo>
                  <a:lnTo>
                    <a:pt x="0" y="24"/>
                  </a:lnTo>
                  <a:lnTo>
                    <a:pt x="0" y="79"/>
                  </a:lnTo>
                  <a:lnTo>
                    <a:pt x="59" y="123"/>
                  </a:lnTo>
                  <a:lnTo>
                    <a:pt x="135" y="131"/>
                  </a:lnTo>
                  <a:lnTo>
                    <a:pt x="166" y="103"/>
                  </a:lnTo>
                  <a:lnTo>
                    <a:pt x="214" y="123"/>
                  </a:lnTo>
                  <a:lnTo>
                    <a:pt x="273" y="118"/>
                  </a:lnTo>
                  <a:lnTo>
                    <a:pt x="297" y="87"/>
                  </a:lnTo>
                  <a:lnTo>
                    <a:pt x="249" y="72"/>
                  </a:lnTo>
                  <a:lnTo>
                    <a:pt x="225" y="24"/>
                  </a:lnTo>
                  <a:lnTo>
                    <a:pt x="182" y="4"/>
                  </a:lnTo>
                  <a:lnTo>
                    <a:pt x="162" y="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39"/>
            <p:cNvSpPr>
              <a:spLocks noChangeAspect="1"/>
            </p:cNvSpPr>
            <p:nvPr/>
          </p:nvSpPr>
          <p:spPr bwMode="auto">
            <a:xfrm>
              <a:off x="4041787" y="1672690"/>
              <a:ext cx="103736" cy="42599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8" y="19"/>
                </a:cxn>
                <a:cxn ang="0">
                  <a:pos x="94" y="19"/>
                </a:cxn>
                <a:cxn ang="0">
                  <a:pos x="170" y="19"/>
                </a:cxn>
                <a:cxn ang="0">
                  <a:pos x="177" y="63"/>
                </a:cxn>
                <a:cxn ang="0">
                  <a:pos x="83" y="71"/>
                </a:cxn>
                <a:cxn ang="0">
                  <a:pos x="28" y="55"/>
                </a:cxn>
                <a:cxn ang="0">
                  <a:pos x="0" y="23"/>
                </a:cxn>
                <a:cxn ang="0">
                  <a:pos x="4" y="0"/>
                </a:cxn>
              </a:cxnLst>
              <a:rect l="0" t="0" r="r" b="b"/>
              <a:pathLst>
                <a:path w="177" h="71">
                  <a:moveTo>
                    <a:pt x="4" y="0"/>
                  </a:moveTo>
                  <a:lnTo>
                    <a:pt x="28" y="19"/>
                  </a:lnTo>
                  <a:lnTo>
                    <a:pt x="94" y="19"/>
                  </a:lnTo>
                  <a:lnTo>
                    <a:pt x="170" y="19"/>
                  </a:lnTo>
                  <a:lnTo>
                    <a:pt x="177" y="63"/>
                  </a:lnTo>
                  <a:lnTo>
                    <a:pt x="83" y="71"/>
                  </a:lnTo>
                  <a:lnTo>
                    <a:pt x="28" y="55"/>
                  </a:lnTo>
                  <a:lnTo>
                    <a:pt x="0" y="23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40"/>
            <p:cNvSpPr>
              <a:spLocks noChangeAspect="1"/>
            </p:cNvSpPr>
            <p:nvPr/>
          </p:nvSpPr>
          <p:spPr bwMode="auto">
            <a:xfrm>
              <a:off x="4883986" y="1862610"/>
              <a:ext cx="75604" cy="49699"/>
            </a:xfrm>
            <a:custGeom>
              <a:avLst/>
              <a:gdLst/>
              <a:ahLst/>
              <a:cxnLst>
                <a:cxn ang="0">
                  <a:pos x="51" y="8"/>
                </a:cxn>
                <a:cxn ang="0">
                  <a:pos x="12" y="39"/>
                </a:cxn>
                <a:cxn ang="0">
                  <a:pos x="0" y="83"/>
                </a:cxn>
                <a:cxn ang="0">
                  <a:pos x="68" y="78"/>
                </a:cxn>
                <a:cxn ang="0">
                  <a:pos x="115" y="75"/>
                </a:cxn>
                <a:cxn ang="0">
                  <a:pos x="127" y="28"/>
                </a:cxn>
                <a:cxn ang="0">
                  <a:pos x="84" y="0"/>
                </a:cxn>
                <a:cxn ang="0">
                  <a:pos x="51" y="8"/>
                </a:cxn>
              </a:cxnLst>
              <a:rect l="0" t="0" r="r" b="b"/>
              <a:pathLst>
                <a:path w="127" h="83">
                  <a:moveTo>
                    <a:pt x="51" y="8"/>
                  </a:moveTo>
                  <a:lnTo>
                    <a:pt x="12" y="39"/>
                  </a:lnTo>
                  <a:lnTo>
                    <a:pt x="0" y="83"/>
                  </a:lnTo>
                  <a:lnTo>
                    <a:pt x="68" y="78"/>
                  </a:lnTo>
                  <a:lnTo>
                    <a:pt x="115" y="75"/>
                  </a:lnTo>
                  <a:lnTo>
                    <a:pt x="127" y="28"/>
                  </a:lnTo>
                  <a:lnTo>
                    <a:pt x="84" y="0"/>
                  </a:lnTo>
                  <a:lnTo>
                    <a:pt x="51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41"/>
            <p:cNvSpPr>
              <a:spLocks noChangeAspect="1"/>
            </p:cNvSpPr>
            <p:nvPr/>
          </p:nvSpPr>
          <p:spPr bwMode="auto">
            <a:xfrm>
              <a:off x="6842033" y="3853781"/>
              <a:ext cx="93187" cy="115372"/>
            </a:xfrm>
            <a:custGeom>
              <a:avLst/>
              <a:gdLst/>
              <a:ahLst/>
              <a:cxnLst>
                <a:cxn ang="0">
                  <a:pos x="0" y="155"/>
                </a:cxn>
                <a:cxn ang="0">
                  <a:pos x="20" y="99"/>
                </a:cxn>
                <a:cxn ang="0">
                  <a:pos x="60" y="87"/>
                </a:cxn>
                <a:cxn ang="0">
                  <a:pos x="68" y="32"/>
                </a:cxn>
                <a:cxn ang="0">
                  <a:pos x="138" y="0"/>
                </a:cxn>
                <a:cxn ang="0">
                  <a:pos x="133" y="60"/>
                </a:cxn>
                <a:cxn ang="0">
                  <a:pos x="133" y="104"/>
                </a:cxn>
                <a:cxn ang="0">
                  <a:pos x="158" y="111"/>
                </a:cxn>
                <a:cxn ang="0">
                  <a:pos x="151" y="150"/>
                </a:cxn>
                <a:cxn ang="0">
                  <a:pos x="119" y="150"/>
                </a:cxn>
                <a:cxn ang="0">
                  <a:pos x="110" y="194"/>
                </a:cxn>
                <a:cxn ang="0">
                  <a:pos x="46" y="191"/>
                </a:cxn>
                <a:cxn ang="0">
                  <a:pos x="0" y="155"/>
                </a:cxn>
              </a:cxnLst>
              <a:rect l="0" t="0" r="r" b="b"/>
              <a:pathLst>
                <a:path w="158" h="194">
                  <a:moveTo>
                    <a:pt x="0" y="155"/>
                  </a:moveTo>
                  <a:lnTo>
                    <a:pt x="20" y="99"/>
                  </a:lnTo>
                  <a:lnTo>
                    <a:pt x="60" y="87"/>
                  </a:lnTo>
                  <a:lnTo>
                    <a:pt x="68" y="32"/>
                  </a:lnTo>
                  <a:lnTo>
                    <a:pt x="138" y="0"/>
                  </a:lnTo>
                  <a:lnTo>
                    <a:pt x="133" y="60"/>
                  </a:lnTo>
                  <a:lnTo>
                    <a:pt x="133" y="104"/>
                  </a:lnTo>
                  <a:lnTo>
                    <a:pt x="158" y="111"/>
                  </a:lnTo>
                  <a:lnTo>
                    <a:pt x="151" y="150"/>
                  </a:lnTo>
                  <a:lnTo>
                    <a:pt x="119" y="150"/>
                  </a:lnTo>
                  <a:lnTo>
                    <a:pt x="110" y="194"/>
                  </a:lnTo>
                  <a:lnTo>
                    <a:pt x="46" y="191"/>
                  </a:lnTo>
                  <a:lnTo>
                    <a:pt x="0" y="15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42"/>
            <p:cNvSpPr>
              <a:spLocks noChangeAspect="1"/>
            </p:cNvSpPr>
            <p:nvPr/>
          </p:nvSpPr>
          <p:spPr bwMode="auto">
            <a:xfrm>
              <a:off x="7125110" y="4457266"/>
              <a:ext cx="341099" cy="507637"/>
            </a:xfrm>
            <a:custGeom>
              <a:avLst/>
              <a:gdLst/>
              <a:ahLst/>
              <a:cxnLst>
                <a:cxn ang="0">
                  <a:pos x="471" y="35"/>
                </a:cxn>
                <a:cxn ang="0">
                  <a:pos x="431" y="7"/>
                </a:cxn>
                <a:cxn ang="0">
                  <a:pos x="352" y="0"/>
                </a:cxn>
                <a:cxn ang="0">
                  <a:pos x="328" y="31"/>
                </a:cxn>
                <a:cxn ang="0">
                  <a:pos x="197" y="90"/>
                </a:cxn>
                <a:cxn ang="0">
                  <a:pos x="135" y="134"/>
                </a:cxn>
                <a:cxn ang="0">
                  <a:pos x="87" y="169"/>
                </a:cxn>
                <a:cxn ang="0">
                  <a:pos x="56" y="134"/>
                </a:cxn>
                <a:cxn ang="0">
                  <a:pos x="44" y="94"/>
                </a:cxn>
                <a:cxn ang="0">
                  <a:pos x="18" y="96"/>
                </a:cxn>
                <a:cxn ang="0">
                  <a:pos x="0" y="115"/>
                </a:cxn>
                <a:cxn ang="0">
                  <a:pos x="3" y="222"/>
                </a:cxn>
                <a:cxn ang="0">
                  <a:pos x="49" y="222"/>
                </a:cxn>
                <a:cxn ang="0">
                  <a:pos x="69" y="297"/>
                </a:cxn>
                <a:cxn ang="0">
                  <a:pos x="93" y="311"/>
                </a:cxn>
                <a:cxn ang="0">
                  <a:pos x="100" y="359"/>
                </a:cxn>
                <a:cxn ang="0">
                  <a:pos x="117" y="400"/>
                </a:cxn>
                <a:cxn ang="0">
                  <a:pos x="142" y="414"/>
                </a:cxn>
                <a:cxn ang="0">
                  <a:pos x="148" y="463"/>
                </a:cxn>
                <a:cxn ang="0">
                  <a:pos x="162" y="473"/>
                </a:cxn>
                <a:cxn ang="0">
                  <a:pos x="180" y="501"/>
                </a:cxn>
                <a:cxn ang="0">
                  <a:pos x="194" y="545"/>
                </a:cxn>
                <a:cxn ang="0">
                  <a:pos x="214" y="590"/>
                </a:cxn>
                <a:cxn ang="0">
                  <a:pos x="235" y="607"/>
                </a:cxn>
                <a:cxn ang="0">
                  <a:pos x="225" y="627"/>
                </a:cxn>
                <a:cxn ang="0">
                  <a:pos x="241" y="666"/>
                </a:cxn>
                <a:cxn ang="0">
                  <a:pos x="289" y="699"/>
                </a:cxn>
                <a:cxn ang="0">
                  <a:pos x="334" y="752"/>
                </a:cxn>
                <a:cxn ang="0">
                  <a:pos x="401" y="778"/>
                </a:cxn>
                <a:cxn ang="0">
                  <a:pos x="465" y="828"/>
                </a:cxn>
                <a:cxn ang="0">
                  <a:pos x="504" y="858"/>
                </a:cxn>
                <a:cxn ang="0">
                  <a:pos x="536" y="830"/>
                </a:cxn>
                <a:cxn ang="0">
                  <a:pos x="550" y="792"/>
                </a:cxn>
                <a:cxn ang="0">
                  <a:pos x="565" y="786"/>
                </a:cxn>
                <a:cxn ang="0">
                  <a:pos x="550" y="758"/>
                </a:cxn>
                <a:cxn ang="0">
                  <a:pos x="558" y="679"/>
                </a:cxn>
                <a:cxn ang="0">
                  <a:pos x="555" y="617"/>
                </a:cxn>
                <a:cxn ang="0">
                  <a:pos x="578" y="599"/>
                </a:cxn>
                <a:cxn ang="0">
                  <a:pos x="583" y="552"/>
                </a:cxn>
                <a:cxn ang="0">
                  <a:pos x="548" y="497"/>
                </a:cxn>
                <a:cxn ang="0">
                  <a:pos x="509" y="478"/>
                </a:cxn>
                <a:cxn ang="0">
                  <a:pos x="490" y="418"/>
                </a:cxn>
                <a:cxn ang="0">
                  <a:pos x="455" y="440"/>
                </a:cxn>
                <a:cxn ang="0">
                  <a:pos x="413" y="434"/>
                </a:cxn>
                <a:cxn ang="0">
                  <a:pos x="407" y="408"/>
                </a:cxn>
                <a:cxn ang="0">
                  <a:pos x="376" y="403"/>
                </a:cxn>
                <a:cxn ang="0">
                  <a:pos x="364" y="371"/>
                </a:cxn>
                <a:cxn ang="0">
                  <a:pos x="332" y="345"/>
                </a:cxn>
                <a:cxn ang="0">
                  <a:pos x="320" y="313"/>
                </a:cxn>
                <a:cxn ang="0">
                  <a:pos x="331" y="272"/>
                </a:cxn>
                <a:cxn ang="0">
                  <a:pos x="358" y="259"/>
                </a:cxn>
                <a:cxn ang="0">
                  <a:pos x="378" y="242"/>
                </a:cxn>
                <a:cxn ang="0">
                  <a:pos x="369" y="211"/>
                </a:cxn>
                <a:cxn ang="0">
                  <a:pos x="382" y="169"/>
                </a:cxn>
                <a:cxn ang="0">
                  <a:pos x="413" y="148"/>
                </a:cxn>
                <a:cxn ang="0">
                  <a:pos x="455" y="158"/>
                </a:cxn>
                <a:cxn ang="0">
                  <a:pos x="490" y="138"/>
                </a:cxn>
                <a:cxn ang="0">
                  <a:pos x="503" y="96"/>
                </a:cxn>
                <a:cxn ang="0">
                  <a:pos x="471" y="35"/>
                </a:cxn>
              </a:cxnLst>
              <a:rect l="0" t="0" r="r" b="b"/>
              <a:pathLst>
                <a:path w="583" h="858">
                  <a:moveTo>
                    <a:pt x="471" y="35"/>
                  </a:moveTo>
                  <a:lnTo>
                    <a:pt x="431" y="7"/>
                  </a:lnTo>
                  <a:lnTo>
                    <a:pt x="352" y="0"/>
                  </a:lnTo>
                  <a:lnTo>
                    <a:pt x="328" y="31"/>
                  </a:lnTo>
                  <a:lnTo>
                    <a:pt x="197" y="90"/>
                  </a:lnTo>
                  <a:lnTo>
                    <a:pt x="135" y="134"/>
                  </a:lnTo>
                  <a:lnTo>
                    <a:pt x="87" y="169"/>
                  </a:lnTo>
                  <a:lnTo>
                    <a:pt x="56" y="134"/>
                  </a:lnTo>
                  <a:lnTo>
                    <a:pt x="44" y="94"/>
                  </a:lnTo>
                  <a:lnTo>
                    <a:pt x="18" y="96"/>
                  </a:lnTo>
                  <a:lnTo>
                    <a:pt x="0" y="115"/>
                  </a:lnTo>
                  <a:lnTo>
                    <a:pt x="3" y="222"/>
                  </a:lnTo>
                  <a:lnTo>
                    <a:pt x="49" y="222"/>
                  </a:lnTo>
                  <a:lnTo>
                    <a:pt x="69" y="297"/>
                  </a:lnTo>
                  <a:lnTo>
                    <a:pt x="93" y="311"/>
                  </a:lnTo>
                  <a:lnTo>
                    <a:pt x="100" y="359"/>
                  </a:lnTo>
                  <a:lnTo>
                    <a:pt x="117" y="400"/>
                  </a:lnTo>
                  <a:lnTo>
                    <a:pt x="142" y="414"/>
                  </a:lnTo>
                  <a:lnTo>
                    <a:pt x="148" y="463"/>
                  </a:lnTo>
                  <a:lnTo>
                    <a:pt x="162" y="473"/>
                  </a:lnTo>
                  <a:lnTo>
                    <a:pt x="180" y="501"/>
                  </a:lnTo>
                  <a:lnTo>
                    <a:pt x="194" y="545"/>
                  </a:lnTo>
                  <a:lnTo>
                    <a:pt x="214" y="590"/>
                  </a:lnTo>
                  <a:lnTo>
                    <a:pt x="235" y="607"/>
                  </a:lnTo>
                  <a:lnTo>
                    <a:pt x="225" y="627"/>
                  </a:lnTo>
                  <a:lnTo>
                    <a:pt x="241" y="666"/>
                  </a:lnTo>
                  <a:lnTo>
                    <a:pt x="289" y="699"/>
                  </a:lnTo>
                  <a:lnTo>
                    <a:pt x="334" y="752"/>
                  </a:lnTo>
                  <a:lnTo>
                    <a:pt x="401" y="778"/>
                  </a:lnTo>
                  <a:lnTo>
                    <a:pt x="465" y="828"/>
                  </a:lnTo>
                  <a:lnTo>
                    <a:pt x="504" y="858"/>
                  </a:lnTo>
                  <a:lnTo>
                    <a:pt x="536" y="830"/>
                  </a:lnTo>
                  <a:lnTo>
                    <a:pt x="550" y="792"/>
                  </a:lnTo>
                  <a:lnTo>
                    <a:pt x="565" y="786"/>
                  </a:lnTo>
                  <a:lnTo>
                    <a:pt x="550" y="758"/>
                  </a:lnTo>
                  <a:lnTo>
                    <a:pt x="558" y="679"/>
                  </a:lnTo>
                  <a:lnTo>
                    <a:pt x="555" y="617"/>
                  </a:lnTo>
                  <a:lnTo>
                    <a:pt x="578" y="599"/>
                  </a:lnTo>
                  <a:lnTo>
                    <a:pt x="583" y="552"/>
                  </a:lnTo>
                  <a:lnTo>
                    <a:pt x="548" y="497"/>
                  </a:lnTo>
                  <a:lnTo>
                    <a:pt x="509" y="478"/>
                  </a:lnTo>
                  <a:lnTo>
                    <a:pt x="490" y="418"/>
                  </a:lnTo>
                  <a:lnTo>
                    <a:pt x="455" y="440"/>
                  </a:lnTo>
                  <a:lnTo>
                    <a:pt x="413" y="434"/>
                  </a:lnTo>
                  <a:lnTo>
                    <a:pt x="407" y="408"/>
                  </a:lnTo>
                  <a:lnTo>
                    <a:pt x="376" y="403"/>
                  </a:lnTo>
                  <a:lnTo>
                    <a:pt x="364" y="371"/>
                  </a:lnTo>
                  <a:lnTo>
                    <a:pt x="332" y="345"/>
                  </a:lnTo>
                  <a:lnTo>
                    <a:pt x="320" y="313"/>
                  </a:lnTo>
                  <a:lnTo>
                    <a:pt x="331" y="272"/>
                  </a:lnTo>
                  <a:lnTo>
                    <a:pt x="358" y="259"/>
                  </a:lnTo>
                  <a:lnTo>
                    <a:pt x="378" y="242"/>
                  </a:lnTo>
                  <a:lnTo>
                    <a:pt x="369" y="211"/>
                  </a:lnTo>
                  <a:lnTo>
                    <a:pt x="382" y="169"/>
                  </a:lnTo>
                  <a:lnTo>
                    <a:pt x="413" y="148"/>
                  </a:lnTo>
                  <a:lnTo>
                    <a:pt x="455" y="158"/>
                  </a:lnTo>
                  <a:lnTo>
                    <a:pt x="490" y="138"/>
                  </a:lnTo>
                  <a:lnTo>
                    <a:pt x="503" y="96"/>
                  </a:lnTo>
                  <a:lnTo>
                    <a:pt x="471" y="3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43"/>
            <p:cNvSpPr>
              <a:spLocks noChangeAspect="1"/>
            </p:cNvSpPr>
            <p:nvPr/>
          </p:nvSpPr>
          <p:spPr bwMode="auto">
            <a:xfrm>
              <a:off x="409255" y="3616266"/>
              <a:ext cx="434286" cy="496988"/>
            </a:xfrm>
            <a:custGeom>
              <a:avLst/>
              <a:gdLst/>
              <a:ahLst/>
              <a:cxnLst>
                <a:cxn ang="0">
                  <a:pos x="0" y="609"/>
                </a:cxn>
                <a:cxn ang="0">
                  <a:pos x="46" y="547"/>
                </a:cxn>
                <a:cxn ang="0">
                  <a:pos x="81" y="566"/>
                </a:cxn>
                <a:cxn ang="0">
                  <a:pos x="243" y="578"/>
                </a:cxn>
                <a:cxn ang="0">
                  <a:pos x="303" y="570"/>
                </a:cxn>
                <a:cxn ang="0">
                  <a:pos x="300" y="514"/>
                </a:cxn>
                <a:cxn ang="0">
                  <a:pos x="263" y="503"/>
                </a:cxn>
                <a:cxn ang="0">
                  <a:pos x="267" y="152"/>
                </a:cxn>
                <a:cxn ang="0">
                  <a:pos x="243" y="120"/>
                </a:cxn>
                <a:cxn ang="0">
                  <a:pos x="243" y="52"/>
                </a:cxn>
                <a:cxn ang="0">
                  <a:pos x="276" y="45"/>
                </a:cxn>
                <a:cxn ang="0">
                  <a:pos x="276" y="0"/>
                </a:cxn>
                <a:cxn ang="0">
                  <a:pos x="324" y="31"/>
                </a:cxn>
                <a:cxn ang="0">
                  <a:pos x="640" y="285"/>
                </a:cxn>
                <a:cxn ang="0">
                  <a:pos x="684" y="305"/>
                </a:cxn>
                <a:cxn ang="0">
                  <a:pos x="695" y="379"/>
                </a:cxn>
                <a:cxn ang="0">
                  <a:pos x="735" y="371"/>
                </a:cxn>
                <a:cxn ang="0">
                  <a:pos x="743" y="522"/>
                </a:cxn>
                <a:cxn ang="0">
                  <a:pos x="711" y="526"/>
                </a:cxn>
                <a:cxn ang="0">
                  <a:pos x="711" y="553"/>
                </a:cxn>
                <a:cxn ang="0">
                  <a:pos x="592" y="568"/>
                </a:cxn>
                <a:cxn ang="0">
                  <a:pos x="557" y="594"/>
                </a:cxn>
                <a:cxn ang="0">
                  <a:pos x="480" y="590"/>
                </a:cxn>
                <a:cxn ang="0">
                  <a:pos x="457" y="621"/>
                </a:cxn>
                <a:cxn ang="0">
                  <a:pos x="434" y="645"/>
                </a:cxn>
                <a:cxn ang="0">
                  <a:pos x="374" y="665"/>
                </a:cxn>
                <a:cxn ang="0">
                  <a:pos x="362" y="689"/>
                </a:cxn>
                <a:cxn ang="0">
                  <a:pos x="346" y="724"/>
                </a:cxn>
                <a:cxn ang="0">
                  <a:pos x="315" y="768"/>
                </a:cxn>
                <a:cxn ang="0">
                  <a:pos x="300" y="830"/>
                </a:cxn>
                <a:cxn ang="0">
                  <a:pos x="244" y="837"/>
                </a:cxn>
                <a:cxn ang="0">
                  <a:pos x="206" y="842"/>
                </a:cxn>
                <a:cxn ang="0">
                  <a:pos x="193" y="779"/>
                </a:cxn>
                <a:cxn ang="0">
                  <a:pos x="157" y="744"/>
                </a:cxn>
                <a:cxn ang="0">
                  <a:pos x="105" y="732"/>
                </a:cxn>
                <a:cxn ang="0">
                  <a:pos x="59" y="719"/>
                </a:cxn>
                <a:cxn ang="0">
                  <a:pos x="36" y="668"/>
                </a:cxn>
                <a:cxn ang="0">
                  <a:pos x="8" y="648"/>
                </a:cxn>
                <a:cxn ang="0">
                  <a:pos x="0" y="609"/>
                </a:cxn>
              </a:cxnLst>
              <a:rect l="0" t="0" r="r" b="b"/>
              <a:pathLst>
                <a:path w="743" h="842">
                  <a:moveTo>
                    <a:pt x="0" y="609"/>
                  </a:moveTo>
                  <a:lnTo>
                    <a:pt x="46" y="547"/>
                  </a:lnTo>
                  <a:lnTo>
                    <a:pt x="81" y="566"/>
                  </a:lnTo>
                  <a:lnTo>
                    <a:pt x="243" y="578"/>
                  </a:lnTo>
                  <a:lnTo>
                    <a:pt x="303" y="570"/>
                  </a:lnTo>
                  <a:lnTo>
                    <a:pt x="300" y="514"/>
                  </a:lnTo>
                  <a:lnTo>
                    <a:pt x="263" y="503"/>
                  </a:lnTo>
                  <a:lnTo>
                    <a:pt x="267" y="152"/>
                  </a:lnTo>
                  <a:lnTo>
                    <a:pt x="243" y="120"/>
                  </a:lnTo>
                  <a:lnTo>
                    <a:pt x="243" y="52"/>
                  </a:lnTo>
                  <a:lnTo>
                    <a:pt x="276" y="45"/>
                  </a:lnTo>
                  <a:lnTo>
                    <a:pt x="276" y="0"/>
                  </a:lnTo>
                  <a:lnTo>
                    <a:pt x="324" y="31"/>
                  </a:lnTo>
                  <a:lnTo>
                    <a:pt x="640" y="285"/>
                  </a:lnTo>
                  <a:lnTo>
                    <a:pt x="684" y="305"/>
                  </a:lnTo>
                  <a:lnTo>
                    <a:pt x="695" y="379"/>
                  </a:lnTo>
                  <a:lnTo>
                    <a:pt x="735" y="371"/>
                  </a:lnTo>
                  <a:lnTo>
                    <a:pt x="743" y="522"/>
                  </a:lnTo>
                  <a:lnTo>
                    <a:pt x="711" y="526"/>
                  </a:lnTo>
                  <a:lnTo>
                    <a:pt x="711" y="553"/>
                  </a:lnTo>
                  <a:lnTo>
                    <a:pt x="592" y="568"/>
                  </a:lnTo>
                  <a:lnTo>
                    <a:pt x="557" y="594"/>
                  </a:lnTo>
                  <a:lnTo>
                    <a:pt x="480" y="590"/>
                  </a:lnTo>
                  <a:lnTo>
                    <a:pt x="457" y="621"/>
                  </a:lnTo>
                  <a:lnTo>
                    <a:pt x="434" y="645"/>
                  </a:lnTo>
                  <a:lnTo>
                    <a:pt x="374" y="665"/>
                  </a:lnTo>
                  <a:lnTo>
                    <a:pt x="362" y="689"/>
                  </a:lnTo>
                  <a:lnTo>
                    <a:pt x="346" y="724"/>
                  </a:lnTo>
                  <a:lnTo>
                    <a:pt x="315" y="768"/>
                  </a:lnTo>
                  <a:lnTo>
                    <a:pt x="300" y="830"/>
                  </a:lnTo>
                  <a:lnTo>
                    <a:pt x="244" y="837"/>
                  </a:lnTo>
                  <a:lnTo>
                    <a:pt x="206" y="842"/>
                  </a:lnTo>
                  <a:lnTo>
                    <a:pt x="193" y="779"/>
                  </a:lnTo>
                  <a:lnTo>
                    <a:pt x="157" y="744"/>
                  </a:lnTo>
                  <a:lnTo>
                    <a:pt x="105" y="732"/>
                  </a:lnTo>
                  <a:lnTo>
                    <a:pt x="59" y="719"/>
                  </a:lnTo>
                  <a:lnTo>
                    <a:pt x="36" y="668"/>
                  </a:lnTo>
                  <a:lnTo>
                    <a:pt x="8" y="648"/>
                  </a:lnTo>
                  <a:lnTo>
                    <a:pt x="0" y="60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44"/>
            <p:cNvSpPr>
              <a:spLocks noChangeAspect="1"/>
            </p:cNvSpPr>
            <p:nvPr/>
          </p:nvSpPr>
          <p:spPr bwMode="auto">
            <a:xfrm>
              <a:off x="375849" y="4122129"/>
              <a:ext cx="87912" cy="95848"/>
            </a:xfrm>
            <a:custGeom>
              <a:avLst/>
              <a:gdLst/>
              <a:ahLst/>
              <a:cxnLst>
                <a:cxn ang="0">
                  <a:pos x="151" y="79"/>
                </a:cxn>
                <a:cxn ang="0">
                  <a:pos x="138" y="27"/>
                </a:cxn>
                <a:cxn ang="0">
                  <a:pos x="88" y="0"/>
                </a:cxn>
                <a:cxn ang="0">
                  <a:pos x="48" y="20"/>
                </a:cxn>
                <a:cxn ang="0">
                  <a:pos x="0" y="31"/>
                </a:cxn>
                <a:cxn ang="0">
                  <a:pos x="13" y="75"/>
                </a:cxn>
                <a:cxn ang="0">
                  <a:pos x="44" y="86"/>
                </a:cxn>
                <a:cxn ang="0">
                  <a:pos x="52" y="127"/>
                </a:cxn>
                <a:cxn ang="0">
                  <a:pos x="96" y="138"/>
                </a:cxn>
                <a:cxn ang="0">
                  <a:pos x="107" y="162"/>
                </a:cxn>
                <a:cxn ang="0">
                  <a:pos x="151" y="79"/>
                </a:cxn>
              </a:cxnLst>
              <a:rect l="0" t="0" r="r" b="b"/>
              <a:pathLst>
                <a:path w="151" h="162">
                  <a:moveTo>
                    <a:pt x="151" y="79"/>
                  </a:moveTo>
                  <a:lnTo>
                    <a:pt x="138" y="27"/>
                  </a:lnTo>
                  <a:lnTo>
                    <a:pt x="88" y="0"/>
                  </a:lnTo>
                  <a:lnTo>
                    <a:pt x="48" y="20"/>
                  </a:lnTo>
                  <a:lnTo>
                    <a:pt x="0" y="31"/>
                  </a:lnTo>
                  <a:lnTo>
                    <a:pt x="13" y="75"/>
                  </a:lnTo>
                  <a:lnTo>
                    <a:pt x="44" y="86"/>
                  </a:lnTo>
                  <a:lnTo>
                    <a:pt x="52" y="127"/>
                  </a:lnTo>
                  <a:lnTo>
                    <a:pt x="96" y="138"/>
                  </a:lnTo>
                  <a:lnTo>
                    <a:pt x="107" y="162"/>
                  </a:lnTo>
                  <a:lnTo>
                    <a:pt x="151" y="7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45"/>
            <p:cNvSpPr>
              <a:spLocks noChangeAspect="1"/>
            </p:cNvSpPr>
            <p:nvPr/>
          </p:nvSpPr>
          <p:spPr bwMode="auto">
            <a:xfrm>
              <a:off x="796069" y="3997882"/>
              <a:ext cx="293627" cy="292868"/>
            </a:xfrm>
            <a:custGeom>
              <a:avLst/>
              <a:gdLst/>
              <a:ahLst/>
              <a:cxnLst>
                <a:cxn ang="0">
                  <a:pos x="401" y="320"/>
                </a:cxn>
                <a:cxn ang="0">
                  <a:pos x="432" y="269"/>
                </a:cxn>
                <a:cxn ang="0">
                  <a:pos x="453" y="180"/>
                </a:cxn>
                <a:cxn ang="0">
                  <a:pos x="467" y="158"/>
                </a:cxn>
                <a:cxn ang="0">
                  <a:pos x="492" y="138"/>
                </a:cxn>
                <a:cxn ang="0">
                  <a:pos x="501" y="79"/>
                </a:cxn>
                <a:cxn ang="0">
                  <a:pos x="491" y="0"/>
                </a:cxn>
                <a:cxn ang="0">
                  <a:pos x="491" y="0"/>
                </a:cxn>
                <a:cxn ang="0">
                  <a:pos x="458" y="19"/>
                </a:cxn>
                <a:cxn ang="0">
                  <a:pos x="437" y="44"/>
                </a:cxn>
                <a:cxn ang="0">
                  <a:pos x="414" y="19"/>
                </a:cxn>
                <a:cxn ang="0">
                  <a:pos x="354" y="16"/>
                </a:cxn>
                <a:cxn ang="0">
                  <a:pos x="348" y="43"/>
                </a:cxn>
                <a:cxn ang="0">
                  <a:pos x="310" y="39"/>
                </a:cxn>
                <a:cxn ang="0">
                  <a:pos x="282" y="13"/>
                </a:cxn>
                <a:cxn ang="0">
                  <a:pos x="249" y="16"/>
                </a:cxn>
                <a:cxn ang="0">
                  <a:pos x="192" y="23"/>
                </a:cxn>
                <a:cxn ang="0">
                  <a:pos x="187" y="43"/>
                </a:cxn>
                <a:cxn ang="0">
                  <a:pos x="168" y="11"/>
                </a:cxn>
                <a:cxn ang="0">
                  <a:pos x="131" y="5"/>
                </a:cxn>
                <a:cxn ang="0">
                  <a:pos x="89" y="16"/>
                </a:cxn>
                <a:cxn ang="0">
                  <a:pos x="72" y="50"/>
                </a:cxn>
                <a:cxn ang="0">
                  <a:pos x="58" y="74"/>
                </a:cxn>
                <a:cxn ang="0">
                  <a:pos x="44" y="74"/>
                </a:cxn>
                <a:cxn ang="0">
                  <a:pos x="51" y="133"/>
                </a:cxn>
                <a:cxn ang="0">
                  <a:pos x="28" y="236"/>
                </a:cxn>
                <a:cxn ang="0">
                  <a:pos x="0" y="271"/>
                </a:cxn>
                <a:cxn ang="0">
                  <a:pos x="11" y="374"/>
                </a:cxn>
                <a:cxn ang="0">
                  <a:pos x="48" y="382"/>
                </a:cxn>
                <a:cxn ang="0">
                  <a:pos x="89" y="375"/>
                </a:cxn>
                <a:cxn ang="0">
                  <a:pos x="108" y="397"/>
                </a:cxn>
                <a:cxn ang="0">
                  <a:pos x="127" y="424"/>
                </a:cxn>
                <a:cxn ang="0">
                  <a:pos x="126" y="468"/>
                </a:cxn>
                <a:cxn ang="0">
                  <a:pos x="158" y="495"/>
                </a:cxn>
                <a:cxn ang="0">
                  <a:pos x="202" y="496"/>
                </a:cxn>
                <a:cxn ang="0">
                  <a:pos x="288" y="427"/>
                </a:cxn>
                <a:cxn ang="0">
                  <a:pos x="315" y="392"/>
                </a:cxn>
                <a:cxn ang="0">
                  <a:pos x="352" y="357"/>
                </a:cxn>
                <a:cxn ang="0">
                  <a:pos x="401" y="320"/>
                </a:cxn>
              </a:cxnLst>
              <a:rect l="0" t="0" r="r" b="b"/>
              <a:pathLst>
                <a:path w="501" h="496">
                  <a:moveTo>
                    <a:pt x="401" y="320"/>
                  </a:moveTo>
                  <a:lnTo>
                    <a:pt x="432" y="269"/>
                  </a:lnTo>
                  <a:lnTo>
                    <a:pt x="453" y="180"/>
                  </a:lnTo>
                  <a:lnTo>
                    <a:pt x="467" y="158"/>
                  </a:lnTo>
                  <a:lnTo>
                    <a:pt x="492" y="138"/>
                  </a:lnTo>
                  <a:lnTo>
                    <a:pt x="501" y="79"/>
                  </a:lnTo>
                  <a:lnTo>
                    <a:pt x="491" y="0"/>
                  </a:lnTo>
                  <a:lnTo>
                    <a:pt x="491" y="0"/>
                  </a:lnTo>
                  <a:lnTo>
                    <a:pt x="458" y="19"/>
                  </a:lnTo>
                  <a:lnTo>
                    <a:pt x="437" y="44"/>
                  </a:lnTo>
                  <a:lnTo>
                    <a:pt x="414" y="19"/>
                  </a:lnTo>
                  <a:lnTo>
                    <a:pt x="354" y="16"/>
                  </a:lnTo>
                  <a:lnTo>
                    <a:pt x="348" y="43"/>
                  </a:lnTo>
                  <a:lnTo>
                    <a:pt x="310" y="39"/>
                  </a:lnTo>
                  <a:lnTo>
                    <a:pt x="282" y="13"/>
                  </a:lnTo>
                  <a:lnTo>
                    <a:pt x="249" y="16"/>
                  </a:lnTo>
                  <a:lnTo>
                    <a:pt x="192" y="23"/>
                  </a:lnTo>
                  <a:lnTo>
                    <a:pt x="187" y="43"/>
                  </a:lnTo>
                  <a:lnTo>
                    <a:pt x="168" y="11"/>
                  </a:lnTo>
                  <a:lnTo>
                    <a:pt x="131" y="5"/>
                  </a:lnTo>
                  <a:lnTo>
                    <a:pt x="89" y="16"/>
                  </a:lnTo>
                  <a:lnTo>
                    <a:pt x="72" y="50"/>
                  </a:lnTo>
                  <a:lnTo>
                    <a:pt x="58" y="74"/>
                  </a:lnTo>
                  <a:lnTo>
                    <a:pt x="44" y="74"/>
                  </a:lnTo>
                  <a:lnTo>
                    <a:pt x="51" y="133"/>
                  </a:lnTo>
                  <a:lnTo>
                    <a:pt x="28" y="236"/>
                  </a:lnTo>
                  <a:lnTo>
                    <a:pt x="0" y="271"/>
                  </a:lnTo>
                  <a:lnTo>
                    <a:pt x="11" y="374"/>
                  </a:lnTo>
                  <a:lnTo>
                    <a:pt x="48" y="382"/>
                  </a:lnTo>
                  <a:lnTo>
                    <a:pt x="89" y="375"/>
                  </a:lnTo>
                  <a:lnTo>
                    <a:pt x="108" y="397"/>
                  </a:lnTo>
                  <a:lnTo>
                    <a:pt x="127" y="424"/>
                  </a:lnTo>
                  <a:lnTo>
                    <a:pt x="126" y="468"/>
                  </a:lnTo>
                  <a:lnTo>
                    <a:pt x="158" y="495"/>
                  </a:lnTo>
                  <a:lnTo>
                    <a:pt x="202" y="496"/>
                  </a:lnTo>
                  <a:lnTo>
                    <a:pt x="288" y="427"/>
                  </a:lnTo>
                  <a:lnTo>
                    <a:pt x="315" y="392"/>
                  </a:lnTo>
                  <a:lnTo>
                    <a:pt x="352" y="357"/>
                  </a:lnTo>
                  <a:lnTo>
                    <a:pt x="401" y="32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46"/>
            <p:cNvSpPr>
              <a:spLocks noChangeAspect="1"/>
            </p:cNvSpPr>
            <p:nvPr/>
          </p:nvSpPr>
          <p:spPr bwMode="auto">
            <a:xfrm>
              <a:off x="1126619" y="4081305"/>
              <a:ext cx="327033" cy="260919"/>
            </a:xfrm>
            <a:custGeom>
              <a:avLst/>
              <a:gdLst/>
              <a:ahLst/>
              <a:cxnLst>
                <a:cxn ang="0">
                  <a:pos x="553" y="314"/>
                </a:cxn>
                <a:cxn ang="0">
                  <a:pos x="527" y="312"/>
                </a:cxn>
                <a:cxn ang="0">
                  <a:pos x="474" y="324"/>
                </a:cxn>
                <a:cxn ang="0">
                  <a:pos x="434" y="318"/>
                </a:cxn>
                <a:cxn ang="0">
                  <a:pos x="430" y="335"/>
                </a:cxn>
                <a:cxn ang="0">
                  <a:pos x="336" y="345"/>
                </a:cxn>
                <a:cxn ang="0">
                  <a:pos x="330" y="366"/>
                </a:cxn>
                <a:cxn ang="0">
                  <a:pos x="251" y="373"/>
                </a:cxn>
                <a:cxn ang="0">
                  <a:pos x="235" y="342"/>
                </a:cxn>
                <a:cxn ang="0">
                  <a:pos x="206" y="329"/>
                </a:cxn>
                <a:cxn ang="0">
                  <a:pos x="186" y="356"/>
                </a:cxn>
                <a:cxn ang="0">
                  <a:pos x="164" y="367"/>
                </a:cxn>
                <a:cxn ang="0">
                  <a:pos x="147" y="381"/>
                </a:cxn>
                <a:cxn ang="0">
                  <a:pos x="113" y="387"/>
                </a:cxn>
                <a:cxn ang="0">
                  <a:pos x="89" y="412"/>
                </a:cxn>
                <a:cxn ang="0">
                  <a:pos x="71" y="440"/>
                </a:cxn>
                <a:cxn ang="0">
                  <a:pos x="55" y="412"/>
                </a:cxn>
                <a:cxn ang="0">
                  <a:pos x="34" y="347"/>
                </a:cxn>
                <a:cxn ang="0">
                  <a:pos x="0" y="294"/>
                </a:cxn>
                <a:cxn ang="0">
                  <a:pos x="20" y="235"/>
                </a:cxn>
                <a:cxn ang="0">
                  <a:pos x="41" y="205"/>
                </a:cxn>
                <a:cxn ang="0">
                  <a:pos x="68" y="191"/>
                </a:cxn>
                <a:cxn ang="0">
                  <a:pos x="110" y="195"/>
                </a:cxn>
                <a:cxn ang="0">
                  <a:pos x="124" y="166"/>
                </a:cxn>
                <a:cxn ang="0">
                  <a:pos x="174" y="162"/>
                </a:cxn>
                <a:cxn ang="0">
                  <a:pos x="197" y="129"/>
                </a:cxn>
                <a:cxn ang="0">
                  <a:pos x="241" y="119"/>
                </a:cxn>
                <a:cxn ang="0">
                  <a:pos x="257" y="87"/>
                </a:cxn>
                <a:cxn ang="0">
                  <a:pos x="286" y="73"/>
                </a:cxn>
                <a:cxn ang="0">
                  <a:pos x="306" y="35"/>
                </a:cxn>
                <a:cxn ang="0">
                  <a:pos x="336" y="8"/>
                </a:cxn>
                <a:cxn ang="0">
                  <a:pos x="358" y="0"/>
                </a:cxn>
                <a:cxn ang="0">
                  <a:pos x="379" y="33"/>
                </a:cxn>
                <a:cxn ang="0">
                  <a:pos x="401" y="78"/>
                </a:cxn>
                <a:cxn ang="0">
                  <a:pos x="396" y="118"/>
                </a:cxn>
                <a:cxn ang="0">
                  <a:pos x="417" y="128"/>
                </a:cxn>
                <a:cxn ang="0">
                  <a:pos x="420" y="153"/>
                </a:cxn>
                <a:cxn ang="0">
                  <a:pos x="452" y="148"/>
                </a:cxn>
                <a:cxn ang="0">
                  <a:pos x="464" y="191"/>
                </a:cxn>
                <a:cxn ang="0">
                  <a:pos x="506" y="199"/>
                </a:cxn>
                <a:cxn ang="0">
                  <a:pos x="513" y="250"/>
                </a:cxn>
                <a:cxn ang="0">
                  <a:pos x="540" y="260"/>
                </a:cxn>
                <a:cxn ang="0">
                  <a:pos x="551" y="278"/>
                </a:cxn>
                <a:cxn ang="0">
                  <a:pos x="558" y="291"/>
                </a:cxn>
                <a:cxn ang="0">
                  <a:pos x="553" y="314"/>
                </a:cxn>
              </a:cxnLst>
              <a:rect l="0" t="0" r="r" b="b"/>
              <a:pathLst>
                <a:path w="558" h="440">
                  <a:moveTo>
                    <a:pt x="553" y="314"/>
                  </a:moveTo>
                  <a:lnTo>
                    <a:pt x="527" y="312"/>
                  </a:lnTo>
                  <a:lnTo>
                    <a:pt x="474" y="324"/>
                  </a:lnTo>
                  <a:lnTo>
                    <a:pt x="434" y="318"/>
                  </a:lnTo>
                  <a:lnTo>
                    <a:pt x="430" y="335"/>
                  </a:lnTo>
                  <a:lnTo>
                    <a:pt x="336" y="345"/>
                  </a:lnTo>
                  <a:lnTo>
                    <a:pt x="330" y="366"/>
                  </a:lnTo>
                  <a:lnTo>
                    <a:pt x="251" y="373"/>
                  </a:lnTo>
                  <a:lnTo>
                    <a:pt x="235" y="342"/>
                  </a:lnTo>
                  <a:lnTo>
                    <a:pt x="206" y="329"/>
                  </a:lnTo>
                  <a:lnTo>
                    <a:pt x="186" y="356"/>
                  </a:lnTo>
                  <a:lnTo>
                    <a:pt x="164" y="367"/>
                  </a:lnTo>
                  <a:lnTo>
                    <a:pt x="147" y="381"/>
                  </a:lnTo>
                  <a:lnTo>
                    <a:pt x="113" y="387"/>
                  </a:lnTo>
                  <a:lnTo>
                    <a:pt x="89" y="412"/>
                  </a:lnTo>
                  <a:lnTo>
                    <a:pt x="71" y="440"/>
                  </a:lnTo>
                  <a:lnTo>
                    <a:pt x="55" y="412"/>
                  </a:lnTo>
                  <a:lnTo>
                    <a:pt x="34" y="347"/>
                  </a:lnTo>
                  <a:lnTo>
                    <a:pt x="0" y="294"/>
                  </a:lnTo>
                  <a:lnTo>
                    <a:pt x="20" y="235"/>
                  </a:lnTo>
                  <a:lnTo>
                    <a:pt x="41" y="205"/>
                  </a:lnTo>
                  <a:lnTo>
                    <a:pt x="68" y="191"/>
                  </a:lnTo>
                  <a:lnTo>
                    <a:pt x="110" y="195"/>
                  </a:lnTo>
                  <a:lnTo>
                    <a:pt x="124" y="166"/>
                  </a:lnTo>
                  <a:lnTo>
                    <a:pt x="174" y="162"/>
                  </a:lnTo>
                  <a:lnTo>
                    <a:pt x="197" y="129"/>
                  </a:lnTo>
                  <a:lnTo>
                    <a:pt x="241" y="119"/>
                  </a:lnTo>
                  <a:lnTo>
                    <a:pt x="257" y="87"/>
                  </a:lnTo>
                  <a:lnTo>
                    <a:pt x="286" y="73"/>
                  </a:lnTo>
                  <a:lnTo>
                    <a:pt x="306" y="35"/>
                  </a:lnTo>
                  <a:lnTo>
                    <a:pt x="336" y="8"/>
                  </a:lnTo>
                  <a:lnTo>
                    <a:pt x="358" y="0"/>
                  </a:lnTo>
                  <a:lnTo>
                    <a:pt x="379" y="33"/>
                  </a:lnTo>
                  <a:lnTo>
                    <a:pt x="401" y="78"/>
                  </a:lnTo>
                  <a:lnTo>
                    <a:pt x="396" y="118"/>
                  </a:lnTo>
                  <a:lnTo>
                    <a:pt x="417" y="128"/>
                  </a:lnTo>
                  <a:lnTo>
                    <a:pt x="420" y="153"/>
                  </a:lnTo>
                  <a:lnTo>
                    <a:pt x="452" y="148"/>
                  </a:lnTo>
                  <a:lnTo>
                    <a:pt x="464" y="191"/>
                  </a:lnTo>
                  <a:lnTo>
                    <a:pt x="506" y="199"/>
                  </a:lnTo>
                  <a:lnTo>
                    <a:pt x="513" y="250"/>
                  </a:lnTo>
                  <a:lnTo>
                    <a:pt x="540" y="260"/>
                  </a:lnTo>
                  <a:lnTo>
                    <a:pt x="551" y="278"/>
                  </a:lnTo>
                  <a:lnTo>
                    <a:pt x="558" y="291"/>
                  </a:lnTo>
                  <a:lnTo>
                    <a:pt x="553" y="31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47"/>
            <p:cNvSpPr>
              <a:spLocks noChangeAspect="1"/>
            </p:cNvSpPr>
            <p:nvPr/>
          </p:nvSpPr>
          <p:spPr bwMode="auto">
            <a:xfrm>
              <a:off x="1383323" y="3426346"/>
              <a:ext cx="284836" cy="335467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3" y="565"/>
                </a:cxn>
                <a:cxn ang="0">
                  <a:pos x="31" y="550"/>
                </a:cxn>
                <a:cxn ang="0">
                  <a:pos x="66" y="526"/>
                </a:cxn>
                <a:cxn ang="0">
                  <a:pos x="362" y="526"/>
                </a:cxn>
                <a:cxn ang="0">
                  <a:pos x="390" y="550"/>
                </a:cxn>
                <a:cxn ang="0">
                  <a:pos x="469" y="486"/>
                </a:cxn>
                <a:cxn ang="0">
                  <a:pos x="469" y="423"/>
                </a:cxn>
                <a:cxn ang="0">
                  <a:pos x="485" y="410"/>
                </a:cxn>
                <a:cxn ang="0">
                  <a:pos x="378" y="241"/>
                </a:cxn>
                <a:cxn ang="0">
                  <a:pos x="318" y="138"/>
                </a:cxn>
                <a:cxn ang="0">
                  <a:pos x="318" y="91"/>
                </a:cxn>
                <a:cxn ang="0">
                  <a:pos x="351" y="130"/>
                </a:cxn>
                <a:cxn ang="0">
                  <a:pos x="402" y="185"/>
                </a:cxn>
                <a:cxn ang="0">
                  <a:pos x="425" y="138"/>
                </a:cxn>
                <a:cxn ang="0">
                  <a:pos x="425" y="83"/>
                </a:cxn>
                <a:cxn ang="0">
                  <a:pos x="382" y="16"/>
                </a:cxn>
                <a:cxn ang="0">
                  <a:pos x="318" y="12"/>
                </a:cxn>
                <a:cxn ang="0">
                  <a:pos x="204" y="0"/>
                </a:cxn>
                <a:cxn ang="0">
                  <a:pos x="189" y="55"/>
                </a:cxn>
                <a:cxn ang="0">
                  <a:pos x="156" y="40"/>
                </a:cxn>
                <a:cxn ang="0">
                  <a:pos x="125" y="3"/>
                </a:cxn>
                <a:cxn ang="0">
                  <a:pos x="0" y="12"/>
                </a:cxn>
              </a:cxnLst>
              <a:rect l="0" t="0" r="r" b="b"/>
              <a:pathLst>
                <a:path w="485" h="565">
                  <a:moveTo>
                    <a:pt x="0" y="12"/>
                  </a:moveTo>
                  <a:lnTo>
                    <a:pt x="3" y="565"/>
                  </a:lnTo>
                  <a:lnTo>
                    <a:pt x="31" y="550"/>
                  </a:lnTo>
                  <a:lnTo>
                    <a:pt x="66" y="526"/>
                  </a:lnTo>
                  <a:lnTo>
                    <a:pt x="362" y="526"/>
                  </a:lnTo>
                  <a:lnTo>
                    <a:pt x="390" y="550"/>
                  </a:lnTo>
                  <a:lnTo>
                    <a:pt x="469" y="486"/>
                  </a:lnTo>
                  <a:lnTo>
                    <a:pt x="469" y="423"/>
                  </a:lnTo>
                  <a:lnTo>
                    <a:pt x="485" y="410"/>
                  </a:lnTo>
                  <a:lnTo>
                    <a:pt x="378" y="241"/>
                  </a:lnTo>
                  <a:lnTo>
                    <a:pt x="318" y="138"/>
                  </a:lnTo>
                  <a:lnTo>
                    <a:pt x="318" y="91"/>
                  </a:lnTo>
                  <a:lnTo>
                    <a:pt x="351" y="130"/>
                  </a:lnTo>
                  <a:lnTo>
                    <a:pt x="402" y="185"/>
                  </a:lnTo>
                  <a:lnTo>
                    <a:pt x="425" y="138"/>
                  </a:lnTo>
                  <a:lnTo>
                    <a:pt x="425" y="83"/>
                  </a:lnTo>
                  <a:lnTo>
                    <a:pt x="382" y="16"/>
                  </a:lnTo>
                  <a:lnTo>
                    <a:pt x="318" y="12"/>
                  </a:lnTo>
                  <a:lnTo>
                    <a:pt x="204" y="0"/>
                  </a:lnTo>
                  <a:lnTo>
                    <a:pt x="189" y="55"/>
                  </a:lnTo>
                  <a:lnTo>
                    <a:pt x="156" y="40"/>
                  </a:lnTo>
                  <a:lnTo>
                    <a:pt x="125" y="3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48"/>
            <p:cNvSpPr>
              <a:spLocks noChangeAspect="1"/>
            </p:cNvSpPr>
            <p:nvPr/>
          </p:nvSpPr>
          <p:spPr bwMode="auto">
            <a:xfrm>
              <a:off x="2355632" y="3282574"/>
              <a:ext cx="327033" cy="397590"/>
            </a:xfrm>
            <a:custGeom>
              <a:avLst/>
              <a:gdLst/>
              <a:ahLst/>
              <a:cxnLst>
                <a:cxn ang="0">
                  <a:pos x="430" y="0"/>
                </a:cxn>
                <a:cxn ang="0">
                  <a:pos x="388" y="16"/>
                </a:cxn>
                <a:cxn ang="0">
                  <a:pos x="378" y="65"/>
                </a:cxn>
                <a:cxn ang="0">
                  <a:pos x="378" y="65"/>
                </a:cxn>
                <a:cxn ang="0">
                  <a:pos x="360" y="123"/>
                </a:cxn>
                <a:cxn ang="0">
                  <a:pos x="340" y="169"/>
                </a:cxn>
                <a:cxn ang="0">
                  <a:pos x="309" y="189"/>
                </a:cxn>
                <a:cxn ang="0">
                  <a:pos x="296" y="245"/>
                </a:cxn>
                <a:cxn ang="0">
                  <a:pos x="257" y="248"/>
                </a:cxn>
                <a:cxn ang="0">
                  <a:pos x="206" y="281"/>
                </a:cxn>
                <a:cxn ang="0">
                  <a:pos x="170" y="309"/>
                </a:cxn>
                <a:cxn ang="0">
                  <a:pos x="150" y="355"/>
                </a:cxn>
                <a:cxn ang="0">
                  <a:pos x="20" y="368"/>
                </a:cxn>
                <a:cxn ang="0">
                  <a:pos x="0" y="407"/>
                </a:cxn>
                <a:cxn ang="0">
                  <a:pos x="12" y="458"/>
                </a:cxn>
                <a:cxn ang="0">
                  <a:pos x="47" y="462"/>
                </a:cxn>
                <a:cxn ang="0">
                  <a:pos x="64" y="490"/>
                </a:cxn>
                <a:cxn ang="0">
                  <a:pos x="36" y="526"/>
                </a:cxn>
                <a:cxn ang="0">
                  <a:pos x="0" y="537"/>
                </a:cxn>
                <a:cxn ang="0">
                  <a:pos x="36" y="549"/>
                </a:cxn>
                <a:cxn ang="0">
                  <a:pos x="55" y="589"/>
                </a:cxn>
                <a:cxn ang="0">
                  <a:pos x="134" y="589"/>
                </a:cxn>
                <a:cxn ang="0">
                  <a:pos x="185" y="569"/>
                </a:cxn>
                <a:cxn ang="0">
                  <a:pos x="194" y="609"/>
                </a:cxn>
                <a:cxn ang="0">
                  <a:pos x="246" y="644"/>
                </a:cxn>
                <a:cxn ang="0">
                  <a:pos x="285" y="672"/>
                </a:cxn>
                <a:cxn ang="0">
                  <a:pos x="312" y="644"/>
                </a:cxn>
                <a:cxn ang="0">
                  <a:pos x="403" y="644"/>
                </a:cxn>
                <a:cxn ang="0">
                  <a:pos x="408" y="605"/>
                </a:cxn>
                <a:cxn ang="0">
                  <a:pos x="360" y="541"/>
                </a:cxn>
                <a:cxn ang="0">
                  <a:pos x="320" y="502"/>
                </a:cxn>
                <a:cxn ang="0">
                  <a:pos x="336" y="454"/>
                </a:cxn>
                <a:cxn ang="0">
                  <a:pos x="364" y="427"/>
                </a:cxn>
                <a:cxn ang="0">
                  <a:pos x="443" y="454"/>
                </a:cxn>
                <a:cxn ang="0">
                  <a:pos x="454" y="423"/>
                </a:cxn>
                <a:cxn ang="0">
                  <a:pos x="459" y="387"/>
                </a:cxn>
                <a:cxn ang="0">
                  <a:pos x="509" y="344"/>
                </a:cxn>
                <a:cxn ang="0">
                  <a:pos x="526" y="300"/>
                </a:cxn>
                <a:cxn ang="0">
                  <a:pos x="557" y="269"/>
                </a:cxn>
                <a:cxn ang="0">
                  <a:pos x="553" y="197"/>
                </a:cxn>
                <a:cxn ang="0">
                  <a:pos x="509" y="166"/>
                </a:cxn>
                <a:cxn ang="0">
                  <a:pos x="514" y="103"/>
                </a:cxn>
                <a:cxn ang="0">
                  <a:pos x="491" y="71"/>
                </a:cxn>
                <a:cxn ang="0">
                  <a:pos x="498" y="27"/>
                </a:cxn>
                <a:cxn ang="0">
                  <a:pos x="459" y="7"/>
                </a:cxn>
                <a:cxn ang="0">
                  <a:pos x="430" y="0"/>
                </a:cxn>
              </a:cxnLst>
              <a:rect l="0" t="0" r="r" b="b"/>
              <a:pathLst>
                <a:path w="557" h="672">
                  <a:moveTo>
                    <a:pt x="430" y="0"/>
                  </a:moveTo>
                  <a:lnTo>
                    <a:pt x="388" y="16"/>
                  </a:lnTo>
                  <a:lnTo>
                    <a:pt x="378" y="65"/>
                  </a:lnTo>
                  <a:lnTo>
                    <a:pt x="378" y="65"/>
                  </a:lnTo>
                  <a:lnTo>
                    <a:pt x="360" y="123"/>
                  </a:lnTo>
                  <a:lnTo>
                    <a:pt x="340" y="169"/>
                  </a:lnTo>
                  <a:lnTo>
                    <a:pt x="309" y="189"/>
                  </a:lnTo>
                  <a:lnTo>
                    <a:pt x="296" y="245"/>
                  </a:lnTo>
                  <a:lnTo>
                    <a:pt x="257" y="248"/>
                  </a:lnTo>
                  <a:lnTo>
                    <a:pt x="206" y="281"/>
                  </a:lnTo>
                  <a:lnTo>
                    <a:pt x="170" y="309"/>
                  </a:lnTo>
                  <a:lnTo>
                    <a:pt x="150" y="355"/>
                  </a:lnTo>
                  <a:lnTo>
                    <a:pt x="20" y="368"/>
                  </a:lnTo>
                  <a:lnTo>
                    <a:pt x="0" y="407"/>
                  </a:lnTo>
                  <a:lnTo>
                    <a:pt x="12" y="458"/>
                  </a:lnTo>
                  <a:lnTo>
                    <a:pt x="47" y="462"/>
                  </a:lnTo>
                  <a:lnTo>
                    <a:pt x="64" y="490"/>
                  </a:lnTo>
                  <a:lnTo>
                    <a:pt x="36" y="526"/>
                  </a:lnTo>
                  <a:lnTo>
                    <a:pt x="0" y="537"/>
                  </a:lnTo>
                  <a:lnTo>
                    <a:pt x="36" y="549"/>
                  </a:lnTo>
                  <a:lnTo>
                    <a:pt x="55" y="589"/>
                  </a:lnTo>
                  <a:lnTo>
                    <a:pt x="134" y="589"/>
                  </a:lnTo>
                  <a:lnTo>
                    <a:pt x="185" y="569"/>
                  </a:lnTo>
                  <a:lnTo>
                    <a:pt x="194" y="609"/>
                  </a:lnTo>
                  <a:lnTo>
                    <a:pt x="246" y="644"/>
                  </a:lnTo>
                  <a:lnTo>
                    <a:pt x="285" y="672"/>
                  </a:lnTo>
                  <a:lnTo>
                    <a:pt x="312" y="644"/>
                  </a:lnTo>
                  <a:lnTo>
                    <a:pt x="403" y="644"/>
                  </a:lnTo>
                  <a:lnTo>
                    <a:pt x="408" y="605"/>
                  </a:lnTo>
                  <a:lnTo>
                    <a:pt x="360" y="541"/>
                  </a:lnTo>
                  <a:lnTo>
                    <a:pt x="320" y="502"/>
                  </a:lnTo>
                  <a:lnTo>
                    <a:pt x="336" y="454"/>
                  </a:lnTo>
                  <a:lnTo>
                    <a:pt x="364" y="427"/>
                  </a:lnTo>
                  <a:lnTo>
                    <a:pt x="443" y="454"/>
                  </a:lnTo>
                  <a:lnTo>
                    <a:pt x="454" y="423"/>
                  </a:lnTo>
                  <a:lnTo>
                    <a:pt x="459" y="387"/>
                  </a:lnTo>
                  <a:lnTo>
                    <a:pt x="509" y="344"/>
                  </a:lnTo>
                  <a:lnTo>
                    <a:pt x="526" y="300"/>
                  </a:lnTo>
                  <a:lnTo>
                    <a:pt x="557" y="269"/>
                  </a:lnTo>
                  <a:lnTo>
                    <a:pt x="553" y="197"/>
                  </a:lnTo>
                  <a:lnTo>
                    <a:pt x="509" y="166"/>
                  </a:lnTo>
                  <a:lnTo>
                    <a:pt x="514" y="103"/>
                  </a:lnTo>
                  <a:lnTo>
                    <a:pt x="491" y="71"/>
                  </a:lnTo>
                  <a:lnTo>
                    <a:pt x="498" y="27"/>
                  </a:lnTo>
                  <a:lnTo>
                    <a:pt x="459" y="7"/>
                  </a:lnTo>
                  <a:lnTo>
                    <a:pt x="43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49"/>
            <p:cNvSpPr>
              <a:spLocks noChangeAspect="1"/>
            </p:cNvSpPr>
            <p:nvPr/>
          </p:nvSpPr>
          <p:spPr bwMode="auto">
            <a:xfrm>
              <a:off x="3989040" y="3176077"/>
              <a:ext cx="98462" cy="161521"/>
            </a:xfrm>
            <a:custGeom>
              <a:avLst/>
              <a:gdLst/>
              <a:ahLst/>
              <a:cxnLst>
                <a:cxn ang="0">
                  <a:pos x="79" y="0"/>
                </a:cxn>
                <a:cxn ang="0">
                  <a:pos x="64" y="48"/>
                </a:cxn>
                <a:cxn ang="0">
                  <a:pos x="0" y="72"/>
                </a:cxn>
                <a:cxn ang="0">
                  <a:pos x="23" y="111"/>
                </a:cxn>
                <a:cxn ang="0">
                  <a:pos x="20" y="147"/>
                </a:cxn>
                <a:cxn ang="0">
                  <a:pos x="60" y="162"/>
                </a:cxn>
                <a:cxn ang="0">
                  <a:pos x="51" y="254"/>
                </a:cxn>
                <a:cxn ang="0">
                  <a:pos x="99" y="274"/>
                </a:cxn>
                <a:cxn ang="0">
                  <a:pos x="170" y="230"/>
                </a:cxn>
                <a:cxn ang="0">
                  <a:pos x="170" y="120"/>
                </a:cxn>
                <a:cxn ang="0">
                  <a:pos x="79" y="0"/>
                </a:cxn>
              </a:cxnLst>
              <a:rect l="0" t="0" r="r" b="b"/>
              <a:pathLst>
                <a:path w="170" h="274">
                  <a:moveTo>
                    <a:pt x="79" y="0"/>
                  </a:moveTo>
                  <a:lnTo>
                    <a:pt x="64" y="48"/>
                  </a:lnTo>
                  <a:lnTo>
                    <a:pt x="0" y="72"/>
                  </a:lnTo>
                  <a:lnTo>
                    <a:pt x="23" y="111"/>
                  </a:lnTo>
                  <a:lnTo>
                    <a:pt x="20" y="147"/>
                  </a:lnTo>
                  <a:lnTo>
                    <a:pt x="60" y="162"/>
                  </a:lnTo>
                  <a:lnTo>
                    <a:pt x="51" y="254"/>
                  </a:lnTo>
                  <a:lnTo>
                    <a:pt x="99" y="274"/>
                  </a:lnTo>
                  <a:lnTo>
                    <a:pt x="170" y="230"/>
                  </a:lnTo>
                  <a:lnTo>
                    <a:pt x="170" y="120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50"/>
            <p:cNvSpPr>
              <a:spLocks noChangeAspect="1"/>
            </p:cNvSpPr>
            <p:nvPr/>
          </p:nvSpPr>
          <p:spPr bwMode="auto">
            <a:xfrm>
              <a:off x="4270359" y="2616966"/>
              <a:ext cx="100220" cy="204120"/>
            </a:xfrm>
            <a:custGeom>
              <a:avLst/>
              <a:gdLst/>
              <a:ahLst/>
              <a:cxnLst>
                <a:cxn ang="0">
                  <a:pos x="12" y="32"/>
                </a:cxn>
                <a:cxn ang="0">
                  <a:pos x="12" y="68"/>
                </a:cxn>
                <a:cxn ang="0">
                  <a:pos x="24" y="111"/>
                </a:cxn>
                <a:cxn ang="0">
                  <a:pos x="40" y="166"/>
                </a:cxn>
                <a:cxn ang="0">
                  <a:pos x="55" y="230"/>
                </a:cxn>
                <a:cxn ang="0">
                  <a:pos x="83" y="258"/>
                </a:cxn>
                <a:cxn ang="0">
                  <a:pos x="67" y="300"/>
                </a:cxn>
                <a:cxn ang="0">
                  <a:pos x="75" y="322"/>
                </a:cxn>
                <a:cxn ang="0">
                  <a:pos x="95" y="320"/>
                </a:cxn>
                <a:cxn ang="0">
                  <a:pos x="142" y="343"/>
                </a:cxn>
                <a:cxn ang="0">
                  <a:pos x="170" y="324"/>
                </a:cxn>
                <a:cxn ang="0">
                  <a:pos x="147" y="265"/>
                </a:cxn>
                <a:cxn ang="0">
                  <a:pos x="109" y="175"/>
                </a:cxn>
                <a:cxn ang="0">
                  <a:pos x="140" y="181"/>
                </a:cxn>
                <a:cxn ang="0">
                  <a:pos x="98" y="122"/>
                </a:cxn>
                <a:cxn ang="0">
                  <a:pos x="64" y="76"/>
                </a:cxn>
                <a:cxn ang="0">
                  <a:pos x="51" y="13"/>
                </a:cxn>
                <a:cxn ang="0">
                  <a:pos x="0" y="0"/>
                </a:cxn>
                <a:cxn ang="0">
                  <a:pos x="12" y="32"/>
                </a:cxn>
              </a:cxnLst>
              <a:rect l="0" t="0" r="r" b="b"/>
              <a:pathLst>
                <a:path w="170" h="343">
                  <a:moveTo>
                    <a:pt x="12" y="32"/>
                  </a:moveTo>
                  <a:lnTo>
                    <a:pt x="12" y="68"/>
                  </a:lnTo>
                  <a:lnTo>
                    <a:pt x="24" y="111"/>
                  </a:lnTo>
                  <a:lnTo>
                    <a:pt x="40" y="166"/>
                  </a:lnTo>
                  <a:lnTo>
                    <a:pt x="55" y="230"/>
                  </a:lnTo>
                  <a:lnTo>
                    <a:pt x="83" y="258"/>
                  </a:lnTo>
                  <a:lnTo>
                    <a:pt x="67" y="300"/>
                  </a:lnTo>
                  <a:lnTo>
                    <a:pt x="75" y="322"/>
                  </a:lnTo>
                  <a:lnTo>
                    <a:pt x="95" y="320"/>
                  </a:lnTo>
                  <a:lnTo>
                    <a:pt x="142" y="343"/>
                  </a:lnTo>
                  <a:lnTo>
                    <a:pt x="170" y="324"/>
                  </a:lnTo>
                  <a:lnTo>
                    <a:pt x="147" y="265"/>
                  </a:lnTo>
                  <a:lnTo>
                    <a:pt x="109" y="175"/>
                  </a:lnTo>
                  <a:lnTo>
                    <a:pt x="140" y="181"/>
                  </a:lnTo>
                  <a:lnTo>
                    <a:pt x="98" y="122"/>
                  </a:lnTo>
                  <a:lnTo>
                    <a:pt x="64" y="76"/>
                  </a:lnTo>
                  <a:lnTo>
                    <a:pt x="51" y="13"/>
                  </a:lnTo>
                  <a:lnTo>
                    <a:pt x="0" y="0"/>
                  </a:lnTo>
                  <a:lnTo>
                    <a:pt x="12" y="3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51"/>
            <p:cNvSpPr>
              <a:spLocks noChangeAspect="1"/>
            </p:cNvSpPr>
            <p:nvPr/>
          </p:nvSpPr>
          <p:spPr bwMode="auto">
            <a:xfrm>
              <a:off x="2522665" y="3374872"/>
              <a:ext cx="757803" cy="795180"/>
            </a:xfrm>
            <a:custGeom>
              <a:avLst/>
              <a:gdLst/>
              <a:ahLst/>
              <a:cxnLst>
                <a:cxn ang="0">
                  <a:pos x="1288" y="332"/>
                </a:cxn>
                <a:cxn ang="0">
                  <a:pos x="1194" y="407"/>
                </a:cxn>
                <a:cxn ang="0">
                  <a:pos x="1133" y="514"/>
                </a:cxn>
                <a:cxn ang="0">
                  <a:pos x="1133" y="605"/>
                </a:cxn>
                <a:cxn ang="0">
                  <a:pos x="1087" y="506"/>
                </a:cxn>
                <a:cxn ang="0">
                  <a:pos x="1023" y="419"/>
                </a:cxn>
                <a:cxn ang="0">
                  <a:pos x="920" y="372"/>
                </a:cxn>
                <a:cxn ang="0">
                  <a:pos x="920" y="478"/>
                </a:cxn>
                <a:cxn ang="0">
                  <a:pos x="892" y="604"/>
                </a:cxn>
                <a:cxn ang="0">
                  <a:pos x="861" y="683"/>
                </a:cxn>
                <a:cxn ang="0">
                  <a:pos x="809" y="747"/>
                </a:cxn>
                <a:cxn ang="0">
                  <a:pos x="723" y="810"/>
                </a:cxn>
                <a:cxn ang="0">
                  <a:pos x="651" y="889"/>
                </a:cxn>
                <a:cxn ang="0">
                  <a:pos x="541" y="964"/>
                </a:cxn>
                <a:cxn ang="0">
                  <a:pos x="537" y="1134"/>
                </a:cxn>
                <a:cxn ang="0">
                  <a:pos x="526" y="1264"/>
                </a:cxn>
                <a:cxn ang="0">
                  <a:pos x="443" y="1344"/>
                </a:cxn>
                <a:cxn ang="0">
                  <a:pos x="406" y="1264"/>
                </a:cxn>
                <a:cxn ang="0">
                  <a:pos x="300" y="1000"/>
                </a:cxn>
                <a:cxn ang="0">
                  <a:pos x="221" y="806"/>
                </a:cxn>
                <a:cxn ang="0">
                  <a:pos x="209" y="628"/>
                </a:cxn>
                <a:cxn ang="0">
                  <a:pos x="185" y="624"/>
                </a:cxn>
                <a:cxn ang="0">
                  <a:pos x="86" y="652"/>
                </a:cxn>
                <a:cxn ang="0">
                  <a:pos x="62" y="549"/>
                </a:cxn>
                <a:cxn ang="0">
                  <a:pos x="0" y="514"/>
                </a:cxn>
                <a:cxn ang="0">
                  <a:pos x="118" y="486"/>
                </a:cxn>
                <a:cxn ang="0">
                  <a:pos x="75" y="383"/>
                </a:cxn>
                <a:cxn ang="0">
                  <a:pos x="51" y="296"/>
                </a:cxn>
                <a:cxn ang="0">
                  <a:pos x="158" y="296"/>
                </a:cxn>
                <a:cxn ang="0">
                  <a:pos x="174" y="229"/>
                </a:cxn>
                <a:cxn ang="0">
                  <a:pos x="241" y="142"/>
                </a:cxn>
                <a:cxn ang="0">
                  <a:pos x="268" y="39"/>
                </a:cxn>
                <a:cxn ang="0">
                  <a:pos x="384" y="4"/>
                </a:cxn>
                <a:cxn ang="0">
                  <a:pos x="418" y="114"/>
                </a:cxn>
                <a:cxn ang="0">
                  <a:pos x="526" y="166"/>
                </a:cxn>
                <a:cxn ang="0">
                  <a:pos x="568" y="289"/>
                </a:cxn>
                <a:cxn ang="0">
                  <a:pos x="695" y="332"/>
                </a:cxn>
                <a:cxn ang="0">
                  <a:pos x="791" y="368"/>
                </a:cxn>
                <a:cxn ang="0">
                  <a:pos x="885" y="363"/>
                </a:cxn>
                <a:cxn ang="0">
                  <a:pos x="932" y="272"/>
                </a:cxn>
                <a:cxn ang="0">
                  <a:pos x="1058" y="295"/>
                </a:cxn>
                <a:cxn ang="0">
                  <a:pos x="1137" y="230"/>
                </a:cxn>
                <a:cxn ang="0">
                  <a:pos x="1261" y="257"/>
                </a:cxn>
              </a:cxnLst>
              <a:rect l="0" t="0" r="r" b="b"/>
              <a:pathLst>
                <a:path w="1292" h="1344">
                  <a:moveTo>
                    <a:pt x="1292" y="305"/>
                  </a:moveTo>
                  <a:lnTo>
                    <a:pt x="1288" y="332"/>
                  </a:lnTo>
                  <a:lnTo>
                    <a:pt x="1229" y="359"/>
                  </a:lnTo>
                  <a:lnTo>
                    <a:pt x="1194" y="407"/>
                  </a:lnTo>
                  <a:lnTo>
                    <a:pt x="1174" y="471"/>
                  </a:lnTo>
                  <a:lnTo>
                    <a:pt x="1133" y="514"/>
                  </a:lnTo>
                  <a:lnTo>
                    <a:pt x="1133" y="605"/>
                  </a:lnTo>
                  <a:lnTo>
                    <a:pt x="1133" y="605"/>
                  </a:lnTo>
                  <a:lnTo>
                    <a:pt x="1106" y="581"/>
                  </a:lnTo>
                  <a:lnTo>
                    <a:pt x="1087" y="506"/>
                  </a:lnTo>
                  <a:lnTo>
                    <a:pt x="1078" y="451"/>
                  </a:lnTo>
                  <a:lnTo>
                    <a:pt x="1023" y="419"/>
                  </a:lnTo>
                  <a:lnTo>
                    <a:pt x="976" y="411"/>
                  </a:lnTo>
                  <a:lnTo>
                    <a:pt x="920" y="372"/>
                  </a:lnTo>
                  <a:lnTo>
                    <a:pt x="889" y="470"/>
                  </a:lnTo>
                  <a:lnTo>
                    <a:pt x="920" y="478"/>
                  </a:lnTo>
                  <a:lnTo>
                    <a:pt x="925" y="600"/>
                  </a:lnTo>
                  <a:lnTo>
                    <a:pt x="892" y="604"/>
                  </a:lnTo>
                  <a:lnTo>
                    <a:pt x="861" y="624"/>
                  </a:lnTo>
                  <a:lnTo>
                    <a:pt x="861" y="683"/>
                  </a:lnTo>
                  <a:lnTo>
                    <a:pt x="846" y="696"/>
                  </a:lnTo>
                  <a:lnTo>
                    <a:pt x="809" y="747"/>
                  </a:lnTo>
                  <a:lnTo>
                    <a:pt x="754" y="771"/>
                  </a:lnTo>
                  <a:lnTo>
                    <a:pt x="723" y="810"/>
                  </a:lnTo>
                  <a:lnTo>
                    <a:pt x="675" y="830"/>
                  </a:lnTo>
                  <a:lnTo>
                    <a:pt x="651" y="889"/>
                  </a:lnTo>
                  <a:lnTo>
                    <a:pt x="605" y="924"/>
                  </a:lnTo>
                  <a:lnTo>
                    <a:pt x="541" y="964"/>
                  </a:lnTo>
                  <a:lnTo>
                    <a:pt x="557" y="1126"/>
                  </a:lnTo>
                  <a:lnTo>
                    <a:pt x="537" y="1134"/>
                  </a:lnTo>
                  <a:lnTo>
                    <a:pt x="557" y="1209"/>
                  </a:lnTo>
                  <a:lnTo>
                    <a:pt x="526" y="1264"/>
                  </a:lnTo>
                  <a:lnTo>
                    <a:pt x="494" y="1316"/>
                  </a:lnTo>
                  <a:lnTo>
                    <a:pt x="443" y="1344"/>
                  </a:lnTo>
                  <a:lnTo>
                    <a:pt x="415" y="1323"/>
                  </a:lnTo>
                  <a:lnTo>
                    <a:pt x="406" y="1264"/>
                  </a:lnTo>
                  <a:lnTo>
                    <a:pt x="351" y="1138"/>
                  </a:lnTo>
                  <a:lnTo>
                    <a:pt x="300" y="1000"/>
                  </a:lnTo>
                  <a:lnTo>
                    <a:pt x="244" y="917"/>
                  </a:lnTo>
                  <a:lnTo>
                    <a:pt x="221" y="806"/>
                  </a:lnTo>
                  <a:lnTo>
                    <a:pt x="221" y="707"/>
                  </a:lnTo>
                  <a:lnTo>
                    <a:pt x="209" y="628"/>
                  </a:lnTo>
                  <a:lnTo>
                    <a:pt x="185" y="581"/>
                  </a:lnTo>
                  <a:lnTo>
                    <a:pt x="185" y="624"/>
                  </a:lnTo>
                  <a:lnTo>
                    <a:pt x="154" y="655"/>
                  </a:lnTo>
                  <a:lnTo>
                    <a:pt x="86" y="652"/>
                  </a:lnTo>
                  <a:lnTo>
                    <a:pt x="35" y="585"/>
                  </a:lnTo>
                  <a:lnTo>
                    <a:pt x="62" y="549"/>
                  </a:lnTo>
                  <a:lnTo>
                    <a:pt x="24" y="554"/>
                  </a:lnTo>
                  <a:lnTo>
                    <a:pt x="0" y="514"/>
                  </a:lnTo>
                  <a:lnTo>
                    <a:pt x="27" y="486"/>
                  </a:lnTo>
                  <a:lnTo>
                    <a:pt x="118" y="486"/>
                  </a:lnTo>
                  <a:lnTo>
                    <a:pt x="123" y="447"/>
                  </a:lnTo>
                  <a:lnTo>
                    <a:pt x="75" y="383"/>
                  </a:lnTo>
                  <a:lnTo>
                    <a:pt x="35" y="344"/>
                  </a:lnTo>
                  <a:lnTo>
                    <a:pt x="51" y="296"/>
                  </a:lnTo>
                  <a:lnTo>
                    <a:pt x="79" y="269"/>
                  </a:lnTo>
                  <a:lnTo>
                    <a:pt x="158" y="296"/>
                  </a:lnTo>
                  <a:lnTo>
                    <a:pt x="169" y="265"/>
                  </a:lnTo>
                  <a:lnTo>
                    <a:pt x="174" y="229"/>
                  </a:lnTo>
                  <a:lnTo>
                    <a:pt x="224" y="186"/>
                  </a:lnTo>
                  <a:lnTo>
                    <a:pt x="241" y="142"/>
                  </a:lnTo>
                  <a:lnTo>
                    <a:pt x="272" y="111"/>
                  </a:lnTo>
                  <a:lnTo>
                    <a:pt x="268" y="39"/>
                  </a:lnTo>
                  <a:lnTo>
                    <a:pt x="331" y="0"/>
                  </a:lnTo>
                  <a:lnTo>
                    <a:pt x="384" y="4"/>
                  </a:lnTo>
                  <a:lnTo>
                    <a:pt x="418" y="31"/>
                  </a:lnTo>
                  <a:lnTo>
                    <a:pt x="418" y="114"/>
                  </a:lnTo>
                  <a:lnTo>
                    <a:pt x="486" y="127"/>
                  </a:lnTo>
                  <a:lnTo>
                    <a:pt x="526" y="166"/>
                  </a:lnTo>
                  <a:lnTo>
                    <a:pt x="533" y="245"/>
                  </a:lnTo>
                  <a:lnTo>
                    <a:pt x="568" y="289"/>
                  </a:lnTo>
                  <a:lnTo>
                    <a:pt x="624" y="304"/>
                  </a:lnTo>
                  <a:lnTo>
                    <a:pt x="695" y="332"/>
                  </a:lnTo>
                  <a:lnTo>
                    <a:pt x="750" y="344"/>
                  </a:lnTo>
                  <a:lnTo>
                    <a:pt x="791" y="368"/>
                  </a:lnTo>
                  <a:lnTo>
                    <a:pt x="841" y="363"/>
                  </a:lnTo>
                  <a:lnTo>
                    <a:pt x="885" y="363"/>
                  </a:lnTo>
                  <a:lnTo>
                    <a:pt x="909" y="316"/>
                  </a:lnTo>
                  <a:lnTo>
                    <a:pt x="932" y="272"/>
                  </a:lnTo>
                  <a:lnTo>
                    <a:pt x="983" y="296"/>
                  </a:lnTo>
                  <a:lnTo>
                    <a:pt x="1058" y="295"/>
                  </a:lnTo>
                  <a:lnTo>
                    <a:pt x="1082" y="260"/>
                  </a:lnTo>
                  <a:lnTo>
                    <a:pt x="1137" y="230"/>
                  </a:lnTo>
                  <a:lnTo>
                    <a:pt x="1209" y="230"/>
                  </a:lnTo>
                  <a:lnTo>
                    <a:pt x="1261" y="257"/>
                  </a:lnTo>
                  <a:lnTo>
                    <a:pt x="1292" y="30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52"/>
            <p:cNvSpPr>
              <a:spLocks noChangeAspect="1"/>
            </p:cNvSpPr>
            <p:nvPr/>
          </p:nvSpPr>
          <p:spPr bwMode="auto">
            <a:xfrm>
              <a:off x="2522665" y="3374872"/>
              <a:ext cx="757803" cy="795180"/>
            </a:xfrm>
            <a:custGeom>
              <a:avLst/>
              <a:gdLst/>
              <a:ahLst/>
              <a:cxnLst>
                <a:cxn ang="0">
                  <a:pos x="1288" y="332"/>
                </a:cxn>
                <a:cxn ang="0">
                  <a:pos x="1194" y="407"/>
                </a:cxn>
                <a:cxn ang="0">
                  <a:pos x="1133" y="514"/>
                </a:cxn>
                <a:cxn ang="0">
                  <a:pos x="1133" y="605"/>
                </a:cxn>
                <a:cxn ang="0">
                  <a:pos x="1087" y="506"/>
                </a:cxn>
                <a:cxn ang="0">
                  <a:pos x="1023" y="419"/>
                </a:cxn>
                <a:cxn ang="0">
                  <a:pos x="920" y="372"/>
                </a:cxn>
                <a:cxn ang="0">
                  <a:pos x="920" y="478"/>
                </a:cxn>
                <a:cxn ang="0">
                  <a:pos x="892" y="604"/>
                </a:cxn>
                <a:cxn ang="0">
                  <a:pos x="861" y="683"/>
                </a:cxn>
                <a:cxn ang="0">
                  <a:pos x="809" y="747"/>
                </a:cxn>
                <a:cxn ang="0">
                  <a:pos x="723" y="810"/>
                </a:cxn>
                <a:cxn ang="0">
                  <a:pos x="651" y="889"/>
                </a:cxn>
                <a:cxn ang="0">
                  <a:pos x="541" y="964"/>
                </a:cxn>
                <a:cxn ang="0">
                  <a:pos x="537" y="1134"/>
                </a:cxn>
                <a:cxn ang="0">
                  <a:pos x="526" y="1264"/>
                </a:cxn>
                <a:cxn ang="0">
                  <a:pos x="443" y="1344"/>
                </a:cxn>
                <a:cxn ang="0">
                  <a:pos x="406" y="1264"/>
                </a:cxn>
                <a:cxn ang="0">
                  <a:pos x="300" y="1000"/>
                </a:cxn>
                <a:cxn ang="0">
                  <a:pos x="221" y="806"/>
                </a:cxn>
                <a:cxn ang="0">
                  <a:pos x="209" y="628"/>
                </a:cxn>
                <a:cxn ang="0">
                  <a:pos x="185" y="624"/>
                </a:cxn>
                <a:cxn ang="0">
                  <a:pos x="86" y="652"/>
                </a:cxn>
                <a:cxn ang="0">
                  <a:pos x="62" y="549"/>
                </a:cxn>
                <a:cxn ang="0">
                  <a:pos x="0" y="514"/>
                </a:cxn>
                <a:cxn ang="0">
                  <a:pos x="118" y="486"/>
                </a:cxn>
                <a:cxn ang="0">
                  <a:pos x="75" y="383"/>
                </a:cxn>
                <a:cxn ang="0">
                  <a:pos x="51" y="296"/>
                </a:cxn>
                <a:cxn ang="0">
                  <a:pos x="158" y="296"/>
                </a:cxn>
                <a:cxn ang="0">
                  <a:pos x="174" y="229"/>
                </a:cxn>
                <a:cxn ang="0">
                  <a:pos x="241" y="142"/>
                </a:cxn>
                <a:cxn ang="0">
                  <a:pos x="268" y="39"/>
                </a:cxn>
                <a:cxn ang="0">
                  <a:pos x="384" y="4"/>
                </a:cxn>
                <a:cxn ang="0">
                  <a:pos x="418" y="114"/>
                </a:cxn>
                <a:cxn ang="0">
                  <a:pos x="526" y="166"/>
                </a:cxn>
                <a:cxn ang="0">
                  <a:pos x="568" y="289"/>
                </a:cxn>
                <a:cxn ang="0">
                  <a:pos x="695" y="332"/>
                </a:cxn>
                <a:cxn ang="0">
                  <a:pos x="791" y="368"/>
                </a:cxn>
                <a:cxn ang="0">
                  <a:pos x="885" y="363"/>
                </a:cxn>
                <a:cxn ang="0">
                  <a:pos x="932" y="272"/>
                </a:cxn>
                <a:cxn ang="0">
                  <a:pos x="1058" y="295"/>
                </a:cxn>
                <a:cxn ang="0">
                  <a:pos x="1137" y="230"/>
                </a:cxn>
                <a:cxn ang="0">
                  <a:pos x="1261" y="257"/>
                </a:cxn>
              </a:cxnLst>
              <a:rect l="0" t="0" r="r" b="b"/>
              <a:pathLst>
                <a:path w="1292" h="1344">
                  <a:moveTo>
                    <a:pt x="1292" y="305"/>
                  </a:moveTo>
                  <a:lnTo>
                    <a:pt x="1288" y="332"/>
                  </a:lnTo>
                  <a:lnTo>
                    <a:pt x="1229" y="359"/>
                  </a:lnTo>
                  <a:lnTo>
                    <a:pt x="1194" y="407"/>
                  </a:lnTo>
                  <a:lnTo>
                    <a:pt x="1174" y="471"/>
                  </a:lnTo>
                  <a:lnTo>
                    <a:pt x="1133" y="514"/>
                  </a:lnTo>
                  <a:lnTo>
                    <a:pt x="1133" y="605"/>
                  </a:lnTo>
                  <a:lnTo>
                    <a:pt x="1133" y="605"/>
                  </a:lnTo>
                  <a:lnTo>
                    <a:pt x="1106" y="581"/>
                  </a:lnTo>
                  <a:lnTo>
                    <a:pt x="1087" y="506"/>
                  </a:lnTo>
                  <a:lnTo>
                    <a:pt x="1078" y="451"/>
                  </a:lnTo>
                  <a:lnTo>
                    <a:pt x="1023" y="419"/>
                  </a:lnTo>
                  <a:lnTo>
                    <a:pt x="976" y="411"/>
                  </a:lnTo>
                  <a:lnTo>
                    <a:pt x="920" y="372"/>
                  </a:lnTo>
                  <a:lnTo>
                    <a:pt x="889" y="470"/>
                  </a:lnTo>
                  <a:lnTo>
                    <a:pt x="920" y="478"/>
                  </a:lnTo>
                  <a:lnTo>
                    <a:pt x="925" y="600"/>
                  </a:lnTo>
                  <a:lnTo>
                    <a:pt x="892" y="604"/>
                  </a:lnTo>
                  <a:lnTo>
                    <a:pt x="861" y="624"/>
                  </a:lnTo>
                  <a:lnTo>
                    <a:pt x="861" y="683"/>
                  </a:lnTo>
                  <a:lnTo>
                    <a:pt x="846" y="696"/>
                  </a:lnTo>
                  <a:lnTo>
                    <a:pt x="809" y="747"/>
                  </a:lnTo>
                  <a:lnTo>
                    <a:pt x="754" y="771"/>
                  </a:lnTo>
                  <a:lnTo>
                    <a:pt x="723" y="810"/>
                  </a:lnTo>
                  <a:lnTo>
                    <a:pt x="675" y="830"/>
                  </a:lnTo>
                  <a:lnTo>
                    <a:pt x="651" y="889"/>
                  </a:lnTo>
                  <a:lnTo>
                    <a:pt x="605" y="924"/>
                  </a:lnTo>
                  <a:lnTo>
                    <a:pt x="541" y="964"/>
                  </a:lnTo>
                  <a:lnTo>
                    <a:pt x="557" y="1126"/>
                  </a:lnTo>
                  <a:lnTo>
                    <a:pt x="537" y="1134"/>
                  </a:lnTo>
                  <a:lnTo>
                    <a:pt x="557" y="1209"/>
                  </a:lnTo>
                  <a:lnTo>
                    <a:pt x="526" y="1264"/>
                  </a:lnTo>
                  <a:lnTo>
                    <a:pt x="494" y="1316"/>
                  </a:lnTo>
                  <a:lnTo>
                    <a:pt x="443" y="1344"/>
                  </a:lnTo>
                  <a:lnTo>
                    <a:pt x="415" y="1323"/>
                  </a:lnTo>
                  <a:lnTo>
                    <a:pt x="406" y="1264"/>
                  </a:lnTo>
                  <a:lnTo>
                    <a:pt x="351" y="1138"/>
                  </a:lnTo>
                  <a:lnTo>
                    <a:pt x="300" y="1000"/>
                  </a:lnTo>
                  <a:lnTo>
                    <a:pt x="244" y="917"/>
                  </a:lnTo>
                  <a:lnTo>
                    <a:pt x="221" y="806"/>
                  </a:lnTo>
                  <a:lnTo>
                    <a:pt x="221" y="707"/>
                  </a:lnTo>
                  <a:lnTo>
                    <a:pt x="209" y="628"/>
                  </a:lnTo>
                  <a:lnTo>
                    <a:pt x="185" y="581"/>
                  </a:lnTo>
                  <a:lnTo>
                    <a:pt x="185" y="624"/>
                  </a:lnTo>
                  <a:lnTo>
                    <a:pt x="154" y="655"/>
                  </a:lnTo>
                  <a:lnTo>
                    <a:pt x="86" y="652"/>
                  </a:lnTo>
                  <a:lnTo>
                    <a:pt x="35" y="585"/>
                  </a:lnTo>
                  <a:lnTo>
                    <a:pt x="62" y="549"/>
                  </a:lnTo>
                  <a:lnTo>
                    <a:pt x="24" y="554"/>
                  </a:lnTo>
                  <a:lnTo>
                    <a:pt x="0" y="514"/>
                  </a:lnTo>
                  <a:lnTo>
                    <a:pt x="27" y="486"/>
                  </a:lnTo>
                  <a:lnTo>
                    <a:pt x="118" y="486"/>
                  </a:lnTo>
                  <a:lnTo>
                    <a:pt x="123" y="447"/>
                  </a:lnTo>
                  <a:lnTo>
                    <a:pt x="75" y="383"/>
                  </a:lnTo>
                  <a:lnTo>
                    <a:pt x="35" y="344"/>
                  </a:lnTo>
                  <a:lnTo>
                    <a:pt x="51" y="296"/>
                  </a:lnTo>
                  <a:lnTo>
                    <a:pt x="79" y="269"/>
                  </a:lnTo>
                  <a:lnTo>
                    <a:pt x="158" y="296"/>
                  </a:lnTo>
                  <a:lnTo>
                    <a:pt x="169" y="265"/>
                  </a:lnTo>
                  <a:lnTo>
                    <a:pt x="174" y="229"/>
                  </a:lnTo>
                  <a:lnTo>
                    <a:pt x="224" y="186"/>
                  </a:lnTo>
                  <a:lnTo>
                    <a:pt x="241" y="142"/>
                  </a:lnTo>
                  <a:lnTo>
                    <a:pt x="272" y="111"/>
                  </a:lnTo>
                  <a:lnTo>
                    <a:pt x="268" y="39"/>
                  </a:lnTo>
                  <a:lnTo>
                    <a:pt x="331" y="0"/>
                  </a:lnTo>
                  <a:lnTo>
                    <a:pt x="384" y="4"/>
                  </a:lnTo>
                  <a:lnTo>
                    <a:pt x="418" y="31"/>
                  </a:lnTo>
                  <a:lnTo>
                    <a:pt x="418" y="114"/>
                  </a:lnTo>
                  <a:lnTo>
                    <a:pt x="486" y="127"/>
                  </a:lnTo>
                  <a:lnTo>
                    <a:pt x="526" y="166"/>
                  </a:lnTo>
                  <a:lnTo>
                    <a:pt x="533" y="245"/>
                  </a:lnTo>
                  <a:lnTo>
                    <a:pt x="568" y="289"/>
                  </a:lnTo>
                  <a:lnTo>
                    <a:pt x="624" y="304"/>
                  </a:lnTo>
                  <a:lnTo>
                    <a:pt x="695" y="332"/>
                  </a:lnTo>
                  <a:lnTo>
                    <a:pt x="750" y="344"/>
                  </a:lnTo>
                  <a:lnTo>
                    <a:pt x="791" y="368"/>
                  </a:lnTo>
                  <a:lnTo>
                    <a:pt x="841" y="363"/>
                  </a:lnTo>
                  <a:lnTo>
                    <a:pt x="885" y="363"/>
                  </a:lnTo>
                  <a:lnTo>
                    <a:pt x="909" y="316"/>
                  </a:lnTo>
                  <a:lnTo>
                    <a:pt x="932" y="272"/>
                  </a:lnTo>
                  <a:lnTo>
                    <a:pt x="983" y="296"/>
                  </a:lnTo>
                  <a:lnTo>
                    <a:pt x="1058" y="295"/>
                  </a:lnTo>
                  <a:lnTo>
                    <a:pt x="1082" y="260"/>
                  </a:lnTo>
                  <a:lnTo>
                    <a:pt x="1137" y="230"/>
                  </a:lnTo>
                  <a:lnTo>
                    <a:pt x="1209" y="230"/>
                  </a:lnTo>
                  <a:lnTo>
                    <a:pt x="1261" y="257"/>
                  </a:lnTo>
                  <a:lnTo>
                    <a:pt x="1292" y="305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 53"/>
            <p:cNvSpPr>
              <a:spLocks noChangeAspect="1"/>
            </p:cNvSpPr>
            <p:nvPr/>
          </p:nvSpPr>
          <p:spPr bwMode="auto">
            <a:xfrm>
              <a:off x="3043105" y="3594967"/>
              <a:ext cx="144176" cy="161521"/>
            </a:xfrm>
            <a:custGeom>
              <a:avLst/>
              <a:gdLst/>
              <a:ahLst/>
              <a:cxnLst>
                <a:cxn ang="0">
                  <a:pos x="244" y="233"/>
                </a:cxn>
                <a:cxn ang="0">
                  <a:pos x="226" y="272"/>
                </a:cxn>
                <a:cxn ang="0">
                  <a:pos x="198" y="262"/>
                </a:cxn>
                <a:cxn ang="0">
                  <a:pos x="164" y="213"/>
                </a:cxn>
                <a:cxn ang="0">
                  <a:pos x="170" y="169"/>
                </a:cxn>
                <a:cxn ang="0">
                  <a:pos x="143" y="130"/>
                </a:cxn>
                <a:cxn ang="0">
                  <a:pos x="130" y="165"/>
                </a:cxn>
                <a:cxn ang="0">
                  <a:pos x="91" y="186"/>
                </a:cxn>
                <a:cxn ang="0">
                  <a:pos x="87" y="237"/>
                </a:cxn>
                <a:cxn ang="0">
                  <a:pos x="36" y="228"/>
                </a:cxn>
                <a:cxn ang="0">
                  <a:pos x="31" y="106"/>
                </a:cxn>
                <a:cxn ang="0">
                  <a:pos x="0" y="98"/>
                </a:cxn>
                <a:cxn ang="0">
                  <a:pos x="31" y="0"/>
                </a:cxn>
                <a:cxn ang="0">
                  <a:pos x="87" y="39"/>
                </a:cxn>
                <a:cxn ang="0">
                  <a:pos x="134" y="47"/>
                </a:cxn>
                <a:cxn ang="0">
                  <a:pos x="189" y="79"/>
                </a:cxn>
                <a:cxn ang="0">
                  <a:pos x="198" y="134"/>
                </a:cxn>
                <a:cxn ang="0">
                  <a:pos x="217" y="209"/>
                </a:cxn>
                <a:cxn ang="0">
                  <a:pos x="244" y="233"/>
                </a:cxn>
              </a:cxnLst>
              <a:rect l="0" t="0" r="r" b="b"/>
              <a:pathLst>
                <a:path w="244" h="272">
                  <a:moveTo>
                    <a:pt x="244" y="233"/>
                  </a:moveTo>
                  <a:lnTo>
                    <a:pt x="226" y="272"/>
                  </a:lnTo>
                  <a:lnTo>
                    <a:pt x="198" y="262"/>
                  </a:lnTo>
                  <a:lnTo>
                    <a:pt x="164" y="213"/>
                  </a:lnTo>
                  <a:lnTo>
                    <a:pt x="170" y="169"/>
                  </a:lnTo>
                  <a:lnTo>
                    <a:pt x="143" y="130"/>
                  </a:lnTo>
                  <a:lnTo>
                    <a:pt x="130" y="165"/>
                  </a:lnTo>
                  <a:lnTo>
                    <a:pt x="91" y="186"/>
                  </a:lnTo>
                  <a:lnTo>
                    <a:pt x="87" y="237"/>
                  </a:lnTo>
                  <a:lnTo>
                    <a:pt x="36" y="228"/>
                  </a:lnTo>
                  <a:lnTo>
                    <a:pt x="31" y="106"/>
                  </a:lnTo>
                  <a:lnTo>
                    <a:pt x="0" y="98"/>
                  </a:lnTo>
                  <a:lnTo>
                    <a:pt x="31" y="0"/>
                  </a:lnTo>
                  <a:lnTo>
                    <a:pt x="87" y="39"/>
                  </a:lnTo>
                  <a:lnTo>
                    <a:pt x="134" y="47"/>
                  </a:lnTo>
                  <a:lnTo>
                    <a:pt x="189" y="79"/>
                  </a:lnTo>
                  <a:lnTo>
                    <a:pt x="198" y="134"/>
                  </a:lnTo>
                  <a:lnTo>
                    <a:pt x="217" y="209"/>
                  </a:lnTo>
                  <a:lnTo>
                    <a:pt x="244" y="23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 54"/>
            <p:cNvSpPr>
              <a:spLocks noChangeAspect="1"/>
            </p:cNvSpPr>
            <p:nvPr/>
          </p:nvSpPr>
          <p:spPr bwMode="auto">
            <a:xfrm>
              <a:off x="3043105" y="3594967"/>
              <a:ext cx="144176" cy="161521"/>
            </a:xfrm>
            <a:custGeom>
              <a:avLst/>
              <a:gdLst/>
              <a:ahLst/>
              <a:cxnLst>
                <a:cxn ang="0">
                  <a:pos x="244" y="233"/>
                </a:cxn>
                <a:cxn ang="0">
                  <a:pos x="226" y="272"/>
                </a:cxn>
                <a:cxn ang="0">
                  <a:pos x="198" y="262"/>
                </a:cxn>
                <a:cxn ang="0">
                  <a:pos x="164" y="213"/>
                </a:cxn>
                <a:cxn ang="0">
                  <a:pos x="170" y="169"/>
                </a:cxn>
                <a:cxn ang="0">
                  <a:pos x="143" y="130"/>
                </a:cxn>
                <a:cxn ang="0">
                  <a:pos x="130" y="165"/>
                </a:cxn>
                <a:cxn ang="0">
                  <a:pos x="91" y="186"/>
                </a:cxn>
                <a:cxn ang="0">
                  <a:pos x="87" y="237"/>
                </a:cxn>
                <a:cxn ang="0">
                  <a:pos x="36" y="228"/>
                </a:cxn>
                <a:cxn ang="0">
                  <a:pos x="31" y="106"/>
                </a:cxn>
                <a:cxn ang="0">
                  <a:pos x="0" y="98"/>
                </a:cxn>
                <a:cxn ang="0">
                  <a:pos x="31" y="0"/>
                </a:cxn>
                <a:cxn ang="0">
                  <a:pos x="87" y="39"/>
                </a:cxn>
                <a:cxn ang="0">
                  <a:pos x="134" y="47"/>
                </a:cxn>
                <a:cxn ang="0">
                  <a:pos x="189" y="79"/>
                </a:cxn>
                <a:cxn ang="0">
                  <a:pos x="198" y="134"/>
                </a:cxn>
                <a:cxn ang="0">
                  <a:pos x="217" y="209"/>
                </a:cxn>
                <a:cxn ang="0">
                  <a:pos x="244" y="233"/>
                </a:cxn>
              </a:cxnLst>
              <a:rect l="0" t="0" r="r" b="b"/>
              <a:pathLst>
                <a:path w="244" h="272">
                  <a:moveTo>
                    <a:pt x="244" y="233"/>
                  </a:moveTo>
                  <a:lnTo>
                    <a:pt x="226" y="272"/>
                  </a:lnTo>
                  <a:lnTo>
                    <a:pt x="198" y="262"/>
                  </a:lnTo>
                  <a:lnTo>
                    <a:pt x="164" y="213"/>
                  </a:lnTo>
                  <a:lnTo>
                    <a:pt x="170" y="169"/>
                  </a:lnTo>
                  <a:lnTo>
                    <a:pt x="143" y="130"/>
                  </a:lnTo>
                  <a:lnTo>
                    <a:pt x="130" y="165"/>
                  </a:lnTo>
                  <a:lnTo>
                    <a:pt x="91" y="186"/>
                  </a:lnTo>
                  <a:lnTo>
                    <a:pt x="87" y="237"/>
                  </a:lnTo>
                  <a:lnTo>
                    <a:pt x="36" y="228"/>
                  </a:lnTo>
                  <a:lnTo>
                    <a:pt x="31" y="106"/>
                  </a:lnTo>
                  <a:lnTo>
                    <a:pt x="0" y="98"/>
                  </a:lnTo>
                  <a:lnTo>
                    <a:pt x="31" y="0"/>
                  </a:lnTo>
                  <a:lnTo>
                    <a:pt x="87" y="39"/>
                  </a:lnTo>
                  <a:lnTo>
                    <a:pt x="134" y="47"/>
                  </a:lnTo>
                  <a:lnTo>
                    <a:pt x="189" y="79"/>
                  </a:lnTo>
                  <a:lnTo>
                    <a:pt x="198" y="134"/>
                  </a:lnTo>
                  <a:lnTo>
                    <a:pt x="217" y="209"/>
                  </a:lnTo>
                  <a:lnTo>
                    <a:pt x="244" y="233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 55"/>
            <p:cNvSpPr>
              <a:spLocks noChangeAspect="1"/>
            </p:cNvSpPr>
            <p:nvPr/>
          </p:nvSpPr>
          <p:spPr bwMode="auto">
            <a:xfrm>
              <a:off x="428596" y="3286124"/>
              <a:ext cx="274286" cy="260919"/>
            </a:xfrm>
            <a:custGeom>
              <a:avLst/>
              <a:gdLst/>
              <a:ahLst/>
              <a:cxnLst>
                <a:cxn ang="0">
                  <a:pos x="375" y="61"/>
                </a:cxn>
                <a:cxn ang="0">
                  <a:pos x="428" y="51"/>
                </a:cxn>
                <a:cxn ang="0">
                  <a:pos x="463" y="87"/>
                </a:cxn>
                <a:cxn ang="0">
                  <a:pos x="439" y="130"/>
                </a:cxn>
                <a:cxn ang="0">
                  <a:pos x="467" y="146"/>
                </a:cxn>
                <a:cxn ang="0">
                  <a:pos x="447" y="225"/>
                </a:cxn>
                <a:cxn ang="0">
                  <a:pos x="395" y="229"/>
                </a:cxn>
                <a:cxn ang="0">
                  <a:pos x="388" y="260"/>
                </a:cxn>
                <a:cxn ang="0">
                  <a:pos x="412" y="284"/>
                </a:cxn>
                <a:cxn ang="0">
                  <a:pos x="353" y="336"/>
                </a:cxn>
                <a:cxn ang="0">
                  <a:pos x="312" y="375"/>
                </a:cxn>
                <a:cxn ang="0">
                  <a:pos x="277" y="395"/>
                </a:cxn>
                <a:cxn ang="0">
                  <a:pos x="246" y="395"/>
                </a:cxn>
                <a:cxn ang="0">
                  <a:pos x="233" y="418"/>
                </a:cxn>
                <a:cxn ang="0">
                  <a:pos x="198" y="415"/>
                </a:cxn>
                <a:cxn ang="0">
                  <a:pos x="194" y="442"/>
                </a:cxn>
                <a:cxn ang="0">
                  <a:pos x="147" y="442"/>
                </a:cxn>
                <a:cxn ang="0">
                  <a:pos x="149" y="420"/>
                </a:cxn>
                <a:cxn ang="0">
                  <a:pos x="118" y="420"/>
                </a:cxn>
                <a:cxn ang="0">
                  <a:pos x="0" y="420"/>
                </a:cxn>
                <a:cxn ang="0">
                  <a:pos x="31" y="381"/>
                </a:cxn>
                <a:cxn ang="0">
                  <a:pos x="55" y="368"/>
                </a:cxn>
                <a:cxn ang="0">
                  <a:pos x="79" y="341"/>
                </a:cxn>
                <a:cxn ang="0">
                  <a:pos x="98" y="202"/>
                </a:cxn>
                <a:cxn ang="0">
                  <a:pos x="114" y="159"/>
                </a:cxn>
                <a:cxn ang="0">
                  <a:pos x="134" y="162"/>
                </a:cxn>
                <a:cxn ang="0">
                  <a:pos x="138" y="131"/>
                </a:cxn>
                <a:cxn ang="0">
                  <a:pos x="213" y="127"/>
                </a:cxn>
                <a:cxn ang="0">
                  <a:pos x="213" y="92"/>
                </a:cxn>
                <a:cxn ang="0">
                  <a:pos x="241" y="61"/>
                </a:cxn>
                <a:cxn ang="0">
                  <a:pos x="256" y="33"/>
                </a:cxn>
                <a:cxn ang="0">
                  <a:pos x="268" y="0"/>
                </a:cxn>
                <a:cxn ang="0">
                  <a:pos x="304" y="24"/>
                </a:cxn>
                <a:cxn ang="0">
                  <a:pos x="343" y="28"/>
                </a:cxn>
                <a:cxn ang="0">
                  <a:pos x="375" y="61"/>
                </a:cxn>
              </a:cxnLst>
              <a:rect l="0" t="0" r="r" b="b"/>
              <a:pathLst>
                <a:path w="467" h="442">
                  <a:moveTo>
                    <a:pt x="375" y="61"/>
                  </a:moveTo>
                  <a:lnTo>
                    <a:pt x="428" y="51"/>
                  </a:lnTo>
                  <a:lnTo>
                    <a:pt x="463" y="87"/>
                  </a:lnTo>
                  <a:lnTo>
                    <a:pt x="439" y="130"/>
                  </a:lnTo>
                  <a:lnTo>
                    <a:pt x="467" y="146"/>
                  </a:lnTo>
                  <a:lnTo>
                    <a:pt x="447" y="225"/>
                  </a:lnTo>
                  <a:lnTo>
                    <a:pt x="395" y="229"/>
                  </a:lnTo>
                  <a:lnTo>
                    <a:pt x="388" y="260"/>
                  </a:lnTo>
                  <a:lnTo>
                    <a:pt x="412" y="284"/>
                  </a:lnTo>
                  <a:lnTo>
                    <a:pt x="353" y="336"/>
                  </a:lnTo>
                  <a:lnTo>
                    <a:pt x="312" y="375"/>
                  </a:lnTo>
                  <a:lnTo>
                    <a:pt x="277" y="395"/>
                  </a:lnTo>
                  <a:lnTo>
                    <a:pt x="246" y="395"/>
                  </a:lnTo>
                  <a:lnTo>
                    <a:pt x="233" y="418"/>
                  </a:lnTo>
                  <a:lnTo>
                    <a:pt x="198" y="415"/>
                  </a:lnTo>
                  <a:lnTo>
                    <a:pt x="194" y="442"/>
                  </a:lnTo>
                  <a:lnTo>
                    <a:pt x="147" y="442"/>
                  </a:lnTo>
                  <a:lnTo>
                    <a:pt x="149" y="420"/>
                  </a:lnTo>
                  <a:lnTo>
                    <a:pt x="118" y="420"/>
                  </a:lnTo>
                  <a:lnTo>
                    <a:pt x="0" y="420"/>
                  </a:lnTo>
                  <a:lnTo>
                    <a:pt x="31" y="381"/>
                  </a:lnTo>
                  <a:lnTo>
                    <a:pt x="55" y="368"/>
                  </a:lnTo>
                  <a:lnTo>
                    <a:pt x="79" y="341"/>
                  </a:lnTo>
                  <a:lnTo>
                    <a:pt x="98" y="202"/>
                  </a:lnTo>
                  <a:lnTo>
                    <a:pt x="114" y="159"/>
                  </a:lnTo>
                  <a:lnTo>
                    <a:pt x="134" y="162"/>
                  </a:lnTo>
                  <a:lnTo>
                    <a:pt x="138" y="131"/>
                  </a:lnTo>
                  <a:lnTo>
                    <a:pt x="213" y="127"/>
                  </a:lnTo>
                  <a:lnTo>
                    <a:pt x="213" y="92"/>
                  </a:lnTo>
                  <a:lnTo>
                    <a:pt x="241" y="61"/>
                  </a:lnTo>
                  <a:lnTo>
                    <a:pt x="256" y="33"/>
                  </a:lnTo>
                  <a:lnTo>
                    <a:pt x="268" y="0"/>
                  </a:lnTo>
                  <a:lnTo>
                    <a:pt x="304" y="24"/>
                  </a:lnTo>
                  <a:lnTo>
                    <a:pt x="343" y="28"/>
                  </a:lnTo>
                  <a:lnTo>
                    <a:pt x="375" y="6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 56"/>
            <p:cNvSpPr>
              <a:spLocks noChangeAspect="1"/>
            </p:cNvSpPr>
            <p:nvPr/>
          </p:nvSpPr>
          <p:spPr bwMode="auto">
            <a:xfrm>
              <a:off x="428596" y="3286124"/>
              <a:ext cx="274286" cy="260919"/>
            </a:xfrm>
            <a:custGeom>
              <a:avLst/>
              <a:gdLst/>
              <a:ahLst/>
              <a:cxnLst>
                <a:cxn ang="0">
                  <a:pos x="375" y="61"/>
                </a:cxn>
                <a:cxn ang="0">
                  <a:pos x="428" y="51"/>
                </a:cxn>
                <a:cxn ang="0">
                  <a:pos x="463" y="87"/>
                </a:cxn>
                <a:cxn ang="0">
                  <a:pos x="439" y="130"/>
                </a:cxn>
                <a:cxn ang="0">
                  <a:pos x="467" y="146"/>
                </a:cxn>
                <a:cxn ang="0">
                  <a:pos x="447" y="225"/>
                </a:cxn>
                <a:cxn ang="0">
                  <a:pos x="395" y="229"/>
                </a:cxn>
                <a:cxn ang="0">
                  <a:pos x="388" y="260"/>
                </a:cxn>
                <a:cxn ang="0">
                  <a:pos x="412" y="284"/>
                </a:cxn>
                <a:cxn ang="0">
                  <a:pos x="353" y="336"/>
                </a:cxn>
                <a:cxn ang="0">
                  <a:pos x="312" y="375"/>
                </a:cxn>
                <a:cxn ang="0">
                  <a:pos x="277" y="395"/>
                </a:cxn>
                <a:cxn ang="0">
                  <a:pos x="246" y="395"/>
                </a:cxn>
                <a:cxn ang="0">
                  <a:pos x="233" y="418"/>
                </a:cxn>
                <a:cxn ang="0">
                  <a:pos x="198" y="415"/>
                </a:cxn>
                <a:cxn ang="0">
                  <a:pos x="194" y="442"/>
                </a:cxn>
                <a:cxn ang="0">
                  <a:pos x="147" y="442"/>
                </a:cxn>
                <a:cxn ang="0">
                  <a:pos x="149" y="420"/>
                </a:cxn>
                <a:cxn ang="0">
                  <a:pos x="118" y="420"/>
                </a:cxn>
                <a:cxn ang="0">
                  <a:pos x="0" y="420"/>
                </a:cxn>
                <a:cxn ang="0">
                  <a:pos x="31" y="381"/>
                </a:cxn>
                <a:cxn ang="0">
                  <a:pos x="55" y="368"/>
                </a:cxn>
                <a:cxn ang="0">
                  <a:pos x="79" y="341"/>
                </a:cxn>
                <a:cxn ang="0">
                  <a:pos x="98" y="202"/>
                </a:cxn>
                <a:cxn ang="0">
                  <a:pos x="114" y="159"/>
                </a:cxn>
                <a:cxn ang="0">
                  <a:pos x="134" y="162"/>
                </a:cxn>
                <a:cxn ang="0">
                  <a:pos x="138" y="131"/>
                </a:cxn>
                <a:cxn ang="0">
                  <a:pos x="213" y="127"/>
                </a:cxn>
                <a:cxn ang="0">
                  <a:pos x="213" y="92"/>
                </a:cxn>
                <a:cxn ang="0">
                  <a:pos x="241" y="61"/>
                </a:cxn>
                <a:cxn ang="0">
                  <a:pos x="256" y="33"/>
                </a:cxn>
                <a:cxn ang="0">
                  <a:pos x="268" y="0"/>
                </a:cxn>
                <a:cxn ang="0">
                  <a:pos x="304" y="24"/>
                </a:cxn>
                <a:cxn ang="0">
                  <a:pos x="343" y="28"/>
                </a:cxn>
                <a:cxn ang="0">
                  <a:pos x="375" y="61"/>
                </a:cxn>
              </a:cxnLst>
              <a:rect l="0" t="0" r="r" b="b"/>
              <a:pathLst>
                <a:path w="467" h="442">
                  <a:moveTo>
                    <a:pt x="375" y="61"/>
                  </a:moveTo>
                  <a:lnTo>
                    <a:pt x="428" y="51"/>
                  </a:lnTo>
                  <a:lnTo>
                    <a:pt x="463" y="87"/>
                  </a:lnTo>
                  <a:lnTo>
                    <a:pt x="439" y="130"/>
                  </a:lnTo>
                  <a:lnTo>
                    <a:pt x="467" y="146"/>
                  </a:lnTo>
                  <a:lnTo>
                    <a:pt x="447" y="225"/>
                  </a:lnTo>
                  <a:lnTo>
                    <a:pt x="395" y="229"/>
                  </a:lnTo>
                  <a:lnTo>
                    <a:pt x="388" y="260"/>
                  </a:lnTo>
                  <a:lnTo>
                    <a:pt x="412" y="284"/>
                  </a:lnTo>
                  <a:lnTo>
                    <a:pt x="353" y="336"/>
                  </a:lnTo>
                  <a:lnTo>
                    <a:pt x="312" y="375"/>
                  </a:lnTo>
                  <a:lnTo>
                    <a:pt x="277" y="395"/>
                  </a:lnTo>
                  <a:lnTo>
                    <a:pt x="246" y="395"/>
                  </a:lnTo>
                  <a:lnTo>
                    <a:pt x="233" y="418"/>
                  </a:lnTo>
                  <a:lnTo>
                    <a:pt x="198" y="415"/>
                  </a:lnTo>
                  <a:lnTo>
                    <a:pt x="194" y="442"/>
                  </a:lnTo>
                  <a:lnTo>
                    <a:pt x="147" y="442"/>
                  </a:lnTo>
                  <a:lnTo>
                    <a:pt x="149" y="420"/>
                  </a:lnTo>
                  <a:lnTo>
                    <a:pt x="118" y="420"/>
                  </a:lnTo>
                  <a:lnTo>
                    <a:pt x="0" y="420"/>
                  </a:lnTo>
                  <a:lnTo>
                    <a:pt x="31" y="381"/>
                  </a:lnTo>
                  <a:lnTo>
                    <a:pt x="55" y="368"/>
                  </a:lnTo>
                  <a:lnTo>
                    <a:pt x="79" y="341"/>
                  </a:lnTo>
                  <a:lnTo>
                    <a:pt x="98" y="202"/>
                  </a:lnTo>
                  <a:lnTo>
                    <a:pt x="114" y="159"/>
                  </a:lnTo>
                  <a:lnTo>
                    <a:pt x="134" y="162"/>
                  </a:lnTo>
                  <a:lnTo>
                    <a:pt x="138" y="131"/>
                  </a:lnTo>
                  <a:lnTo>
                    <a:pt x="213" y="127"/>
                  </a:lnTo>
                  <a:lnTo>
                    <a:pt x="213" y="92"/>
                  </a:lnTo>
                  <a:lnTo>
                    <a:pt x="241" y="61"/>
                  </a:lnTo>
                  <a:lnTo>
                    <a:pt x="256" y="33"/>
                  </a:lnTo>
                  <a:lnTo>
                    <a:pt x="268" y="0"/>
                  </a:lnTo>
                  <a:lnTo>
                    <a:pt x="304" y="24"/>
                  </a:lnTo>
                  <a:lnTo>
                    <a:pt x="343" y="28"/>
                  </a:lnTo>
                  <a:lnTo>
                    <a:pt x="375" y="61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eform 57"/>
            <p:cNvSpPr>
              <a:spLocks noChangeAspect="1"/>
            </p:cNvSpPr>
            <p:nvPr/>
          </p:nvSpPr>
          <p:spPr bwMode="auto">
            <a:xfrm>
              <a:off x="514750" y="3241751"/>
              <a:ext cx="525715" cy="598160"/>
            </a:xfrm>
            <a:custGeom>
              <a:avLst/>
              <a:gdLst/>
              <a:ahLst/>
              <a:cxnLst>
                <a:cxn ang="0">
                  <a:pos x="281" y="127"/>
                </a:cxn>
                <a:cxn ang="0">
                  <a:pos x="316" y="163"/>
                </a:cxn>
                <a:cxn ang="0">
                  <a:pos x="292" y="206"/>
                </a:cxn>
                <a:cxn ang="0">
                  <a:pos x="320" y="222"/>
                </a:cxn>
                <a:cxn ang="0">
                  <a:pos x="300" y="301"/>
                </a:cxn>
                <a:cxn ang="0">
                  <a:pos x="248" y="305"/>
                </a:cxn>
                <a:cxn ang="0">
                  <a:pos x="241" y="336"/>
                </a:cxn>
                <a:cxn ang="0">
                  <a:pos x="265" y="360"/>
                </a:cxn>
                <a:cxn ang="0">
                  <a:pos x="206" y="412"/>
                </a:cxn>
                <a:cxn ang="0">
                  <a:pos x="165" y="451"/>
                </a:cxn>
                <a:cxn ang="0">
                  <a:pos x="130" y="471"/>
                </a:cxn>
                <a:cxn ang="0">
                  <a:pos x="99" y="471"/>
                </a:cxn>
                <a:cxn ang="0">
                  <a:pos x="86" y="494"/>
                </a:cxn>
                <a:cxn ang="0">
                  <a:pos x="51" y="491"/>
                </a:cxn>
                <a:cxn ang="0">
                  <a:pos x="47" y="518"/>
                </a:cxn>
                <a:cxn ang="0">
                  <a:pos x="0" y="518"/>
                </a:cxn>
                <a:cxn ang="0">
                  <a:pos x="94" y="633"/>
                </a:cxn>
                <a:cxn ang="0">
                  <a:pos x="142" y="664"/>
                </a:cxn>
                <a:cxn ang="0">
                  <a:pos x="458" y="918"/>
                </a:cxn>
                <a:cxn ang="0">
                  <a:pos x="502" y="938"/>
                </a:cxn>
                <a:cxn ang="0">
                  <a:pos x="513" y="1012"/>
                </a:cxn>
                <a:cxn ang="0">
                  <a:pos x="553" y="1004"/>
                </a:cxn>
                <a:cxn ang="0">
                  <a:pos x="558" y="979"/>
                </a:cxn>
                <a:cxn ang="0">
                  <a:pos x="634" y="975"/>
                </a:cxn>
                <a:cxn ang="0">
                  <a:pos x="665" y="940"/>
                </a:cxn>
                <a:cxn ang="0">
                  <a:pos x="693" y="924"/>
                </a:cxn>
                <a:cxn ang="0">
                  <a:pos x="700" y="893"/>
                </a:cxn>
                <a:cxn ang="0">
                  <a:pos x="776" y="869"/>
                </a:cxn>
                <a:cxn ang="0">
                  <a:pos x="796" y="837"/>
                </a:cxn>
                <a:cxn ang="0">
                  <a:pos x="835" y="806"/>
                </a:cxn>
                <a:cxn ang="0">
                  <a:pos x="882" y="786"/>
                </a:cxn>
                <a:cxn ang="0">
                  <a:pos x="897" y="767"/>
                </a:cxn>
                <a:cxn ang="0">
                  <a:pos x="889" y="719"/>
                </a:cxn>
                <a:cxn ang="0">
                  <a:pos x="818" y="708"/>
                </a:cxn>
                <a:cxn ang="0">
                  <a:pos x="794" y="684"/>
                </a:cxn>
                <a:cxn ang="0">
                  <a:pos x="791" y="629"/>
                </a:cxn>
                <a:cxn ang="0">
                  <a:pos x="802" y="321"/>
                </a:cxn>
                <a:cxn ang="0">
                  <a:pos x="774" y="320"/>
                </a:cxn>
                <a:cxn ang="0">
                  <a:pos x="763" y="270"/>
                </a:cxn>
                <a:cxn ang="0">
                  <a:pos x="723" y="253"/>
                </a:cxn>
                <a:cxn ang="0">
                  <a:pos x="703" y="202"/>
                </a:cxn>
                <a:cxn ang="0">
                  <a:pos x="715" y="154"/>
                </a:cxn>
                <a:cxn ang="0">
                  <a:pos x="758" y="139"/>
                </a:cxn>
                <a:cxn ang="0">
                  <a:pos x="735" y="103"/>
                </a:cxn>
                <a:cxn ang="0">
                  <a:pos x="743" y="68"/>
                </a:cxn>
                <a:cxn ang="0">
                  <a:pos x="763" y="68"/>
                </a:cxn>
                <a:cxn ang="0">
                  <a:pos x="754" y="9"/>
                </a:cxn>
                <a:cxn ang="0">
                  <a:pos x="617" y="0"/>
                </a:cxn>
                <a:cxn ang="0">
                  <a:pos x="555" y="7"/>
                </a:cxn>
                <a:cxn ang="0">
                  <a:pos x="503" y="27"/>
                </a:cxn>
                <a:cxn ang="0">
                  <a:pos x="404" y="35"/>
                </a:cxn>
                <a:cxn ang="0">
                  <a:pos x="369" y="66"/>
                </a:cxn>
                <a:cxn ang="0">
                  <a:pos x="301" y="79"/>
                </a:cxn>
                <a:cxn ang="0">
                  <a:pos x="281" y="127"/>
                </a:cxn>
              </a:cxnLst>
              <a:rect l="0" t="0" r="r" b="b"/>
              <a:pathLst>
                <a:path w="897" h="1012">
                  <a:moveTo>
                    <a:pt x="281" y="127"/>
                  </a:moveTo>
                  <a:lnTo>
                    <a:pt x="316" y="163"/>
                  </a:lnTo>
                  <a:lnTo>
                    <a:pt x="292" y="206"/>
                  </a:lnTo>
                  <a:lnTo>
                    <a:pt x="320" y="222"/>
                  </a:lnTo>
                  <a:lnTo>
                    <a:pt x="300" y="301"/>
                  </a:lnTo>
                  <a:lnTo>
                    <a:pt x="248" y="305"/>
                  </a:lnTo>
                  <a:lnTo>
                    <a:pt x="241" y="336"/>
                  </a:lnTo>
                  <a:lnTo>
                    <a:pt x="265" y="360"/>
                  </a:lnTo>
                  <a:lnTo>
                    <a:pt x="206" y="412"/>
                  </a:lnTo>
                  <a:lnTo>
                    <a:pt x="165" y="451"/>
                  </a:lnTo>
                  <a:lnTo>
                    <a:pt x="130" y="471"/>
                  </a:lnTo>
                  <a:lnTo>
                    <a:pt x="99" y="471"/>
                  </a:lnTo>
                  <a:lnTo>
                    <a:pt x="86" y="494"/>
                  </a:lnTo>
                  <a:lnTo>
                    <a:pt x="51" y="491"/>
                  </a:lnTo>
                  <a:lnTo>
                    <a:pt x="47" y="518"/>
                  </a:lnTo>
                  <a:lnTo>
                    <a:pt x="0" y="518"/>
                  </a:lnTo>
                  <a:lnTo>
                    <a:pt x="94" y="633"/>
                  </a:lnTo>
                  <a:lnTo>
                    <a:pt x="142" y="664"/>
                  </a:lnTo>
                  <a:lnTo>
                    <a:pt x="458" y="918"/>
                  </a:lnTo>
                  <a:lnTo>
                    <a:pt x="502" y="938"/>
                  </a:lnTo>
                  <a:lnTo>
                    <a:pt x="513" y="1012"/>
                  </a:lnTo>
                  <a:lnTo>
                    <a:pt x="553" y="1004"/>
                  </a:lnTo>
                  <a:lnTo>
                    <a:pt x="558" y="979"/>
                  </a:lnTo>
                  <a:lnTo>
                    <a:pt x="634" y="975"/>
                  </a:lnTo>
                  <a:lnTo>
                    <a:pt x="665" y="940"/>
                  </a:lnTo>
                  <a:lnTo>
                    <a:pt x="693" y="924"/>
                  </a:lnTo>
                  <a:lnTo>
                    <a:pt x="700" y="893"/>
                  </a:lnTo>
                  <a:lnTo>
                    <a:pt x="776" y="869"/>
                  </a:lnTo>
                  <a:lnTo>
                    <a:pt x="796" y="837"/>
                  </a:lnTo>
                  <a:lnTo>
                    <a:pt x="835" y="806"/>
                  </a:lnTo>
                  <a:lnTo>
                    <a:pt x="882" y="786"/>
                  </a:lnTo>
                  <a:lnTo>
                    <a:pt x="897" y="767"/>
                  </a:lnTo>
                  <a:lnTo>
                    <a:pt x="889" y="719"/>
                  </a:lnTo>
                  <a:lnTo>
                    <a:pt x="818" y="708"/>
                  </a:lnTo>
                  <a:lnTo>
                    <a:pt x="794" y="684"/>
                  </a:lnTo>
                  <a:lnTo>
                    <a:pt x="791" y="629"/>
                  </a:lnTo>
                  <a:lnTo>
                    <a:pt x="802" y="321"/>
                  </a:lnTo>
                  <a:lnTo>
                    <a:pt x="774" y="320"/>
                  </a:lnTo>
                  <a:lnTo>
                    <a:pt x="763" y="270"/>
                  </a:lnTo>
                  <a:lnTo>
                    <a:pt x="723" y="253"/>
                  </a:lnTo>
                  <a:lnTo>
                    <a:pt x="703" y="202"/>
                  </a:lnTo>
                  <a:lnTo>
                    <a:pt x="715" y="154"/>
                  </a:lnTo>
                  <a:lnTo>
                    <a:pt x="758" y="139"/>
                  </a:lnTo>
                  <a:lnTo>
                    <a:pt x="735" y="103"/>
                  </a:lnTo>
                  <a:lnTo>
                    <a:pt x="743" y="68"/>
                  </a:lnTo>
                  <a:lnTo>
                    <a:pt x="763" y="68"/>
                  </a:lnTo>
                  <a:lnTo>
                    <a:pt x="754" y="9"/>
                  </a:lnTo>
                  <a:lnTo>
                    <a:pt x="617" y="0"/>
                  </a:lnTo>
                  <a:lnTo>
                    <a:pt x="555" y="7"/>
                  </a:lnTo>
                  <a:lnTo>
                    <a:pt x="503" y="27"/>
                  </a:lnTo>
                  <a:lnTo>
                    <a:pt x="404" y="35"/>
                  </a:lnTo>
                  <a:lnTo>
                    <a:pt x="369" y="66"/>
                  </a:lnTo>
                  <a:lnTo>
                    <a:pt x="301" y="79"/>
                  </a:lnTo>
                  <a:lnTo>
                    <a:pt x="281" y="12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eform 58"/>
            <p:cNvSpPr>
              <a:spLocks noChangeAspect="1"/>
            </p:cNvSpPr>
            <p:nvPr/>
          </p:nvSpPr>
          <p:spPr bwMode="auto">
            <a:xfrm>
              <a:off x="1861565" y="4782412"/>
              <a:ext cx="212748" cy="441964"/>
            </a:xfrm>
            <a:custGeom>
              <a:avLst/>
              <a:gdLst/>
              <a:ahLst/>
              <a:cxnLst>
                <a:cxn ang="0">
                  <a:pos x="275" y="10"/>
                </a:cxn>
                <a:cxn ang="0">
                  <a:pos x="273" y="75"/>
                </a:cxn>
                <a:cxn ang="0">
                  <a:pos x="255" y="83"/>
                </a:cxn>
                <a:cxn ang="0">
                  <a:pos x="250" y="132"/>
                </a:cxn>
                <a:cxn ang="0">
                  <a:pos x="220" y="132"/>
                </a:cxn>
                <a:cxn ang="0">
                  <a:pos x="210" y="148"/>
                </a:cxn>
                <a:cxn ang="0">
                  <a:pos x="203" y="177"/>
                </a:cxn>
                <a:cxn ang="0">
                  <a:pos x="176" y="197"/>
                </a:cxn>
                <a:cxn ang="0">
                  <a:pos x="167" y="224"/>
                </a:cxn>
                <a:cxn ang="0">
                  <a:pos x="149" y="220"/>
                </a:cxn>
                <a:cxn ang="0">
                  <a:pos x="145" y="191"/>
                </a:cxn>
                <a:cxn ang="0">
                  <a:pos x="116" y="193"/>
                </a:cxn>
                <a:cxn ang="0">
                  <a:pos x="110" y="215"/>
                </a:cxn>
                <a:cxn ang="0">
                  <a:pos x="80" y="225"/>
                </a:cxn>
                <a:cxn ang="0">
                  <a:pos x="72" y="265"/>
                </a:cxn>
                <a:cxn ang="0">
                  <a:pos x="54" y="270"/>
                </a:cxn>
                <a:cxn ang="0">
                  <a:pos x="62" y="401"/>
                </a:cxn>
                <a:cxn ang="0">
                  <a:pos x="76" y="403"/>
                </a:cxn>
                <a:cxn ang="0">
                  <a:pos x="80" y="438"/>
                </a:cxn>
                <a:cxn ang="0">
                  <a:pos x="65" y="455"/>
                </a:cxn>
                <a:cxn ang="0">
                  <a:pos x="54" y="496"/>
                </a:cxn>
                <a:cxn ang="0">
                  <a:pos x="31" y="506"/>
                </a:cxn>
                <a:cxn ang="0">
                  <a:pos x="27" y="527"/>
                </a:cxn>
                <a:cxn ang="0">
                  <a:pos x="0" y="537"/>
                </a:cxn>
                <a:cxn ang="0">
                  <a:pos x="3" y="599"/>
                </a:cxn>
                <a:cxn ang="0">
                  <a:pos x="37" y="596"/>
                </a:cxn>
                <a:cxn ang="0">
                  <a:pos x="34" y="717"/>
                </a:cxn>
                <a:cxn ang="0">
                  <a:pos x="65" y="717"/>
                </a:cxn>
                <a:cxn ang="0">
                  <a:pos x="80" y="737"/>
                </a:cxn>
                <a:cxn ang="0">
                  <a:pos x="103" y="747"/>
                </a:cxn>
                <a:cxn ang="0">
                  <a:pos x="131" y="720"/>
                </a:cxn>
                <a:cxn ang="0">
                  <a:pos x="162" y="716"/>
                </a:cxn>
                <a:cxn ang="0">
                  <a:pos x="185" y="699"/>
                </a:cxn>
                <a:cxn ang="0">
                  <a:pos x="210" y="686"/>
                </a:cxn>
                <a:cxn ang="0">
                  <a:pos x="218" y="627"/>
                </a:cxn>
                <a:cxn ang="0">
                  <a:pos x="242" y="617"/>
                </a:cxn>
                <a:cxn ang="0">
                  <a:pos x="245" y="537"/>
                </a:cxn>
                <a:cxn ang="0">
                  <a:pos x="259" y="527"/>
                </a:cxn>
                <a:cxn ang="0">
                  <a:pos x="258" y="417"/>
                </a:cxn>
                <a:cxn ang="0">
                  <a:pos x="292" y="397"/>
                </a:cxn>
                <a:cxn ang="0">
                  <a:pos x="309" y="377"/>
                </a:cxn>
                <a:cxn ang="0">
                  <a:pos x="309" y="289"/>
                </a:cxn>
                <a:cxn ang="0">
                  <a:pos x="333" y="272"/>
                </a:cxn>
                <a:cxn ang="0">
                  <a:pos x="338" y="203"/>
                </a:cxn>
                <a:cxn ang="0">
                  <a:pos x="358" y="203"/>
                </a:cxn>
                <a:cxn ang="0">
                  <a:pos x="362" y="90"/>
                </a:cxn>
                <a:cxn ang="0">
                  <a:pos x="333" y="75"/>
                </a:cxn>
                <a:cxn ang="0">
                  <a:pos x="331" y="20"/>
                </a:cxn>
                <a:cxn ang="0">
                  <a:pos x="302" y="0"/>
                </a:cxn>
                <a:cxn ang="0">
                  <a:pos x="275" y="10"/>
                </a:cxn>
              </a:cxnLst>
              <a:rect l="0" t="0" r="r" b="b"/>
              <a:pathLst>
                <a:path w="362" h="747">
                  <a:moveTo>
                    <a:pt x="275" y="10"/>
                  </a:moveTo>
                  <a:lnTo>
                    <a:pt x="273" y="75"/>
                  </a:lnTo>
                  <a:lnTo>
                    <a:pt x="255" y="83"/>
                  </a:lnTo>
                  <a:lnTo>
                    <a:pt x="250" y="132"/>
                  </a:lnTo>
                  <a:lnTo>
                    <a:pt x="220" y="132"/>
                  </a:lnTo>
                  <a:lnTo>
                    <a:pt x="210" y="148"/>
                  </a:lnTo>
                  <a:lnTo>
                    <a:pt x="203" y="177"/>
                  </a:lnTo>
                  <a:lnTo>
                    <a:pt x="176" y="197"/>
                  </a:lnTo>
                  <a:lnTo>
                    <a:pt x="167" y="224"/>
                  </a:lnTo>
                  <a:lnTo>
                    <a:pt x="149" y="220"/>
                  </a:lnTo>
                  <a:lnTo>
                    <a:pt x="145" y="191"/>
                  </a:lnTo>
                  <a:lnTo>
                    <a:pt x="116" y="193"/>
                  </a:lnTo>
                  <a:lnTo>
                    <a:pt x="110" y="215"/>
                  </a:lnTo>
                  <a:lnTo>
                    <a:pt x="80" y="225"/>
                  </a:lnTo>
                  <a:lnTo>
                    <a:pt x="72" y="265"/>
                  </a:lnTo>
                  <a:lnTo>
                    <a:pt x="54" y="270"/>
                  </a:lnTo>
                  <a:lnTo>
                    <a:pt x="62" y="401"/>
                  </a:lnTo>
                  <a:lnTo>
                    <a:pt x="76" y="403"/>
                  </a:lnTo>
                  <a:lnTo>
                    <a:pt x="80" y="438"/>
                  </a:lnTo>
                  <a:lnTo>
                    <a:pt x="65" y="455"/>
                  </a:lnTo>
                  <a:lnTo>
                    <a:pt x="54" y="496"/>
                  </a:lnTo>
                  <a:lnTo>
                    <a:pt x="31" y="506"/>
                  </a:lnTo>
                  <a:lnTo>
                    <a:pt x="27" y="527"/>
                  </a:lnTo>
                  <a:lnTo>
                    <a:pt x="0" y="537"/>
                  </a:lnTo>
                  <a:lnTo>
                    <a:pt x="3" y="599"/>
                  </a:lnTo>
                  <a:lnTo>
                    <a:pt x="37" y="596"/>
                  </a:lnTo>
                  <a:lnTo>
                    <a:pt x="34" y="717"/>
                  </a:lnTo>
                  <a:lnTo>
                    <a:pt x="65" y="717"/>
                  </a:lnTo>
                  <a:lnTo>
                    <a:pt x="80" y="737"/>
                  </a:lnTo>
                  <a:lnTo>
                    <a:pt x="103" y="747"/>
                  </a:lnTo>
                  <a:lnTo>
                    <a:pt x="131" y="720"/>
                  </a:lnTo>
                  <a:lnTo>
                    <a:pt x="162" y="716"/>
                  </a:lnTo>
                  <a:lnTo>
                    <a:pt x="185" y="699"/>
                  </a:lnTo>
                  <a:lnTo>
                    <a:pt x="210" y="686"/>
                  </a:lnTo>
                  <a:lnTo>
                    <a:pt x="218" y="627"/>
                  </a:lnTo>
                  <a:lnTo>
                    <a:pt x="242" y="617"/>
                  </a:lnTo>
                  <a:lnTo>
                    <a:pt x="245" y="537"/>
                  </a:lnTo>
                  <a:lnTo>
                    <a:pt x="259" y="527"/>
                  </a:lnTo>
                  <a:lnTo>
                    <a:pt x="258" y="417"/>
                  </a:lnTo>
                  <a:lnTo>
                    <a:pt x="292" y="397"/>
                  </a:lnTo>
                  <a:lnTo>
                    <a:pt x="309" y="377"/>
                  </a:lnTo>
                  <a:lnTo>
                    <a:pt x="309" y="289"/>
                  </a:lnTo>
                  <a:lnTo>
                    <a:pt x="333" y="272"/>
                  </a:lnTo>
                  <a:lnTo>
                    <a:pt x="338" y="203"/>
                  </a:lnTo>
                  <a:lnTo>
                    <a:pt x="358" y="203"/>
                  </a:lnTo>
                  <a:lnTo>
                    <a:pt x="362" y="90"/>
                  </a:lnTo>
                  <a:lnTo>
                    <a:pt x="333" y="75"/>
                  </a:lnTo>
                  <a:lnTo>
                    <a:pt x="331" y="20"/>
                  </a:lnTo>
                  <a:lnTo>
                    <a:pt x="302" y="0"/>
                  </a:lnTo>
                  <a:lnTo>
                    <a:pt x="275" y="1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 59"/>
            <p:cNvSpPr>
              <a:spLocks noChangeAspect="1"/>
            </p:cNvSpPr>
            <p:nvPr/>
          </p:nvSpPr>
          <p:spPr bwMode="auto">
            <a:xfrm>
              <a:off x="913871" y="3996107"/>
              <a:ext cx="253187" cy="390490"/>
            </a:xfrm>
            <a:custGeom>
              <a:avLst/>
              <a:gdLst/>
              <a:ahLst/>
              <a:cxnLst>
                <a:cxn ang="0">
                  <a:pos x="0" y="497"/>
                </a:cxn>
                <a:cxn ang="0">
                  <a:pos x="86" y="428"/>
                </a:cxn>
                <a:cxn ang="0">
                  <a:pos x="113" y="393"/>
                </a:cxn>
                <a:cxn ang="0">
                  <a:pos x="150" y="358"/>
                </a:cxn>
                <a:cxn ang="0">
                  <a:pos x="199" y="321"/>
                </a:cxn>
                <a:cxn ang="0">
                  <a:pos x="230" y="270"/>
                </a:cxn>
                <a:cxn ang="0">
                  <a:pos x="251" y="181"/>
                </a:cxn>
                <a:cxn ang="0">
                  <a:pos x="265" y="159"/>
                </a:cxn>
                <a:cxn ang="0">
                  <a:pos x="290" y="139"/>
                </a:cxn>
                <a:cxn ang="0">
                  <a:pos x="299" y="80"/>
                </a:cxn>
                <a:cxn ang="0">
                  <a:pos x="289" y="1"/>
                </a:cxn>
                <a:cxn ang="0">
                  <a:pos x="289" y="1"/>
                </a:cxn>
                <a:cxn ang="0">
                  <a:pos x="309" y="0"/>
                </a:cxn>
                <a:cxn ang="0">
                  <a:pos x="317" y="29"/>
                </a:cxn>
                <a:cxn ang="0">
                  <a:pos x="330" y="55"/>
                </a:cxn>
                <a:cxn ang="0">
                  <a:pos x="352" y="98"/>
                </a:cxn>
                <a:cxn ang="0">
                  <a:pos x="352" y="124"/>
                </a:cxn>
                <a:cxn ang="0">
                  <a:pos x="332" y="134"/>
                </a:cxn>
                <a:cxn ang="0">
                  <a:pos x="342" y="142"/>
                </a:cxn>
                <a:cxn ang="0">
                  <a:pos x="352" y="172"/>
                </a:cxn>
                <a:cxn ang="0">
                  <a:pos x="368" y="193"/>
                </a:cxn>
                <a:cxn ang="0">
                  <a:pos x="364" y="217"/>
                </a:cxn>
                <a:cxn ang="0">
                  <a:pos x="342" y="231"/>
                </a:cxn>
                <a:cxn ang="0">
                  <a:pos x="345" y="256"/>
                </a:cxn>
                <a:cxn ang="0">
                  <a:pos x="379" y="300"/>
                </a:cxn>
                <a:cxn ang="0">
                  <a:pos x="403" y="349"/>
                </a:cxn>
                <a:cxn ang="0">
                  <a:pos x="382" y="379"/>
                </a:cxn>
                <a:cxn ang="0">
                  <a:pos x="362" y="438"/>
                </a:cxn>
                <a:cxn ang="0">
                  <a:pos x="396" y="491"/>
                </a:cxn>
                <a:cxn ang="0">
                  <a:pos x="417" y="556"/>
                </a:cxn>
                <a:cxn ang="0">
                  <a:pos x="433" y="584"/>
                </a:cxn>
                <a:cxn ang="0">
                  <a:pos x="290" y="602"/>
                </a:cxn>
                <a:cxn ang="0">
                  <a:pos x="217" y="608"/>
                </a:cxn>
                <a:cxn ang="0">
                  <a:pos x="192" y="630"/>
                </a:cxn>
                <a:cxn ang="0">
                  <a:pos x="192" y="654"/>
                </a:cxn>
                <a:cxn ang="0">
                  <a:pos x="127" y="659"/>
                </a:cxn>
                <a:cxn ang="0">
                  <a:pos x="118" y="610"/>
                </a:cxn>
                <a:cxn ang="0">
                  <a:pos x="142" y="565"/>
                </a:cxn>
                <a:cxn ang="0">
                  <a:pos x="121" y="537"/>
                </a:cxn>
                <a:cxn ang="0">
                  <a:pos x="73" y="520"/>
                </a:cxn>
                <a:cxn ang="0">
                  <a:pos x="0" y="497"/>
                </a:cxn>
              </a:cxnLst>
              <a:rect l="0" t="0" r="r" b="b"/>
              <a:pathLst>
                <a:path w="433" h="659">
                  <a:moveTo>
                    <a:pt x="0" y="497"/>
                  </a:moveTo>
                  <a:lnTo>
                    <a:pt x="86" y="428"/>
                  </a:lnTo>
                  <a:lnTo>
                    <a:pt x="113" y="393"/>
                  </a:lnTo>
                  <a:lnTo>
                    <a:pt x="150" y="358"/>
                  </a:lnTo>
                  <a:lnTo>
                    <a:pt x="199" y="321"/>
                  </a:lnTo>
                  <a:lnTo>
                    <a:pt x="230" y="270"/>
                  </a:lnTo>
                  <a:lnTo>
                    <a:pt x="251" y="181"/>
                  </a:lnTo>
                  <a:lnTo>
                    <a:pt x="265" y="159"/>
                  </a:lnTo>
                  <a:lnTo>
                    <a:pt x="290" y="139"/>
                  </a:lnTo>
                  <a:lnTo>
                    <a:pt x="299" y="80"/>
                  </a:lnTo>
                  <a:lnTo>
                    <a:pt x="289" y="1"/>
                  </a:lnTo>
                  <a:lnTo>
                    <a:pt x="289" y="1"/>
                  </a:lnTo>
                  <a:lnTo>
                    <a:pt x="309" y="0"/>
                  </a:lnTo>
                  <a:lnTo>
                    <a:pt x="317" y="29"/>
                  </a:lnTo>
                  <a:lnTo>
                    <a:pt x="330" y="55"/>
                  </a:lnTo>
                  <a:lnTo>
                    <a:pt x="352" y="98"/>
                  </a:lnTo>
                  <a:lnTo>
                    <a:pt x="352" y="124"/>
                  </a:lnTo>
                  <a:lnTo>
                    <a:pt x="332" y="134"/>
                  </a:lnTo>
                  <a:lnTo>
                    <a:pt x="342" y="142"/>
                  </a:lnTo>
                  <a:lnTo>
                    <a:pt x="352" y="172"/>
                  </a:lnTo>
                  <a:lnTo>
                    <a:pt x="368" y="193"/>
                  </a:lnTo>
                  <a:lnTo>
                    <a:pt x="364" y="217"/>
                  </a:lnTo>
                  <a:lnTo>
                    <a:pt x="342" y="231"/>
                  </a:lnTo>
                  <a:lnTo>
                    <a:pt x="345" y="256"/>
                  </a:lnTo>
                  <a:lnTo>
                    <a:pt x="379" y="300"/>
                  </a:lnTo>
                  <a:lnTo>
                    <a:pt x="403" y="349"/>
                  </a:lnTo>
                  <a:lnTo>
                    <a:pt x="382" y="379"/>
                  </a:lnTo>
                  <a:lnTo>
                    <a:pt x="362" y="438"/>
                  </a:lnTo>
                  <a:lnTo>
                    <a:pt x="396" y="491"/>
                  </a:lnTo>
                  <a:lnTo>
                    <a:pt x="417" y="556"/>
                  </a:lnTo>
                  <a:lnTo>
                    <a:pt x="433" y="584"/>
                  </a:lnTo>
                  <a:lnTo>
                    <a:pt x="290" y="602"/>
                  </a:lnTo>
                  <a:lnTo>
                    <a:pt x="217" y="608"/>
                  </a:lnTo>
                  <a:lnTo>
                    <a:pt x="192" y="630"/>
                  </a:lnTo>
                  <a:lnTo>
                    <a:pt x="192" y="654"/>
                  </a:lnTo>
                  <a:lnTo>
                    <a:pt x="127" y="659"/>
                  </a:lnTo>
                  <a:lnTo>
                    <a:pt x="118" y="610"/>
                  </a:lnTo>
                  <a:lnTo>
                    <a:pt x="142" y="565"/>
                  </a:lnTo>
                  <a:lnTo>
                    <a:pt x="121" y="537"/>
                  </a:lnTo>
                  <a:lnTo>
                    <a:pt x="73" y="520"/>
                  </a:lnTo>
                  <a:lnTo>
                    <a:pt x="0" y="49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 60"/>
            <p:cNvSpPr>
              <a:spLocks noChangeAspect="1"/>
            </p:cNvSpPr>
            <p:nvPr/>
          </p:nvSpPr>
          <p:spPr bwMode="auto">
            <a:xfrm>
              <a:off x="7176099" y="4017077"/>
              <a:ext cx="307693" cy="461489"/>
            </a:xfrm>
            <a:custGeom>
              <a:avLst/>
              <a:gdLst/>
              <a:ahLst/>
              <a:cxnLst>
                <a:cxn ang="0">
                  <a:pos x="74" y="300"/>
                </a:cxn>
                <a:cxn ang="0">
                  <a:pos x="83" y="199"/>
                </a:cxn>
                <a:cxn ang="0">
                  <a:pos x="126" y="238"/>
                </a:cxn>
                <a:cxn ang="0">
                  <a:pos x="135" y="171"/>
                </a:cxn>
                <a:cxn ang="0">
                  <a:pos x="181" y="151"/>
                </a:cxn>
                <a:cxn ang="0">
                  <a:pos x="185" y="99"/>
                </a:cxn>
                <a:cxn ang="0">
                  <a:pos x="232" y="59"/>
                </a:cxn>
                <a:cxn ang="0">
                  <a:pos x="288" y="55"/>
                </a:cxn>
                <a:cxn ang="0">
                  <a:pos x="304" y="17"/>
                </a:cxn>
                <a:cxn ang="0">
                  <a:pos x="335" y="0"/>
                </a:cxn>
                <a:cxn ang="0">
                  <a:pos x="359" y="17"/>
                </a:cxn>
                <a:cxn ang="0">
                  <a:pos x="324" y="59"/>
                </a:cxn>
                <a:cxn ang="0">
                  <a:pos x="304" y="135"/>
                </a:cxn>
                <a:cxn ang="0">
                  <a:pos x="273" y="155"/>
                </a:cxn>
                <a:cxn ang="0">
                  <a:pos x="312" y="210"/>
                </a:cxn>
                <a:cxn ang="0">
                  <a:pos x="300" y="265"/>
                </a:cxn>
                <a:cxn ang="0">
                  <a:pos x="383" y="269"/>
                </a:cxn>
                <a:cxn ang="0">
                  <a:pos x="387" y="300"/>
                </a:cxn>
                <a:cxn ang="0">
                  <a:pos x="453" y="333"/>
                </a:cxn>
                <a:cxn ang="0">
                  <a:pos x="525" y="357"/>
                </a:cxn>
                <a:cxn ang="0">
                  <a:pos x="525" y="447"/>
                </a:cxn>
                <a:cxn ang="0">
                  <a:pos x="510" y="502"/>
                </a:cxn>
                <a:cxn ang="0">
                  <a:pos x="517" y="546"/>
                </a:cxn>
                <a:cxn ang="0">
                  <a:pos x="438" y="574"/>
                </a:cxn>
                <a:cxn ang="0">
                  <a:pos x="418" y="605"/>
                </a:cxn>
                <a:cxn ang="0">
                  <a:pos x="442" y="629"/>
                </a:cxn>
                <a:cxn ang="0">
                  <a:pos x="418" y="644"/>
                </a:cxn>
                <a:cxn ang="0">
                  <a:pos x="431" y="736"/>
                </a:cxn>
                <a:cxn ang="0">
                  <a:pos x="431" y="775"/>
                </a:cxn>
                <a:cxn ang="0">
                  <a:pos x="383" y="779"/>
                </a:cxn>
                <a:cxn ang="0">
                  <a:pos x="343" y="751"/>
                </a:cxn>
                <a:cxn ang="0">
                  <a:pos x="264" y="744"/>
                </a:cxn>
                <a:cxn ang="0">
                  <a:pos x="225" y="692"/>
                </a:cxn>
                <a:cxn ang="0">
                  <a:pos x="177" y="661"/>
                </a:cxn>
                <a:cxn ang="0">
                  <a:pos x="142" y="629"/>
                </a:cxn>
                <a:cxn ang="0">
                  <a:pos x="67" y="633"/>
                </a:cxn>
                <a:cxn ang="0">
                  <a:pos x="0" y="593"/>
                </a:cxn>
                <a:cxn ang="0">
                  <a:pos x="35" y="541"/>
                </a:cxn>
                <a:cxn ang="0">
                  <a:pos x="43" y="514"/>
                </a:cxn>
                <a:cxn ang="0">
                  <a:pos x="87" y="510"/>
                </a:cxn>
                <a:cxn ang="0">
                  <a:pos x="74" y="300"/>
                </a:cxn>
              </a:cxnLst>
              <a:rect l="0" t="0" r="r" b="b"/>
              <a:pathLst>
                <a:path w="525" h="779">
                  <a:moveTo>
                    <a:pt x="74" y="300"/>
                  </a:moveTo>
                  <a:lnTo>
                    <a:pt x="83" y="199"/>
                  </a:lnTo>
                  <a:lnTo>
                    <a:pt x="126" y="238"/>
                  </a:lnTo>
                  <a:lnTo>
                    <a:pt x="135" y="171"/>
                  </a:lnTo>
                  <a:lnTo>
                    <a:pt x="181" y="151"/>
                  </a:lnTo>
                  <a:lnTo>
                    <a:pt x="185" y="99"/>
                  </a:lnTo>
                  <a:lnTo>
                    <a:pt x="232" y="59"/>
                  </a:lnTo>
                  <a:lnTo>
                    <a:pt x="288" y="55"/>
                  </a:lnTo>
                  <a:lnTo>
                    <a:pt x="304" y="17"/>
                  </a:lnTo>
                  <a:lnTo>
                    <a:pt x="335" y="0"/>
                  </a:lnTo>
                  <a:lnTo>
                    <a:pt x="359" y="17"/>
                  </a:lnTo>
                  <a:lnTo>
                    <a:pt x="324" y="59"/>
                  </a:lnTo>
                  <a:lnTo>
                    <a:pt x="304" y="135"/>
                  </a:lnTo>
                  <a:lnTo>
                    <a:pt x="273" y="155"/>
                  </a:lnTo>
                  <a:lnTo>
                    <a:pt x="312" y="210"/>
                  </a:lnTo>
                  <a:lnTo>
                    <a:pt x="300" y="265"/>
                  </a:lnTo>
                  <a:lnTo>
                    <a:pt x="383" y="269"/>
                  </a:lnTo>
                  <a:lnTo>
                    <a:pt x="387" y="300"/>
                  </a:lnTo>
                  <a:lnTo>
                    <a:pt x="453" y="333"/>
                  </a:lnTo>
                  <a:lnTo>
                    <a:pt x="525" y="357"/>
                  </a:lnTo>
                  <a:lnTo>
                    <a:pt x="525" y="447"/>
                  </a:lnTo>
                  <a:lnTo>
                    <a:pt x="510" y="502"/>
                  </a:lnTo>
                  <a:lnTo>
                    <a:pt x="517" y="546"/>
                  </a:lnTo>
                  <a:lnTo>
                    <a:pt x="438" y="574"/>
                  </a:lnTo>
                  <a:lnTo>
                    <a:pt x="418" y="605"/>
                  </a:lnTo>
                  <a:lnTo>
                    <a:pt x="442" y="629"/>
                  </a:lnTo>
                  <a:lnTo>
                    <a:pt x="418" y="644"/>
                  </a:lnTo>
                  <a:lnTo>
                    <a:pt x="431" y="736"/>
                  </a:lnTo>
                  <a:lnTo>
                    <a:pt x="431" y="775"/>
                  </a:lnTo>
                  <a:lnTo>
                    <a:pt x="383" y="779"/>
                  </a:lnTo>
                  <a:lnTo>
                    <a:pt x="343" y="751"/>
                  </a:lnTo>
                  <a:lnTo>
                    <a:pt x="264" y="744"/>
                  </a:lnTo>
                  <a:lnTo>
                    <a:pt x="225" y="692"/>
                  </a:lnTo>
                  <a:lnTo>
                    <a:pt x="177" y="661"/>
                  </a:lnTo>
                  <a:lnTo>
                    <a:pt x="142" y="629"/>
                  </a:lnTo>
                  <a:lnTo>
                    <a:pt x="67" y="633"/>
                  </a:lnTo>
                  <a:lnTo>
                    <a:pt x="0" y="593"/>
                  </a:lnTo>
                  <a:lnTo>
                    <a:pt x="35" y="541"/>
                  </a:lnTo>
                  <a:lnTo>
                    <a:pt x="43" y="514"/>
                  </a:lnTo>
                  <a:lnTo>
                    <a:pt x="87" y="510"/>
                  </a:lnTo>
                  <a:lnTo>
                    <a:pt x="74" y="30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 61"/>
            <p:cNvSpPr>
              <a:spLocks noChangeAspect="1"/>
            </p:cNvSpPr>
            <p:nvPr/>
          </p:nvSpPr>
          <p:spPr bwMode="auto">
            <a:xfrm>
              <a:off x="1975851" y="2627616"/>
              <a:ext cx="982858" cy="504087"/>
            </a:xfrm>
            <a:custGeom>
              <a:avLst/>
              <a:gdLst/>
              <a:ahLst/>
              <a:cxnLst>
                <a:cxn ang="0">
                  <a:pos x="1633" y="246"/>
                </a:cxn>
                <a:cxn ang="0">
                  <a:pos x="1536" y="182"/>
                </a:cxn>
                <a:cxn ang="0">
                  <a:pos x="1421" y="49"/>
                </a:cxn>
                <a:cxn ang="0">
                  <a:pos x="1289" y="75"/>
                </a:cxn>
                <a:cxn ang="0">
                  <a:pos x="1237" y="33"/>
                </a:cxn>
                <a:cxn ang="0">
                  <a:pos x="1111" y="15"/>
                </a:cxn>
                <a:cxn ang="0">
                  <a:pos x="930" y="18"/>
                </a:cxn>
                <a:cxn ang="0">
                  <a:pos x="840" y="11"/>
                </a:cxn>
                <a:cxn ang="0">
                  <a:pos x="797" y="101"/>
                </a:cxn>
                <a:cxn ang="0">
                  <a:pos x="780" y="113"/>
                </a:cxn>
                <a:cxn ang="0">
                  <a:pos x="757" y="124"/>
                </a:cxn>
                <a:cxn ang="0">
                  <a:pos x="752" y="124"/>
                </a:cxn>
                <a:cxn ang="0">
                  <a:pos x="750" y="126"/>
                </a:cxn>
                <a:cxn ang="0">
                  <a:pos x="753" y="144"/>
                </a:cxn>
                <a:cxn ang="0">
                  <a:pos x="767" y="175"/>
                </a:cxn>
                <a:cxn ang="0">
                  <a:pos x="745" y="212"/>
                </a:cxn>
                <a:cxn ang="0">
                  <a:pos x="620" y="146"/>
                </a:cxn>
                <a:cxn ang="0">
                  <a:pos x="519" y="139"/>
                </a:cxn>
                <a:cxn ang="0">
                  <a:pos x="408" y="37"/>
                </a:cxn>
                <a:cxn ang="0">
                  <a:pos x="269" y="22"/>
                </a:cxn>
                <a:cxn ang="0">
                  <a:pos x="188" y="75"/>
                </a:cxn>
                <a:cxn ang="0">
                  <a:pos x="64" y="105"/>
                </a:cxn>
                <a:cxn ang="0">
                  <a:pos x="23" y="234"/>
                </a:cxn>
                <a:cxn ang="0">
                  <a:pos x="79" y="329"/>
                </a:cxn>
                <a:cxn ang="0">
                  <a:pos x="19" y="458"/>
                </a:cxn>
                <a:cxn ang="0">
                  <a:pos x="137" y="462"/>
                </a:cxn>
                <a:cxn ang="0">
                  <a:pos x="185" y="454"/>
                </a:cxn>
                <a:cxn ang="0">
                  <a:pos x="185" y="541"/>
                </a:cxn>
                <a:cxn ang="0">
                  <a:pos x="98" y="565"/>
                </a:cxn>
                <a:cxn ang="0">
                  <a:pos x="58" y="604"/>
                </a:cxn>
                <a:cxn ang="0">
                  <a:pos x="82" y="679"/>
                </a:cxn>
                <a:cxn ang="0">
                  <a:pos x="172" y="759"/>
                </a:cxn>
                <a:cxn ang="0">
                  <a:pos x="239" y="722"/>
                </a:cxn>
                <a:cxn ang="0">
                  <a:pos x="296" y="767"/>
                </a:cxn>
                <a:cxn ang="0">
                  <a:pos x="333" y="813"/>
                </a:cxn>
                <a:cxn ang="0">
                  <a:pos x="408" y="597"/>
                </a:cxn>
                <a:cxn ang="0">
                  <a:pos x="551" y="509"/>
                </a:cxn>
                <a:cxn ang="0">
                  <a:pos x="638" y="458"/>
                </a:cxn>
                <a:cxn ang="0">
                  <a:pos x="665" y="561"/>
                </a:cxn>
                <a:cxn ang="0">
                  <a:pos x="677" y="639"/>
                </a:cxn>
                <a:cxn ang="0">
                  <a:pos x="748" y="661"/>
                </a:cxn>
                <a:cxn ang="0">
                  <a:pos x="851" y="691"/>
                </a:cxn>
                <a:cxn ang="0">
                  <a:pos x="870" y="801"/>
                </a:cxn>
                <a:cxn ang="0">
                  <a:pos x="957" y="851"/>
                </a:cxn>
                <a:cxn ang="0">
                  <a:pos x="1119" y="774"/>
                </a:cxn>
                <a:cxn ang="0">
                  <a:pos x="1096" y="714"/>
                </a:cxn>
                <a:cxn ang="0">
                  <a:pos x="1021" y="688"/>
                </a:cxn>
                <a:cxn ang="0">
                  <a:pos x="1037" y="629"/>
                </a:cxn>
                <a:cxn ang="0">
                  <a:pos x="1070" y="590"/>
                </a:cxn>
                <a:cxn ang="0">
                  <a:pos x="1130" y="597"/>
                </a:cxn>
                <a:cxn ang="0">
                  <a:pos x="1222" y="612"/>
                </a:cxn>
                <a:cxn ang="0">
                  <a:pos x="1380" y="601"/>
                </a:cxn>
                <a:cxn ang="0">
                  <a:pos x="1449" y="617"/>
                </a:cxn>
                <a:cxn ang="0">
                  <a:pos x="1500" y="531"/>
                </a:cxn>
                <a:cxn ang="0">
                  <a:pos x="1576" y="444"/>
                </a:cxn>
                <a:cxn ang="0">
                  <a:pos x="1635" y="411"/>
                </a:cxn>
                <a:cxn ang="0">
                  <a:pos x="1675" y="356"/>
                </a:cxn>
              </a:cxnLst>
              <a:rect l="0" t="0" r="r" b="b"/>
              <a:pathLst>
                <a:path w="1675" h="851">
                  <a:moveTo>
                    <a:pt x="1675" y="356"/>
                  </a:moveTo>
                  <a:lnTo>
                    <a:pt x="1633" y="246"/>
                  </a:lnTo>
                  <a:lnTo>
                    <a:pt x="1562" y="216"/>
                  </a:lnTo>
                  <a:lnTo>
                    <a:pt x="1536" y="182"/>
                  </a:lnTo>
                  <a:lnTo>
                    <a:pt x="1490" y="178"/>
                  </a:lnTo>
                  <a:lnTo>
                    <a:pt x="1421" y="49"/>
                  </a:lnTo>
                  <a:lnTo>
                    <a:pt x="1361" y="49"/>
                  </a:lnTo>
                  <a:lnTo>
                    <a:pt x="1289" y="75"/>
                  </a:lnTo>
                  <a:lnTo>
                    <a:pt x="1240" y="71"/>
                  </a:lnTo>
                  <a:lnTo>
                    <a:pt x="1237" y="33"/>
                  </a:lnTo>
                  <a:lnTo>
                    <a:pt x="1199" y="0"/>
                  </a:lnTo>
                  <a:lnTo>
                    <a:pt x="1111" y="15"/>
                  </a:lnTo>
                  <a:lnTo>
                    <a:pt x="1043" y="30"/>
                  </a:lnTo>
                  <a:lnTo>
                    <a:pt x="930" y="18"/>
                  </a:lnTo>
                  <a:lnTo>
                    <a:pt x="870" y="3"/>
                  </a:lnTo>
                  <a:lnTo>
                    <a:pt x="840" y="11"/>
                  </a:lnTo>
                  <a:lnTo>
                    <a:pt x="851" y="75"/>
                  </a:lnTo>
                  <a:lnTo>
                    <a:pt x="797" y="101"/>
                  </a:lnTo>
                  <a:lnTo>
                    <a:pt x="797" y="101"/>
                  </a:lnTo>
                  <a:lnTo>
                    <a:pt x="780" y="113"/>
                  </a:lnTo>
                  <a:lnTo>
                    <a:pt x="765" y="121"/>
                  </a:lnTo>
                  <a:lnTo>
                    <a:pt x="757" y="124"/>
                  </a:lnTo>
                  <a:lnTo>
                    <a:pt x="752" y="124"/>
                  </a:lnTo>
                  <a:lnTo>
                    <a:pt x="752" y="124"/>
                  </a:lnTo>
                  <a:lnTo>
                    <a:pt x="751" y="125"/>
                  </a:lnTo>
                  <a:lnTo>
                    <a:pt x="750" y="126"/>
                  </a:lnTo>
                  <a:lnTo>
                    <a:pt x="751" y="134"/>
                  </a:lnTo>
                  <a:lnTo>
                    <a:pt x="753" y="144"/>
                  </a:lnTo>
                  <a:lnTo>
                    <a:pt x="757" y="154"/>
                  </a:lnTo>
                  <a:lnTo>
                    <a:pt x="767" y="175"/>
                  </a:lnTo>
                  <a:lnTo>
                    <a:pt x="771" y="185"/>
                  </a:lnTo>
                  <a:lnTo>
                    <a:pt x="745" y="212"/>
                  </a:lnTo>
                  <a:lnTo>
                    <a:pt x="703" y="197"/>
                  </a:lnTo>
                  <a:lnTo>
                    <a:pt x="620" y="146"/>
                  </a:lnTo>
                  <a:lnTo>
                    <a:pt x="560" y="154"/>
                  </a:lnTo>
                  <a:lnTo>
                    <a:pt x="519" y="139"/>
                  </a:lnTo>
                  <a:lnTo>
                    <a:pt x="522" y="109"/>
                  </a:lnTo>
                  <a:lnTo>
                    <a:pt x="408" y="37"/>
                  </a:lnTo>
                  <a:lnTo>
                    <a:pt x="337" y="33"/>
                  </a:lnTo>
                  <a:lnTo>
                    <a:pt x="269" y="22"/>
                  </a:lnTo>
                  <a:lnTo>
                    <a:pt x="208" y="37"/>
                  </a:lnTo>
                  <a:lnTo>
                    <a:pt x="188" y="75"/>
                  </a:lnTo>
                  <a:lnTo>
                    <a:pt x="139" y="18"/>
                  </a:lnTo>
                  <a:lnTo>
                    <a:pt x="64" y="105"/>
                  </a:lnTo>
                  <a:lnTo>
                    <a:pt x="0" y="182"/>
                  </a:lnTo>
                  <a:lnTo>
                    <a:pt x="23" y="234"/>
                  </a:lnTo>
                  <a:lnTo>
                    <a:pt x="75" y="268"/>
                  </a:lnTo>
                  <a:lnTo>
                    <a:pt x="79" y="329"/>
                  </a:lnTo>
                  <a:lnTo>
                    <a:pt x="38" y="374"/>
                  </a:lnTo>
                  <a:lnTo>
                    <a:pt x="19" y="458"/>
                  </a:lnTo>
                  <a:lnTo>
                    <a:pt x="78" y="442"/>
                  </a:lnTo>
                  <a:lnTo>
                    <a:pt x="137" y="462"/>
                  </a:lnTo>
                  <a:lnTo>
                    <a:pt x="153" y="438"/>
                  </a:lnTo>
                  <a:lnTo>
                    <a:pt x="185" y="454"/>
                  </a:lnTo>
                  <a:lnTo>
                    <a:pt x="173" y="513"/>
                  </a:lnTo>
                  <a:lnTo>
                    <a:pt x="185" y="541"/>
                  </a:lnTo>
                  <a:lnTo>
                    <a:pt x="122" y="541"/>
                  </a:lnTo>
                  <a:lnTo>
                    <a:pt x="98" y="565"/>
                  </a:lnTo>
                  <a:lnTo>
                    <a:pt x="94" y="600"/>
                  </a:lnTo>
                  <a:lnTo>
                    <a:pt x="58" y="604"/>
                  </a:lnTo>
                  <a:lnTo>
                    <a:pt x="67" y="636"/>
                  </a:lnTo>
                  <a:lnTo>
                    <a:pt x="82" y="679"/>
                  </a:lnTo>
                  <a:lnTo>
                    <a:pt x="153" y="679"/>
                  </a:lnTo>
                  <a:lnTo>
                    <a:pt x="172" y="759"/>
                  </a:lnTo>
                  <a:lnTo>
                    <a:pt x="183" y="717"/>
                  </a:lnTo>
                  <a:lnTo>
                    <a:pt x="239" y="722"/>
                  </a:lnTo>
                  <a:lnTo>
                    <a:pt x="252" y="784"/>
                  </a:lnTo>
                  <a:lnTo>
                    <a:pt x="296" y="767"/>
                  </a:lnTo>
                  <a:lnTo>
                    <a:pt x="333" y="782"/>
                  </a:lnTo>
                  <a:lnTo>
                    <a:pt x="333" y="813"/>
                  </a:lnTo>
                  <a:lnTo>
                    <a:pt x="374" y="826"/>
                  </a:lnTo>
                  <a:lnTo>
                    <a:pt x="408" y="597"/>
                  </a:lnTo>
                  <a:lnTo>
                    <a:pt x="507" y="521"/>
                  </a:lnTo>
                  <a:lnTo>
                    <a:pt x="551" y="509"/>
                  </a:lnTo>
                  <a:lnTo>
                    <a:pt x="551" y="458"/>
                  </a:lnTo>
                  <a:lnTo>
                    <a:pt x="638" y="458"/>
                  </a:lnTo>
                  <a:lnTo>
                    <a:pt x="638" y="529"/>
                  </a:lnTo>
                  <a:lnTo>
                    <a:pt x="665" y="561"/>
                  </a:lnTo>
                  <a:lnTo>
                    <a:pt x="645" y="585"/>
                  </a:lnTo>
                  <a:lnTo>
                    <a:pt x="677" y="639"/>
                  </a:lnTo>
                  <a:lnTo>
                    <a:pt x="692" y="676"/>
                  </a:lnTo>
                  <a:lnTo>
                    <a:pt x="748" y="661"/>
                  </a:lnTo>
                  <a:lnTo>
                    <a:pt x="801" y="669"/>
                  </a:lnTo>
                  <a:lnTo>
                    <a:pt x="851" y="691"/>
                  </a:lnTo>
                  <a:lnTo>
                    <a:pt x="855" y="759"/>
                  </a:lnTo>
                  <a:lnTo>
                    <a:pt x="870" y="801"/>
                  </a:lnTo>
                  <a:lnTo>
                    <a:pt x="932" y="833"/>
                  </a:lnTo>
                  <a:lnTo>
                    <a:pt x="957" y="851"/>
                  </a:lnTo>
                  <a:lnTo>
                    <a:pt x="1009" y="813"/>
                  </a:lnTo>
                  <a:lnTo>
                    <a:pt x="1119" y="774"/>
                  </a:lnTo>
                  <a:lnTo>
                    <a:pt x="1134" y="748"/>
                  </a:lnTo>
                  <a:lnTo>
                    <a:pt x="1096" y="714"/>
                  </a:lnTo>
                  <a:lnTo>
                    <a:pt x="1058" y="722"/>
                  </a:lnTo>
                  <a:lnTo>
                    <a:pt x="1021" y="688"/>
                  </a:lnTo>
                  <a:lnTo>
                    <a:pt x="1043" y="658"/>
                  </a:lnTo>
                  <a:lnTo>
                    <a:pt x="1037" y="629"/>
                  </a:lnTo>
                  <a:lnTo>
                    <a:pt x="1036" y="616"/>
                  </a:lnTo>
                  <a:lnTo>
                    <a:pt x="1070" y="590"/>
                  </a:lnTo>
                  <a:lnTo>
                    <a:pt x="1111" y="631"/>
                  </a:lnTo>
                  <a:lnTo>
                    <a:pt x="1130" y="597"/>
                  </a:lnTo>
                  <a:lnTo>
                    <a:pt x="1188" y="582"/>
                  </a:lnTo>
                  <a:lnTo>
                    <a:pt x="1222" y="612"/>
                  </a:lnTo>
                  <a:lnTo>
                    <a:pt x="1320" y="597"/>
                  </a:lnTo>
                  <a:lnTo>
                    <a:pt x="1380" y="601"/>
                  </a:lnTo>
                  <a:lnTo>
                    <a:pt x="1434" y="641"/>
                  </a:lnTo>
                  <a:lnTo>
                    <a:pt x="1449" y="617"/>
                  </a:lnTo>
                  <a:lnTo>
                    <a:pt x="1453" y="555"/>
                  </a:lnTo>
                  <a:lnTo>
                    <a:pt x="1500" y="531"/>
                  </a:lnTo>
                  <a:lnTo>
                    <a:pt x="1556" y="546"/>
                  </a:lnTo>
                  <a:lnTo>
                    <a:pt x="1576" y="444"/>
                  </a:lnTo>
                  <a:lnTo>
                    <a:pt x="1600" y="420"/>
                  </a:lnTo>
                  <a:lnTo>
                    <a:pt x="1635" y="411"/>
                  </a:lnTo>
                  <a:lnTo>
                    <a:pt x="1647" y="376"/>
                  </a:lnTo>
                  <a:lnTo>
                    <a:pt x="1675" y="35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62"/>
            <p:cNvSpPr>
              <a:spLocks noChangeAspect="1"/>
            </p:cNvSpPr>
            <p:nvPr/>
          </p:nvSpPr>
          <p:spPr bwMode="auto">
            <a:xfrm>
              <a:off x="2536731" y="2971957"/>
              <a:ext cx="279561" cy="211220"/>
            </a:xfrm>
            <a:custGeom>
              <a:avLst/>
              <a:gdLst/>
              <a:ahLst/>
              <a:cxnLst>
                <a:cxn ang="0">
                  <a:pos x="370" y="103"/>
                </a:cxn>
                <a:cxn ang="0">
                  <a:pos x="405" y="118"/>
                </a:cxn>
                <a:cxn ang="0">
                  <a:pos x="402" y="245"/>
                </a:cxn>
                <a:cxn ang="0">
                  <a:pos x="366" y="260"/>
                </a:cxn>
                <a:cxn ang="0">
                  <a:pos x="350" y="289"/>
                </a:cxn>
                <a:cxn ang="0">
                  <a:pos x="271" y="304"/>
                </a:cxn>
                <a:cxn ang="0">
                  <a:pos x="275" y="332"/>
                </a:cxn>
                <a:cxn ang="0">
                  <a:pos x="255" y="356"/>
                </a:cxn>
                <a:cxn ang="0">
                  <a:pos x="212" y="243"/>
                </a:cxn>
                <a:cxn ang="0">
                  <a:pos x="158" y="280"/>
                </a:cxn>
                <a:cxn ang="0">
                  <a:pos x="113" y="288"/>
                </a:cxn>
                <a:cxn ang="0">
                  <a:pos x="0" y="269"/>
                </a:cxn>
                <a:cxn ang="0">
                  <a:pos x="52" y="231"/>
                </a:cxn>
                <a:cxn ang="0">
                  <a:pos x="162" y="192"/>
                </a:cxn>
                <a:cxn ang="0">
                  <a:pos x="177" y="166"/>
                </a:cxn>
                <a:cxn ang="0">
                  <a:pos x="139" y="132"/>
                </a:cxn>
                <a:cxn ang="0">
                  <a:pos x="101" y="140"/>
                </a:cxn>
                <a:cxn ang="0">
                  <a:pos x="64" y="106"/>
                </a:cxn>
                <a:cxn ang="0">
                  <a:pos x="86" y="76"/>
                </a:cxn>
                <a:cxn ang="0">
                  <a:pos x="79" y="34"/>
                </a:cxn>
                <a:cxn ang="0">
                  <a:pos x="113" y="8"/>
                </a:cxn>
                <a:cxn ang="0">
                  <a:pos x="154" y="49"/>
                </a:cxn>
                <a:cxn ang="0">
                  <a:pos x="173" y="15"/>
                </a:cxn>
                <a:cxn ang="0">
                  <a:pos x="231" y="0"/>
                </a:cxn>
                <a:cxn ang="0">
                  <a:pos x="265" y="30"/>
                </a:cxn>
                <a:cxn ang="0">
                  <a:pos x="363" y="15"/>
                </a:cxn>
                <a:cxn ang="0">
                  <a:pos x="423" y="19"/>
                </a:cxn>
                <a:cxn ang="0">
                  <a:pos x="477" y="59"/>
                </a:cxn>
                <a:cxn ang="0">
                  <a:pos x="370" y="103"/>
                </a:cxn>
              </a:cxnLst>
              <a:rect l="0" t="0" r="r" b="b"/>
              <a:pathLst>
                <a:path w="477" h="356">
                  <a:moveTo>
                    <a:pt x="370" y="103"/>
                  </a:moveTo>
                  <a:lnTo>
                    <a:pt x="405" y="118"/>
                  </a:lnTo>
                  <a:lnTo>
                    <a:pt x="402" y="245"/>
                  </a:lnTo>
                  <a:lnTo>
                    <a:pt x="366" y="260"/>
                  </a:lnTo>
                  <a:lnTo>
                    <a:pt x="350" y="289"/>
                  </a:lnTo>
                  <a:lnTo>
                    <a:pt x="271" y="304"/>
                  </a:lnTo>
                  <a:lnTo>
                    <a:pt x="275" y="332"/>
                  </a:lnTo>
                  <a:lnTo>
                    <a:pt x="255" y="356"/>
                  </a:lnTo>
                  <a:lnTo>
                    <a:pt x="212" y="243"/>
                  </a:lnTo>
                  <a:lnTo>
                    <a:pt x="158" y="280"/>
                  </a:lnTo>
                  <a:lnTo>
                    <a:pt x="113" y="288"/>
                  </a:lnTo>
                  <a:lnTo>
                    <a:pt x="0" y="269"/>
                  </a:lnTo>
                  <a:lnTo>
                    <a:pt x="52" y="231"/>
                  </a:lnTo>
                  <a:lnTo>
                    <a:pt x="162" y="192"/>
                  </a:lnTo>
                  <a:lnTo>
                    <a:pt x="177" y="166"/>
                  </a:lnTo>
                  <a:lnTo>
                    <a:pt x="139" y="132"/>
                  </a:lnTo>
                  <a:lnTo>
                    <a:pt x="101" y="140"/>
                  </a:lnTo>
                  <a:lnTo>
                    <a:pt x="64" y="106"/>
                  </a:lnTo>
                  <a:lnTo>
                    <a:pt x="86" y="76"/>
                  </a:lnTo>
                  <a:lnTo>
                    <a:pt x="79" y="34"/>
                  </a:lnTo>
                  <a:lnTo>
                    <a:pt x="113" y="8"/>
                  </a:lnTo>
                  <a:lnTo>
                    <a:pt x="154" y="49"/>
                  </a:lnTo>
                  <a:lnTo>
                    <a:pt x="173" y="15"/>
                  </a:lnTo>
                  <a:lnTo>
                    <a:pt x="231" y="0"/>
                  </a:lnTo>
                  <a:lnTo>
                    <a:pt x="265" y="30"/>
                  </a:lnTo>
                  <a:lnTo>
                    <a:pt x="363" y="15"/>
                  </a:lnTo>
                  <a:lnTo>
                    <a:pt x="423" y="19"/>
                  </a:lnTo>
                  <a:lnTo>
                    <a:pt x="477" y="59"/>
                  </a:lnTo>
                  <a:lnTo>
                    <a:pt x="370" y="10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eform 63"/>
            <p:cNvSpPr>
              <a:spLocks noChangeAspect="1"/>
            </p:cNvSpPr>
            <p:nvPr/>
          </p:nvSpPr>
          <p:spPr bwMode="auto">
            <a:xfrm>
              <a:off x="2536731" y="2971957"/>
              <a:ext cx="279561" cy="211220"/>
            </a:xfrm>
            <a:custGeom>
              <a:avLst/>
              <a:gdLst/>
              <a:ahLst/>
              <a:cxnLst>
                <a:cxn ang="0">
                  <a:pos x="370" y="103"/>
                </a:cxn>
                <a:cxn ang="0">
                  <a:pos x="405" y="118"/>
                </a:cxn>
                <a:cxn ang="0">
                  <a:pos x="402" y="245"/>
                </a:cxn>
                <a:cxn ang="0">
                  <a:pos x="366" y="260"/>
                </a:cxn>
                <a:cxn ang="0">
                  <a:pos x="350" y="289"/>
                </a:cxn>
                <a:cxn ang="0">
                  <a:pos x="271" y="304"/>
                </a:cxn>
                <a:cxn ang="0">
                  <a:pos x="275" y="332"/>
                </a:cxn>
                <a:cxn ang="0">
                  <a:pos x="255" y="356"/>
                </a:cxn>
                <a:cxn ang="0">
                  <a:pos x="212" y="243"/>
                </a:cxn>
                <a:cxn ang="0">
                  <a:pos x="158" y="280"/>
                </a:cxn>
                <a:cxn ang="0">
                  <a:pos x="113" y="288"/>
                </a:cxn>
                <a:cxn ang="0">
                  <a:pos x="0" y="269"/>
                </a:cxn>
                <a:cxn ang="0">
                  <a:pos x="52" y="231"/>
                </a:cxn>
                <a:cxn ang="0">
                  <a:pos x="162" y="192"/>
                </a:cxn>
                <a:cxn ang="0">
                  <a:pos x="177" y="166"/>
                </a:cxn>
                <a:cxn ang="0">
                  <a:pos x="139" y="132"/>
                </a:cxn>
                <a:cxn ang="0">
                  <a:pos x="101" y="140"/>
                </a:cxn>
                <a:cxn ang="0">
                  <a:pos x="64" y="106"/>
                </a:cxn>
                <a:cxn ang="0">
                  <a:pos x="86" y="76"/>
                </a:cxn>
                <a:cxn ang="0">
                  <a:pos x="79" y="34"/>
                </a:cxn>
                <a:cxn ang="0">
                  <a:pos x="113" y="8"/>
                </a:cxn>
                <a:cxn ang="0">
                  <a:pos x="154" y="49"/>
                </a:cxn>
                <a:cxn ang="0">
                  <a:pos x="173" y="15"/>
                </a:cxn>
                <a:cxn ang="0">
                  <a:pos x="231" y="0"/>
                </a:cxn>
                <a:cxn ang="0">
                  <a:pos x="265" y="30"/>
                </a:cxn>
                <a:cxn ang="0">
                  <a:pos x="363" y="15"/>
                </a:cxn>
                <a:cxn ang="0">
                  <a:pos x="423" y="19"/>
                </a:cxn>
                <a:cxn ang="0">
                  <a:pos x="477" y="59"/>
                </a:cxn>
              </a:cxnLst>
              <a:rect l="0" t="0" r="r" b="b"/>
              <a:pathLst>
                <a:path w="477" h="356">
                  <a:moveTo>
                    <a:pt x="370" y="103"/>
                  </a:moveTo>
                  <a:lnTo>
                    <a:pt x="405" y="118"/>
                  </a:lnTo>
                  <a:lnTo>
                    <a:pt x="402" y="245"/>
                  </a:lnTo>
                  <a:lnTo>
                    <a:pt x="366" y="260"/>
                  </a:lnTo>
                  <a:lnTo>
                    <a:pt x="350" y="289"/>
                  </a:lnTo>
                  <a:lnTo>
                    <a:pt x="271" y="304"/>
                  </a:lnTo>
                  <a:lnTo>
                    <a:pt x="275" y="332"/>
                  </a:lnTo>
                  <a:lnTo>
                    <a:pt x="255" y="356"/>
                  </a:lnTo>
                  <a:lnTo>
                    <a:pt x="212" y="243"/>
                  </a:lnTo>
                  <a:lnTo>
                    <a:pt x="158" y="280"/>
                  </a:lnTo>
                  <a:lnTo>
                    <a:pt x="113" y="288"/>
                  </a:lnTo>
                  <a:lnTo>
                    <a:pt x="0" y="269"/>
                  </a:lnTo>
                  <a:lnTo>
                    <a:pt x="52" y="231"/>
                  </a:lnTo>
                  <a:lnTo>
                    <a:pt x="162" y="192"/>
                  </a:lnTo>
                  <a:lnTo>
                    <a:pt x="177" y="166"/>
                  </a:lnTo>
                  <a:lnTo>
                    <a:pt x="139" y="132"/>
                  </a:lnTo>
                  <a:lnTo>
                    <a:pt x="101" y="140"/>
                  </a:lnTo>
                  <a:lnTo>
                    <a:pt x="64" y="106"/>
                  </a:lnTo>
                  <a:lnTo>
                    <a:pt x="86" y="76"/>
                  </a:lnTo>
                  <a:lnTo>
                    <a:pt x="79" y="34"/>
                  </a:lnTo>
                  <a:lnTo>
                    <a:pt x="113" y="8"/>
                  </a:lnTo>
                  <a:lnTo>
                    <a:pt x="154" y="49"/>
                  </a:lnTo>
                  <a:lnTo>
                    <a:pt x="173" y="15"/>
                  </a:lnTo>
                  <a:lnTo>
                    <a:pt x="231" y="0"/>
                  </a:lnTo>
                  <a:lnTo>
                    <a:pt x="265" y="30"/>
                  </a:lnTo>
                  <a:lnTo>
                    <a:pt x="363" y="15"/>
                  </a:lnTo>
                  <a:lnTo>
                    <a:pt x="423" y="19"/>
                  </a:lnTo>
                  <a:lnTo>
                    <a:pt x="477" y="59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Freeform 64"/>
            <p:cNvSpPr>
              <a:spLocks noChangeAspect="1"/>
            </p:cNvSpPr>
            <p:nvPr/>
          </p:nvSpPr>
          <p:spPr bwMode="auto">
            <a:xfrm>
              <a:off x="1713872" y="2961307"/>
              <a:ext cx="161758" cy="120697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98" y="0"/>
                </a:cxn>
                <a:cxn ang="0">
                  <a:pos x="154" y="30"/>
                </a:cxn>
                <a:cxn ang="0">
                  <a:pos x="192" y="30"/>
                </a:cxn>
                <a:cxn ang="0">
                  <a:pos x="233" y="68"/>
                </a:cxn>
                <a:cxn ang="0">
                  <a:pos x="278" y="121"/>
                </a:cxn>
                <a:cxn ang="0">
                  <a:pos x="248" y="177"/>
                </a:cxn>
                <a:cxn ang="0">
                  <a:pos x="200" y="201"/>
                </a:cxn>
                <a:cxn ang="0">
                  <a:pos x="141" y="206"/>
                </a:cxn>
                <a:cxn ang="0">
                  <a:pos x="131" y="160"/>
                </a:cxn>
                <a:cxn ang="0">
                  <a:pos x="108" y="120"/>
                </a:cxn>
                <a:cxn ang="0">
                  <a:pos x="45" y="101"/>
                </a:cxn>
                <a:cxn ang="0">
                  <a:pos x="0" y="57"/>
                </a:cxn>
              </a:cxnLst>
              <a:rect l="0" t="0" r="r" b="b"/>
              <a:pathLst>
                <a:path w="278" h="206">
                  <a:moveTo>
                    <a:pt x="0" y="57"/>
                  </a:moveTo>
                  <a:lnTo>
                    <a:pt x="98" y="0"/>
                  </a:lnTo>
                  <a:lnTo>
                    <a:pt x="154" y="30"/>
                  </a:lnTo>
                  <a:lnTo>
                    <a:pt x="192" y="30"/>
                  </a:lnTo>
                  <a:lnTo>
                    <a:pt x="233" y="68"/>
                  </a:lnTo>
                  <a:lnTo>
                    <a:pt x="278" y="121"/>
                  </a:lnTo>
                  <a:lnTo>
                    <a:pt x="248" y="177"/>
                  </a:lnTo>
                  <a:lnTo>
                    <a:pt x="200" y="201"/>
                  </a:lnTo>
                  <a:lnTo>
                    <a:pt x="141" y="206"/>
                  </a:lnTo>
                  <a:lnTo>
                    <a:pt x="131" y="160"/>
                  </a:lnTo>
                  <a:lnTo>
                    <a:pt x="108" y="120"/>
                  </a:lnTo>
                  <a:lnTo>
                    <a:pt x="45" y="101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Freeform 65"/>
            <p:cNvSpPr>
              <a:spLocks noChangeAspect="1"/>
            </p:cNvSpPr>
            <p:nvPr/>
          </p:nvSpPr>
          <p:spPr bwMode="auto">
            <a:xfrm>
              <a:off x="1065080" y="1985082"/>
              <a:ext cx="31648" cy="15975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24"/>
                </a:cxn>
                <a:cxn ang="0">
                  <a:pos x="38" y="28"/>
                </a:cxn>
                <a:cxn ang="0">
                  <a:pos x="55" y="0"/>
                </a:cxn>
                <a:cxn ang="0">
                  <a:pos x="20" y="0"/>
                </a:cxn>
              </a:cxnLst>
              <a:rect l="0" t="0" r="r" b="b"/>
              <a:pathLst>
                <a:path w="55" h="28">
                  <a:moveTo>
                    <a:pt x="20" y="0"/>
                  </a:moveTo>
                  <a:lnTo>
                    <a:pt x="0" y="24"/>
                  </a:lnTo>
                  <a:lnTo>
                    <a:pt x="38" y="28"/>
                  </a:lnTo>
                  <a:lnTo>
                    <a:pt x="55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eform 66"/>
            <p:cNvSpPr>
              <a:spLocks noChangeAspect="1"/>
            </p:cNvSpPr>
            <p:nvPr/>
          </p:nvSpPr>
          <p:spPr bwMode="auto">
            <a:xfrm>
              <a:off x="1121344" y="1960232"/>
              <a:ext cx="26374" cy="603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42"/>
                </a:cxn>
                <a:cxn ang="0">
                  <a:pos x="28" y="51"/>
                </a:cxn>
                <a:cxn ang="0">
                  <a:pos x="35" y="103"/>
                </a:cxn>
                <a:cxn ang="0">
                  <a:pos x="46" y="66"/>
                </a:cxn>
                <a:cxn ang="0">
                  <a:pos x="46" y="35"/>
                </a:cxn>
                <a:cxn ang="0">
                  <a:pos x="43" y="0"/>
                </a:cxn>
                <a:cxn ang="0">
                  <a:pos x="0" y="0"/>
                </a:cxn>
              </a:cxnLst>
              <a:rect l="0" t="0" r="r" b="b"/>
              <a:pathLst>
                <a:path w="46" h="103">
                  <a:moveTo>
                    <a:pt x="0" y="0"/>
                  </a:moveTo>
                  <a:lnTo>
                    <a:pt x="4" y="42"/>
                  </a:lnTo>
                  <a:lnTo>
                    <a:pt x="28" y="51"/>
                  </a:lnTo>
                  <a:lnTo>
                    <a:pt x="35" y="103"/>
                  </a:lnTo>
                  <a:lnTo>
                    <a:pt x="46" y="66"/>
                  </a:lnTo>
                  <a:lnTo>
                    <a:pt x="46" y="35"/>
                  </a:lnTo>
                  <a:lnTo>
                    <a:pt x="4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 67"/>
            <p:cNvSpPr>
              <a:spLocks noChangeAspect="1"/>
            </p:cNvSpPr>
            <p:nvPr/>
          </p:nvSpPr>
          <p:spPr bwMode="auto">
            <a:xfrm>
              <a:off x="1163542" y="1963782"/>
              <a:ext cx="21099" cy="1952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0" y="32"/>
                </a:cxn>
                <a:cxn ang="0">
                  <a:pos x="36" y="0"/>
                </a:cxn>
                <a:cxn ang="0">
                  <a:pos x="0" y="8"/>
                </a:cxn>
              </a:cxnLst>
              <a:rect l="0" t="0" r="r" b="b"/>
              <a:pathLst>
                <a:path w="36" h="32">
                  <a:moveTo>
                    <a:pt x="0" y="8"/>
                  </a:moveTo>
                  <a:lnTo>
                    <a:pt x="20" y="32"/>
                  </a:lnTo>
                  <a:lnTo>
                    <a:pt x="36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Freeform 68"/>
            <p:cNvSpPr>
              <a:spLocks noChangeAspect="1"/>
            </p:cNvSpPr>
            <p:nvPr/>
          </p:nvSpPr>
          <p:spPr bwMode="auto">
            <a:xfrm>
              <a:off x="3387721" y="4104379"/>
              <a:ext cx="133627" cy="257369"/>
            </a:xfrm>
            <a:custGeom>
              <a:avLst/>
              <a:gdLst/>
              <a:ahLst/>
              <a:cxnLst>
                <a:cxn ang="0">
                  <a:pos x="144" y="146"/>
                </a:cxn>
                <a:cxn ang="0">
                  <a:pos x="78" y="109"/>
                </a:cxn>
                <a:cxn ang="0">
                  <a:pos x="40" y="0"/>
                </a:cxn>
                <a:cxn ang="0">
                  <a:pos x="0" y="39"/>
                </a:cxn>
                <a:cxn ang="0">
                  <a:pos x="5" y="114"/>
                </a:cxn>
                <a:cxn ang="0">
                  <a:pos x="28" y="289"/>
                </a:cxn>
                <a:cxn ang="0">
                  <a:pos x="83" y="367"/>
                </a:cxn>
                <a:cxn ang="0">
                  <a:pos x="128" y="422"/>
                </a:cxn>
                <a:cxn ang="0">
                  <a:pos x="224" y="435"/>
                </a:cxn>
                <a:cxn ang="0">
                  <a:pos x="227" y="402"/>
                </a:cxn>
                <a:cxn ang="0">
                  <a:pos x="215" y="246"/>
                </a:cxn>
                <a:cxn ang="0">
                  <a:pos x="144" y="146"/>
                </a:cxn>
              </a:cxnLst>
              <a:rect l="0" t="0" r="r" b="b"/>
              <a:pathLst>
                <a:path w="227" h="435">
                  <a:moveTo>
                    <a:pt x="144" y="146"/>
                  </a:moveTo>
                  <a:lnTo>
                    <a:pt x="78" y="109"/>
                  </a:lnTo>
                  <a:lnTo>
                    <a:pt x="40" y="0"/>
                  </a:lnTo>
                  <a:lnTo>
                    <a:pt x="0" y="39"/>
                  </a:lnTo>
                  <a:lnTo>
                    <a:pt x="5" y="114"/>
                  </a:lnTo>
                  <a:lnTo>
                    <a:pt x="28" y="289"/>
                  </a:lnTo>
                  <a:lnTo>
                    <a:pt x="83" y="367"/>
                  </a:lnTo>
                  <a:lnTo>
                    <a:pt x="128" y="422"/>
                  </a:lnTo>
                  <a:lnTo>
                    <a:pt x="224" y="435"/>
                  </a:lnTo>
                  <a:lnTo>
                    <a:pt x="227" y="402"/>
                  </a:lnTo>
                  <a:lnTo>
                    <a:pt x="215" y="246"/>
                  </a:lnTo>
                  <a:lnTo>
                    <a:pt x="144" y="14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Freeform 69"/>
            <p:cNvSpPr>
              <a:spLocks noChangeAspect="1"/>
            </p:cNvSpPr>
            <p:nvPr/>
          </p:nvSpPr>
          <p:spPr bwMode="auto">
            <a:xfrm>
              <a:off x="3387721" y="4104379"/>
              <a:ext cx="133627" cy="257369"/>
            </a:xfrm>
            <a:custGeom>
              <a:avLst/>
              <a:gdLst/>
              <a:ahLst/>
              <a:cxnLst>
                <a:cxn ang="0">
                  <a:pos x="144" y="146"/>
                </a:cxn>
                <a:cxn ang="0">
                  <a:pos x="78" y="109"/>
                </a:cxn>
                <a:cxn ang="0">
                  <a:pos x="40" y="0"/>
                </a:cxn>
                <a:cxn ang="0">
                  <a:pos x="0" y="39"/>
                </a:cxn>
                <a:cxn ang="0">
                  <a:pos x="5" y="114"/>
                </a:cxn>
                <a:cxn ang="0">
                  <a:pos x="28" y="289"/>
                </a:cxn>
                <a:cxn ang="0">
                  <a:pos x="83" y="367"/>
                </a:cxn>
                <a:cxn ang="0">
                  <a:pos x="128" y="422"/>
                </a:cxn>
                <a:cxn ang="0">
                  <a:pos x="224" y="435"/>
                </a:cxn>
                <a:cxn ang="0">
                  <a:pos x="227" y="402"/>
                </a:cxn>
                <a:cxn ang="0">
                  <a:pos x="215" y="246"/>
                </a:cxn>
                <a:cxn ang="0">
                  <a:pos x="144" y="146"/>
                </a:cxn>
              </a:cxnLst>
              <a:rect l="0" t="0" r="r" b="b"/>
              <a:pathLst>
                <a:path w="227" h="435">
                  <a:moveTo>
                    <a:pt x="144" y="146"/>
                  </a:moveTo>
                  <a:lnTo>
                    <a:pt x="78" y="109"/>
                  </a:lnTo>
                  <a:lnTo>
                    <a:pt x="40" y="0"/>
                  </a:lnTo>
                  <a:lnTo>
                    <a:pt x="0" y="39"/>
                  </a:lnTo>
                  <a:lnTo>
                    <a:pt x="5" y="114"/>
                  </a:lnTo>
                  <a:lnTo>
                    <a:pt x="28" y="289"/>
                  </a:lnTo>
                  <a:lnTo>
                    <a:pt x="83" y="367"/>
                  </a:lnTo>
                  <a:lnTo>
                    <a:pt x="128" y="422"/>
                  </a:lnTo>
                  <a:lnTo>
                    <a:pt x="224" y="435"/>
                  </a:lnTo>
                  <a:lnTo>
                    <a:pt x="227" y="402"/>
                  </a:lnTo>
                  <a:lnTo>
                    <a:pt x="215" y="246"/>
                  </a:lnTo>
                  <a:lnTo>
                    <a:pt x="144" y="146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Freeform 70"/>
            <p:cNvSpPr>
              <a:spLocks noChangeAspect="1"/>
            </p:cNvSpPr>
            <p:nvPr/>
          </p:nvSpPr>
          <p:spPr bwMode="auto">
            <a:xfrm>
              <a:off x="1254971" y="4968783"/>
              <a:ext cx="254945" cy="294643"/>
            </a:xfrm>
            <a:custGeom>
              <a:avLst/>
              <a:gdLst/>
              <a:ahLst/>
              <a:cxnLst>
                <a:cxn ang="0">
                  <a:pos x="148" y="7"/>
                </a:cxn>
                <a:cxn ang="0">
                  <a:pos x="268" y="14"/>
                </a:cxn>
                <a:cxn ang="0">
                  <a:pos x="286" y="83"/>
                </a:cxn>
                <a:cxn ang="0">
                  <a:pos x="291" y="118"/>
                </a:cxn>
                <a:cxn ang="0">
                  <a:pos x="316" y="131"/>
                </a:cxn>
                <a:cxn ang="0">
                  <a:pos x="326" y="169"/>
                </a:cxn>
                <a:cxn ang="0">
                  <a:pos x="354" y="170"/>
                </a:cxn>
                <a:cxn ang="0">
                  <a:pos x="368" y="220"/>
                </a:cxn>
                <a:cxn ang="0">
                  <a:pos x="388" y="224"/>
                </a:cxn>
                <a:cxn ang="0">
                  <a:pos x="433" y="244"/>
                </a:cxn>
                <a:cxn ang="0">
                  <a:pos x="420" y="272"/>
                </a:cxn>
                <a:cxn ang="0">
                  <a:pos x="393" y="293"/>
                </a:cxn>
                <a:cxn ang="0">
                  <a:pos x="368" y="321"/>
                </a:cxn>
                <a:cxn ang="0">
                  <a:pos x="332" y="338"/>
                </a:cxn>
                <a:cxn ang="0">
                  <a:pos x="320" y="383"/>
                </a:cxn>
                <a:cxn ang="0">
                  <a:pos x="291" y="390"/>
                </a:cxn>
                <a:cxn ang="0">
                  <a:pos x="272" y="420"/>
                </a:cxn>
                <a:cxn ang="0">
                  <a:pos x="245" y="447"/>
                </a:cxn>
                <a:cxn ang="0">
                  <a:pos x="202" y="447"/>
                </a:cxn>
                <a:cxn ang="0">
                  <a:pos x="172" y="430"/>
                </a:cxn>
                <a:cxn ang="0">
                  <a:pos x="147" y="430"/>
                </a:cxn>
                <a:cxn ang="0">
                  <a:pos x="129" y="452"/>
                </a:cxn>
                <a:cxn ang="0">
                  <a:pos x="119" y="483"/>
                </a:cxn>
                <a:cxn ang="0">
                  <a:pos x="93" y="499"/>
                </a:cxn>
                <a:cxn ang="0">
                  <a:pos x="31" y="485"/>
                </a:cxn>
                <a:cxn ang="0">
                  <a:pos x="20" y="437"/>
                </a:cxn>
                <a:cxn ang="0">
                  <a:pos x="3" y="416"/>
                </a:cxn>
                <a:cxn ang="0">
                  <a:pos x="0" y="252"/>
                </a:cxn>
                <a:cxn ang="0">
                  <a:pos x="24" y="243"/>
                </a:cxn>
                <a:cxn ang="0">
                  <a:pos x="46" y="226"/>
                </a:cxn>
                <a:cxn ang="0">
                  <a:pos x="49" y="64"/>
                </a:cxn>
                <a:cxn ang="0">
                  <a:pos x="73" y="22"/>
                </a:cxn>
                <a:cxn ang="0">
                  <a:pos x="124" y="0"/>
                </a:cxn>
                <a:cxn ang="0">
                  <a:pos x="148" y="7"/>
                </a:cxn>
              </a:cxnLst>
              <a:rect l="0" t="0" r="r" b="b"/>
              <a:pathLst>
                <a:path w="433" h="499">
                  <a:moveTo>
                    <a:pt x="148" y="7"/>
                  </a:moveTo>
                  <a:lnTo>
                    <a:pt x="268" y="14"/>
                  </a:lnTo>
                  <a:lnTo>
                    <a:pt x="286" y="83"/>
                  </a:lnTo>
                  <a:lnTo>
                    <a:pt x="291" y="118"/>
                  </a:lnTo>
                  <a:lnTo>
                    <a:pt x="316" y="131"/>
                  </a:lnTo>
                  <a:lnTo>
                    <a:pt x="326" y="169"/>
                  </a:lnTo>
                  <a:lnTo>
                    <a:pt x="354" y="170"/>
                  </a:lnTo>
                  <a:lnTo>
                    <a:pt x="368" y="220"/>
                  </a:lnTo>
                  <a:lnTo>
                    <a:pt x="388" y="224"/>
                  </a:lnTo>
                  <a:lnTo>
                    <a:pt x="433" y="244"/>
                  </a:lnTo>
                  <a:lnTo>
                    <a:pt x="420" y="272"/>
                  </a:lnTo>
                  <a:lnTo>
                    <a:pt x="393" y="293"/>
                  </a:lnTo>
                  <a:lnTo>
                    <a:pt x="368" y="321"/>
                  </a:lnTo>
                  <a:lnTo>
                    <a:pt x="332" y="338"/>
                  </a:lnTo>
                  <a:lnTo>
                    <a:pt x="320" y="383"/>
                  </a:lnTo>
                  <a:lnTo>
                    <a:pt x="291" y="390"/>
                  </a:lnTo>
                  <a:lnTo>
                    <a:pt x="272" y="420"/>
                  </a:lnTo>
                  <a:lnTo>
                    <a:pt x="245" y="447"/>
                  </a:lnTo>
                  <a:lnTo>
                    <a:pt x="202" y="447"/>
                  </a:lnTo>
                  <a:lnTo>
                    <a:pt x="172" y="430"/>
                  </a:lnTo>
                  <a:lnTo>
                    <a:pt x="147" y="430"/>
                  </a:lnTo>
                  <a:lnTo>
                    <a:pt x="129" y="452"/>
                  </a:lnTo>
                  <a:lnTo>
                    <a:pt x="119" y="483"/>
                  </a:lnTo>
                  <a:lnTo>
                    <a:pt x="93" y="499"/>
                  </a:lnTo>
                  <a:lnTo>
                    <a:pt x="31" y="485"/>
                  </a:lnTo>
                  <a:lnTo>
                    <a:pt x="20" y="437"/>
                  </a:lnTo>
                  <a:lnTo>
                    <a:pt x="3" y="416"/>
                  </a:lnTo>
                  <a:lnTo>
                    <a:pt x="0" y="252"/>
                  </a:lnTo>
                  <a:lnTo>
                    <a:pt x="24" y="243"/>
                  </a:lnTo>
                  <a:lnTo>
                    <a:pt x="46" y="226"/>
                  </a:lnTo>
                  <a:lnTo>
                    <a:pt x="49" y="64"/>
                  </a:lnTo>
                  <a:lnTo>
                    <a:pt x="73" y="22"/>
                  </a:lnTo>
                  <a:lnTo>
                    <a:pt x="124" y="0"/>
                  </a:lnTo>
                  <a:lnTo>
                    <a:pt x="148" y="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Freeform 71"/>
            <p:cNvSpPr>
              <a:spLocks noChangeAspect="1"/>
            </p:cNvSpPr>
            <p:nvPr/>
          </p:nvSpPr>
          <p:spPr bwMode="auto">
            <a:xfrm>
              <a:off x="3704205" y="4734488"/>
              <a:ext cx="1063738" cy="919427"/>
            </a:xfrm>
            <a:custGeom>
              <a:avLst/>
              <a:gdLst/>
              <a:ahLst/>
              <a:cxnLst>
                <a:cxn ang="0">
                  <a:pos x="937" y="103"/>
                </a:cxn>
                <a:cxn ang="0">
                  <a:pos x="815" y="158"/>
                </a:cxn>
                <a:cxn ang="0">
                  <a:pos x="802" y="233"/>
                </a:cxn>
                <a:cxn ang="0">
                  <a:pos x="727" y="206"/>
                </a:cxn>
                <a:cxn ang="0">
                  <a:pos x="629" y="190"/>
                </a:cxn>
                <a:cxn ang="0">
                  <a:pos x="582" y="265"/>
                </a:cxn>
                <a:cxn ang="0">
                  <a:pos x="517" y="320"/>
                </a:cxn>
                <a:cxn ang="0">
                  <a:pos x="495" y="355"/>
                </a:cxn>
                <a:cxn ang="0">
                  <a:pos x="458" y="399"/>
                </a:cxn>
                <a:cxn ang="0">
                  <a:pos x="328" y="510"/>
                </a:cxn>
                <a:cxn ang="0">
                  <a:pos x="96" y="628"/>
                </a:cxn>
                <a:cxn ang="0">
                  <a:pos x="28" y="782"/>
                </a:cxn>
                <a:cxn ang="0">
                  <a:pos x="52" y="837"/>
                </a:cxn>
                <a:cxn ang="0">
                  <a:pos x="0" y="854"/>
                </a:cxn>
                <a:cxn ang="0">
                  <a:pos x="52" y="988"/>
                </a:cxn>
                <a:cxn ang="0">
                  <a:pos x="52" y="1091"/>
                </a:cxn>
                <a:cxn ang="0">
                  <a:pos x="79" y="1193"/>
                </a:cxn>
                <a:cxn ang="0">
                  <a:pos x="35" y="1233"/>
                </a:cxn>
                <a:cxn ang="0">
                  <a:pos x="111" y="1343"/>
                </a:cxn>
                <a:cxn ang="0">
                  <a:pos x="166" y="1327"/>
                </a:cxn>
                <a:cxn ang="0">
                  <a:pos x="261" y="1305"/>
                </a:cxn>
                <a:cxn ang="0">
                  <a:pos x="451" y="1237"/>
                </a:cxn>
                <a:cxn ang="0">
                  <a:pos x="644" y="1185"/>
                </a:cxn>
                <a:cxn ang="0">
                  <a:pos x="731" y="1154"/>
                </a:cxn>
                <a:cxn ang="0">
                  <a:pos x="775" y="1170"/>
                </a:cxn>
                <a:cxn ang="0">
                  <a:pos x="878" y="1209"/>
                </a:cxn>
                <a:cxn ang="0">
                  <a:pos x="917" y="1323"/>
                </a:cxn>
                <a:cxn ang="0">
                  <a:pos x="981" y="1296"/>
                </a:cxn>
                <a:cxn ang="0">
                  <a:pos x="1044" y="1209"/>
                </a:cxn>
                <a:cxn ang="0">
                  <a:pos x="1032" y="1292"/>
                </a:cxn>
                <a:cxn ang="0">
                  <a:pos x="1036" y="1336"/>
                </a:cxn>
                <a:cxn ang="0">
                  <a:pos x="1064" y="1284"/>
                </a:cxn>
                <a:cxn ang="0">
                  <a:pos x="1071" y="1336"/>
                </a:cxn>
                <a:cxn ang="0">
                  <a:pos x="1103" y="1399"/>
                </a:cxn>
                <a:cxn ang="0">
                  <a:pos x="1130" y="1489"/>
                </a:cxn>
                <a:cxn ang="0">
                  <a:pos x="1344" y="1553"/>
                </a:cxn>
                <a:cxn ang="0">
                  <a:pos x="1553" y="1458"/>
                </a:cxn>
                <a:cxn ang="0">
                  <a:pos x="1649" y="1312"/>
                </a:cxn>
                <a:cxn ang="0">
                  <a:pos x="1763" y="1158"/>
                </a:cxn>
                <a:cxn ang="0">
                  <a:pos x="1787" y="999"/>
                </a:cxn>
                <a:cxn ang="0">
                  <a:pos x="1811" y="795"/>
                </a:cxn>
                <a:cxn ang="0">
                  <a:pos x="1728" y="632"/>
                </a:cxn>
                <a:cxn ang="0">
                  <a:pos x="1652" y="521"/>
                </a:cxn>
                <a:cxn ang="0">
                  <a:pos x="1557" y="368"/>
                </a:cxn>
                <a:cxn ang="0">
                  <a:pos x="1470" y="190"/>
                </a:cxn>
                <a:cxn ang="0">
                  <a:pos x="1463" y="55"/>
                </a:cxn>
                <a:cxn ang="0">
                  <a:pos x="1384" y="55"/>
                </a:cxn>
                <a:cxn ang="0">
                  <a:pos x="1360" y="280"/>
                </a:cxn>
                <a:cxn ang="0">
                  <a:pos x="1316" y="359"/>
                </a:cxn>
                <a:cxn ang="0">
                  <a:pos x="1213" y="316"/>
                </a:cxn>
                <a:cxn ang="0">
                  <a:pos x="1115" y="256"/>
                </a:cxn>
                <a:cxn ang="0">
                  <a:pos x="1099" y="193"/>
                </a:cxn>
                <a:cxn ang="0">
                  <a:pos x="1139" y="142"/>
                </a:cxn>
                <a:cxn ang="0">
                  <a:pos x="1095" y="75"/>
                </a:cxn>
                <a:cxn ang="0">
                  <a:pos x="968" y="35"/>
                </a:cxn>
                <a:cxn ang="0">
                  <a:pos x="894" y="48"/>
                </a:cxn>
              </a:cxnLst>
              <a:rect l="0" t="0" r="r" b="b"/>
              <a:pathLst>
                <a:path w="1814" h="1553">
                  <a:moveTo>
                    <a:pt x="926" y="63"/>
                  </a:moveTo>
                  <a:lnTo>
                    <a:pt x="937" y="103"/>
                  </a:lnTo>
                  <a:lnTo>
                    <a:pt x="850" y="114"/>
                  </a:lnTo>
                  <a:lnTo>
                    <a:pt x="815" y="158"/>
                  </a:lnTo>
                  <a:lnTo>
                    <a:pt x="810" y="186"/>
                  </a:lnTo>
                  <a:lnTo>
                    <a:pt x="802" y="233"/>
                  </a:lnTo>
                  <a:lnTo>
                    <a:pt x="747" y="245"/>
                  </a:lnTo>
                  <a:lnTo>
                    <a:pt x="727" y="206"/>
                  </a:lnTo>
                  <a:lnTo>
                    <a:pt x="700" y="173"/>
                  </a:lnTo>
                  <a:lnTo>
                    <a:pt x="629" y="190"/>
                  </a:lnTo>
                  <a:lnTo>
                    <a:pt x="617" y="233"/>
                  </a:lnTo>
                  <a:lnTo>
                    <a:pt x="582" y="265"/>
                  </a:lnTo>
                  <a:lnTo>
                    <a:pt x="541" y="284"/>
                  </a:lnTo>
                  <a:lnTo>
                    <a:pt x="517" y="320"/>
                  </a:lnTo>
                  <a:lnTo>
                    <a:pt x="517" y="355"/>
                  </a:lnTo>
                  <a:lnTo>
                    <a:pt x="495" y="355"/>
                  </a:lnTo>
                  <a:lnTo>
                    <a:pt x="471" y="320"/>
                  </a:lnTo>
                  <a:lnTo>
                    <a:pt x="458" y="399"/>
                  </a:lnTo>
                  <a:lnTo>
                    <a:pt x="392" y="482"/>
                  </a:lnTo>
                  <a:lnTo>
                    <a:pt x="328" y="510"/>
                  </a:lnTo>
                  <a:lnTo>
                    <a:pt x="166" y="557"/>
                  </a:lnTo>
                  <a:lnTo>
                    <a:pt x="96" y="628"/>
                  </a:lnTo>
                  <a:lnTo>
                    <a:pt x="17" y="637"/>
                  </a:lnTo>
                  <a:lnTo>
                    <a:pt x="28" y="782"/>
                  </a:lnTo>
                  <a:lnTo>
                    <a:pt x="59" y="806"/>
                  </a:lnTo>
                  <a:lnTo>
                    <a:pt x="52" y="837"/>
                  </a:lnTo>
                  <a:lnTo>
                    <a:pt x="4" y="806"/>
                  </a:lnTo>
                  <a:lnTo>
                    <a:pt x="0" y="854"/>
                  </a:lnTo>
                  <a:lnTo>
                    <a:pt x="24" y="937"/>
                  </a:lnTo>
                  <a:lnTo>
                    <a:pt x="52" y="988"/>
                  </a:lnTo>
                  <a:lnTo>
                    <a:pt x="52" y="1047"/>
                  </a:lnTo>
                  <a:lnTo>
                    <a:pt x="52" y="1091"/>
                  </a:lnTo>
                  <a:lnTo>
                    <a:pt x="76" y="1102"/>
                  </a:lnTo>
                  <a:lnTo>
                    <a:pt x="79" y="1193"/>
                  </a:lnTo>
                  <a:lnTo>
                    <a:pt x="52" y="1198"/>
                  </a:lnTo>
                  <a:lnTo>
                    <a:pt x="35" y="1233"/>
                  </a:lnTo>
                  <a:lnTo>
                    <a:pt x="17" y="1261"/>
                  </a:lnTo>
                  <a:lnTo>
                    <a:pt x="111" y="1343"/>
                  </a:lnTo>
                  <a:lnTo>
                    <a:pt x="151" y="1351"/>
                  </a:lnTo>
                  <a:lnTo>
                    <a:pt x="166" y="1327"/>
                  </a:lnTo>
                  <a:lnTo>
                    <a:pt x="186" y="1296"/>
                  </a:lnTo>
                  <a:lnTo>
                    <a:pt x="261" y="1305"/>
                  </a:lnTo>
                  <a:lnTo>
                    <a:pt x="420" y="1281"/>
                  </a:lnTo>
                  <a:lnTo>
                    <a:pt x="451" y="1237"/>
                  </a:lnTo>
                  <a:lnTo>
                    <a:pt x="499" y="1202"/>
                  </a:lnTo>
                  <a:lnTo>
                    <a:pt x="644" y="1185"/>
                  </a:lnTo>
                  <a:lnTo>
                    <a:pt x="672" y="1158"/>
                  </a:lnTo>
                  <a:lnTo>
                    <a:pt x="731" y="1154"/>
                  </a:lnTo>
                  <a:lnTo>
                    <a:pt x="771" y="1146"/>
                  </a:lnTo>
                  <a:lnTo>
                    <a:pt x="775" y="1170"/>
                  </a:lnTo>
                  <a:lnTo>
                    <a:pt x="843" y="1174"/>
                  </a:lnTo>
                  <a:lnTo>
                    <a:pt x="878" y="1209"/>
                  </a:lnTo>
                  <a:lnTo>
                    <a:pt x="913" y="1264"/>
                  </a:lnTo>
                  <a:lnTo>
                    <a:pt x="917" y="1323"/>
                  </a:lnTo>
                  <a:lnTo>
                    <a:pt x="944" y="1320"/>
                  </a:lnTo>
                  <a:lnTo>
                    <a:pt x="981" y="1296"/>
                  </a:lnTo>
                  <a:lnTo>
                    <a:pt x="1016" y="1257"/>
                  </a:lnTo>
                  <a:lnTo>
                    <a:pt x="1044" y="1209"/>
                  </a:lnTo>
                  <a:lnTo>
                    <a:pt x="1047" y="1248"/>
                  </a:lnTo>
                  <a:lnTo>
                    <a:pt x="1032" y="1292"/>
                  </a:lnTo>
                  <a:lnTo>
                    <a:pt x="1005" y="1327"/>
                  </a:lnTo>
                  <a:lnTo>
                    <a:pt x="1036" y="1336"/>
                  </a:lnTo>
                  <a:lnTo>
                    <a:pt x="1047" y="1305"/>
                  </a:lnTo>
                  <a:lnTo>
                    <a:pt x="1064" y="1284"/>
                  </a:lnTo>
                  <a:lnTo>
                    <a:pt x="1064" y="1305"/>
                  </a:lnTo>
                  <a:lnTo>
                    <a:pt x="1071" y="1336"/>
                  </a:lnTo>
                  <a:lnTo>
                    <a:pt x="1099" y="1364"/>
                  </a:lnTo>
                  <a:lnTo>
                    <a:pt x="1103" y="1399"/>
                  </a:lnTo>
                  <a:lnTo>
                    <a:pt x="1087" y="1446"/>
                  </a:lnTo>
                  <a:lnTo>
                    <a:pt x="1130" y="1489"/>
                  </a:lnTo>
                  <a:lnTo>
                    <a:pt x="1229" y="1529"/>
                  </a:lnTo>
                  <a:lnTo>
                    <a:pt x="1344" y="1553"/>
                  </a:lnTo>
                  <a:lnTo>
                    <a:pt x="1423" y="1522"/>
                  </a:lnTo>
                  <a:lnTo>
                    <a:pt x="1553" y="1458"/>
                  </a:lnTo>
                  <a:lnTo>
                    <a:pt x="1588" y="1360"/>
                  </a:lnTo>
                  <a:lnTo>
                    <a:pt x="1649" y="1312"/>
                  </a:lnTo>
                  <a:lnTo>
                    <a:pt x="1688" y="1229"/>
                  </a:lnTo>
                  <a:lnTo>
                    <a:pt x="1763" y="1158"/>
                  </a:lnTo>
                  <a:lnTo>
                    <a:pt x="1787" y="1126"/>
                  </a:lnTo>
                  <a:lnTo>
                    <a:pt x="1787" y="999"/>
                  </a:lnTo>
                  <a:lnTo>
                    <a:pt x="1814" y="834"/>
                  </a:lnTo>
                  <a:lnTo>
                    <a:pt x="1811" y="795"/>
                  </a:lnTo>
                  <a:lnTo>
                    <a:pt x="1755" y="719"/>
                  </a:lnTo>
                  <a:lnTo>
                    <a:pt x="1728" y="632"/>
                  </a:lnTo>
                  <a:lnTo>
                    <a:pt x="1668" y="604"/>
                  </a:lnTo>
                  <a:lnTo>
                    <a:pt x="1652" y="521"/>
                  </a:lnTo>
                  <a:lnTo>
                    <a:pt x="1561" y="475"/>
                  </a:lnTo>
                  <a:lnTo>
                    <a:pt x="1557" y="368"/>
                  </a:lnTo>
                  <a:lnTo>
                    <a:pt x="1526" y="252"/>
                  </a:lnTo>
                  <a:lnTo>
                    <a:pt x="1470" y="190"/>
                  </a:lnTo>
                  <a:lnTo>
                    <a:pt x="1439" y="103"/>
                  </a:lnTo>
                  <a:lnTo>
                    <a:pt x="1463" y="55"/>
                  </a:lnTo>
                  <a:lnTo>
                    <a:pt x="1415" y="0"/>
                  </a:lnTo>
                  <a:lnTo>
                    <a:pt x="1384" y="55"/>
                  </a:lnTo>
                  <a:lnTo>
                    <a:pt x="1356" y="90"/>
                  </a:lnTo>
                  <a:lnTo>
                    <a:pt x="1360" y="280"/>
                  </a:lnTo>
                  <a:lnTo>
                    <a:pt x="1332" y="328"/>
                  </a:lnTo>
                  <a:lnTo>
                    <a:pt x="1316" y="359"/>
                  </a:lnTo>
                  <a:lnTo>
                    <a:pt x="1261" y="359"/>
                  </a:lnTo>
                  <a:lnTo>
                    <a:pt x="1213" y="316"/>
                  </a:lnTo>
                  <a:lnTo>
                    <a:pt x="1154" y="292"/>
                  </a:lnTo>
                  <a:lnTo>
                    <a:pt x="1115" y="256"/>
                  </a:lnTo>
                  <a:lnTo>
                    <a:pt x="1079" y="241"/>
                  </a:lnTo>
                  <a:lnTo>
                    <a:pt x="1099" y="193"/>
                  </a:lnTo>
                  <a:lnTo>
                    <a:pt x="1111" y="154"/>
                  </a:lnTo>
                  <a:lnTo>
                    <a:pt x="1139" y="142"/>
                  </a:lnTo>
                  <a:lnTo>
                    <a:pt x="1158" y="87"/>
                  </a:lnTo>
                  <a:lnTo>
                    <a:pt x="1095" y="75"/>
                  </a:lnTo>
                  <a:lnTo>
                    <a:pt x="1036" y="71"/>
                  </a:lnTo>
                  <a:lnTo>
                    <a:pt x="968" y="35"/>
                  </a:lnTo>
                  <a:lnTo>
                    <a:pt x="898" y="28"/>
                  </a:lnTo>
                  <a:lnTo>
                    <a:pt x="894" y="48"/>
                  </a:lnTo>
                  <a:lnTo>
                    <a:pt x="926" y="6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Freeform 72"/>
            <p:cNvSpPr>
              <a:spLocks noChangeAspect="1"/>
            </p:cNvSpPr>
            <p:nvPr/>
          </p:nvSpPr>
          <p:spPr bwMode="auto">
            <a:xfrm>
              <a:off x="5228602" y="5511919"/>
              <a:ext cx="121319" cy="244944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17" y="52"/>
                </a:cxn>
                <a:cxn ang="0">
                  <a:pos x="41" y="107"/>
                </a:cxn>
                <a:cxn ang="0">
                  <a:pos x="64" y="150"/>
                </a:cxn>
                <a:cxn ang="0">
                  <a:pos x="44" y="210"/>
                </a:cxn>
                <a:cxn ang="0">
                  <a:pos x="0" y="261"/>
                </a:cxn>
                <a:cxn ang="0">
                  <a:pos x="4" y="296"/>
                </a:cxn>
                <a:cxn ang="0">
                  <a:pos x="20" y="396"/>
                </a:cxn>
                <a:cxn ang="0">
                  <a:pos x="64" y="414"/>
                </a:cxn>
                <a:cxn ang="0">
                  <a:pos x="76" y="348"/>
                </a:cxn>
                <a:cxn ang="0">
                  <a:pos x="120" y="304"/>
                </a:cxn>
                <a:cxn ang="0">
                  <a:pos x="190" y="265"/>
                </a:cxn>
                <a:cxn ang="0">
                  <a:pos x="206" y="214"/>
                </a:cxn>
                <a:cxn ang="0">
                  <a:pos x="202" y="173"/>
                </a:cxn>
                <a:cxn ang="0">
                  <a:pos x="127" y="173"/>
                </a:cxn>
                <a:cxn ang="0">
                  <a:pos x="123" y="114"/>
                </a:cxn>
                <a:cxn ang="0">
                  <a:pos x="100" y="114"/>
                </a:cxn>
                <a:cxn ang="0">
                  <a:pos x="72" y="103"/>
                </a:cxn>
                <a:cxn ang="0">
                  <a:pos x="76" y="43"/>
                </a:cxn>
                <a:cxn ang="0">
                  <a:pos x="59" y="8"/>
                </a:cxn>
                <a:cxn ang="0">
                  <a:pos x="17" y="0"/>
                </a:cxn>
              </a:cxnLst>
              <a:rect l="0" t="0" r="r" b="b"/>
              <a:pathLst>
                <a:path w="206" h="414">
                  <a:moveTo>
                    <a:pt x="17" y="0"/>
                  </a:moveTo>
                  <a:lnTo>
                    <a:pt x="17" y="52"/>
                  </a:lnTo>
                  <a:lnTo>
                    <a:pt x="41" y="107"/>
                  </a:lnTo>
                  <a:lnTo>
                    <a:pt x="64" y="150"/>
                  </a:lnTo>
                  <a:lnTo>
                    <a:pt x="44" y="210"/>
                  </a:lnTo>
                  <a:lnTo>
                    <a:pt x="0" y="261"/>
                  </a:lnTo>
                  <a:lnTo>
                    <a:pt x="4" y="296"/>
                  </a:lnTo>
                  <a:lnTo>
                    <a:pt x="20" y="396"/>
                  </a:lnTo>
                  <a:lnTo>
                    <a:pt x="64" y="414"/>
                  </a:lnTo>
                  <a:lnTo>
                    <a:pt x="76" y="348"/>
                  </a:lnTo>
                  <a:lnTo>
                    <a:pt x="120" y="304"/>
                  </a:lnTo>
                  <a:lnTo>
                    <a:pt x="190" y="265"/>
                  </a:lnTo>
                  <a:lnTo>
                    <a:pt x="206" y="214"/>
                  </a:lnTo>
                  <a:lnTo>
                    <a:pt x="202" y="173"/>
                  </a:lnTo>
                  <a:lnTo>
                    <a:pt x="127" y="173"/>
                  </a:lnTo>
                  <a:lnTo>
                    <a:pt x="123" y="114"/>
                  </a:lnTo>
                  <a:lnTo>
                    <a:pt x="100" y="114"/>
                  </a:lnTo>
                  <a:lnTo>
                    <a:pt x="72" y="103"/>
                  </a:lnTo>
                  <a:lnTo>
                    <a:pt x="76" y="43"/>
                  </a:lnTo>
                  <a:lnTo>
                    <a:pt x="59" y="8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Freeform 73"/>
            <p:cNvSpPr>
              <a:spLocks noChangeAspect="1"/>
            </p:cNvSpPr>
            <p:nvPr/>
          </p:nvSpPr>
          <p:spPr bwMode="auto">
            <a:xfrm>
              <a:off x="4980690" y="5712489"/>
              <a:ext cx="232088" cy="236069"/>
            </a:xfrm>
            <a:custGeom>
              <a:avLst/>
              <a:gdLst/>
              <a:ahLst/>
              <a:cxnLst>
                <a:cxn ang="0">
                  <a:pos x="309" y="4"/>
                </a:cxn>
                <a:cxn ang="0">
                  <a:pos x="302" y="67"/>
                </a:cxn>
                <a:cxn ang="0">
                  <a:pos x="238" y="98"/>
                </a:cxn>
                <a:cxn ang="0">
                  <a:pos x="191" y="162"/>
                </a:cxn>
                <a:cxn ang="0">
                  <a:pos x="76" y="214"/>
                </a:cxn>
                <a:cxn ang="0">
                  <a:pos x="0" y="284"/>
                </a:cxn>
                <a:cxn ang="0">
                  <a:pos x="17" y="332"/>
                </a:cxn>
                <a:cxn ang="0">
                  <a:pos x="84" y="398"/>
                </a:cxn>
                <a:cxn ang="0">
                  <a:pos x="171" y="324"/>
                </a:cxn>
                <a:cxn ang="0">
                  <a:pos x="199" y="257"/>
                </a:cxn>
                <a:cxn ang="0">
                  <a:pos x="261" y="209"/>
                </a:cxn>
                <a:cxn ang="0">
                  <a:pos x="298" y="209"/>
                </a:cxn>
                <a:cxn ang="0">
                  <a:pos x="317" y="154"/>
                </a:cxn>
                <a:cxn ang="0">
                  <a:pos x="357" y="107"/>
                </a:cxn>
                <a:cxn ang="0">
                  <a:pos x="396" y="67"/>
                </a:cxn>
                <a:cxn ang="0">
                  <a:pos x="381" y="15"/>
                </a:cxn>
                <a:cxn ang="0">
                  <a:pos x="357" y="43"/>
                </a:cxn>
                <a:cxn ang="0">
                  <a:pos x="353" y="0"/>
                </a:cxn>
                <a:cxn ang="0">
                  <a:pos x="309" y="4"/>
                </a:cxn>
              </a:cxnLst>
              <a:rect l="0" t="0" r="r" b="b"/>
              <a:pathLst>
                <a:path w="396" h="398">
                  <a:moveTo>
                    <a:pt x="309" y="4"/>
                  </a:moveTo>
                  <a:lnTo>
                    <a:pt x="302" y="67"/>
                  </a:lnTo>
                  <a:lnTo>
                    <a:pt x="238" y="98"/>
                  </a:lnTo>
                  <a:lnTo>
                    <a:pt x="191" y="162"/>
                  </a:lnTo>
                  <a:lnTo>
                    <a:pt x="76" y="214"/>
                  </a:lnTo>
                  <a:lnTo>
                    <a:pt x="0" y="284"/>
                  </a:lnTo>
                  <a:lnTo>
                    <a:pt x="17" y="332"/>
                  </a:lnTo>
                  <a:lnTo>
                    <a:pt x="84" y="398"/>
                  </a:lnTo>
                  <a:lnTo>
                    <a:pt x="171" y="324"/>
                  </a:lnTo>
                  <a:lnTo>
                    <a:pt x="199" y="257"/>
                  </a:lnTo>
                  <a:lnTo>
                    <a:pt x="261" y="209"/>
                  </a:lnTo>
                  <a:lnTo>
                    <a:pt x="298" y="209"/>
                  </a:lnTo>
                  <a:lnTo>
                    <a:pt x="317" y="154"/>
                  </a:lnTo>
                  <a:lnTo>
                    <a:pt x="357" y="107"/>
                  </a:lnTo>
                  <a:lnTo>
                    <a:pt x="396" y="67"/>
                  </a:lnTo>
                  <a:lnTo>
                    <a:pt x="381" y="15"/>
                  </a:lnTo>
                  <a:lnTo>
                    <a:pt x="357" y="43"/>
                  </a:lnTo>
                  <a:lnTo>
                    <a:pt x="353" y="0"/>
                  </a:lnTo>
                  <a:lnTo>
                    <a:pt x="309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 74"/>
            <p:cNvSpPr>
              <a:spLocks noChangeAspect="1"/>
            </p:cNvSpPr>
            <p:nvPr/>
          </p:nvSpPr>
          <p:spPr bwMode="auto">
            <a:xfrm>
              <a:off x="4316074" y="2906284"/>
              <a:ext cx="128352" cy="165071"/>
            </a:xfrm>
            <a:custGeom>
              <a:avLst/>
              <a:gdLst/>
              <a:ahLst/>
              <a:cxnLst>
                <a:cxn ang="0">
                  <a:pos x="35" y="22"/>
                </a:cxn>
                <a:cxn ang="0">
                  <a:pos x="47" y="83"/>
                </a:cxn>
                <a:cxn ang="0">
                  <a:pos x="51" y="134"/>
                </a:cxn>
                <a:cxn ang="0">
                  <a:pos x="23" y="184"/>
                </a:cxn>
                <a:cxn ang="0">
                  <a:pos x="0" y="228"/>
                </a:cxn>
                <a:cxn ang="0">
                  <a:pos x="27" y="252"/>
                </a:cxn>
                <a:cxn ang="0">
                  <a:pos x="79" y="232"/>
                </a:cxn>
                <a:cxn ang="0">
                  <a:pos x="130" y="245"/>
                </a:cxn>
                <a:cxn ang="0">
                  <a:pos x="130" y="245"/>
                </a:cxn>
                <a:cxn ang="0">
                  <a:pos x="141" y="265"/>
                </a:cxn>
                <a:cxn ang="0">
                  <a:pos x="150" y="276"/>
                </a:cxn>
                <a:cxn ang="0">
                  <a:pos x="153" y="277"/>
                </a:cxn>
                <a:cxn ang="0">
                  <a:pos x="154" y="277"/>
                </a:cxn>
                <a:cxn ang="0">
                  <a:pos x="154" y="276"/>
                </a:cxn>
                <a:cxn ang="0">
                  <a:pos x="154" y="276"/>
                </a:cxn>
                <a:cxn ang="0">
                  <a:pos x="155" y="270"/>
                </a:cxn>
                <a:cxn ang="0">
                  <a:pos x="159" y="261"/>
                </a:cxn>
                <a:cxn ang="0">
                  <a:pos x="169" y="238"/>
                </a:cxn>
                <a:cxn ang="0">
                  <a:pos x="185" y="208"/>
                </a:cxn>
                <a:cxn ang="0">
                  <a:pos x="217" y="193"/>
                </a:cxn>
                <a:cxn ang="0">
                  <a:pos x="209" y="134"/>
                </a:cxn>
                <a:cxn ang="0">
                  <a:pos x="161" y="118"/>
                </a:cxn>
                <a:cxn ang="0">
                  <a:pos x="95" y="94"/>
                </a:cxn>
                <a:cxn ang="0">
                  <a:pos x="75" y="42"/>
                </a:cxn>
                <a:cxn ang="0">
                  <a:pos x="55" y="0"/>
                </a:cxn>
                <a:cxn ang="0">
                  <a:pos x="35" y="22"/>
                </a:cxn>
              </a:cxnLst>
              <a:rect l="0" t="0" r="r" b="b"/>
              <a:pathLst>
                <a:path w="217" h="277">
                  <a:moveTo>
                    <a:pt x="35" y="22"/>
                  </a:moveTo>
                  <a:lnTo>
                    <a:pt x="47" y="83"/>
                  </a:lnTo>
                  <a:lnTo>
                    <a:pt x="51" y="134"/>
                  </a:lnTo>
                  <a:lnTo>
                    <a:pt x="23" y="184"/>
                  </a:lnTo>
                  <a:lnTo>
                    <a:pt x="0" y="228"/>
                  </a:lnTo>
                  <a:lnTo>
                    <a:pt x="27" y="252"/>
                  </a:lnTo>
                  <a:lnTo>
                    <a:pt x="79" y="232"/>
                  </a:lnTo>
                  <a:lnTo>
                    <a:pt x="130" y="245"/>
                  </a:lnTo>
                  <a:lnTo>
                    <a:pt x="130" y="245"/>
                  </a:lnTo>
                  <a:lnTo>
                    <a:pt x="141" y="265"/>
                  </a:lnTo>
                  <a:lnTo>
                    <a:pt x="150" y="276"/>
                  </a:lnTo>
                  <a:lnTo>
                    <a:pt x="153" y="277"/>
                  </a:lnTo>
                  <a:lnTo>
                    <a:pt x="154" y="277"/>
                  </a:lnTo>
                  <a:lnTo>
                    <a:pt x="154" y="276"/>
                  </a:lnTo>
                  <a:lnTo>
                    <a:pt x="154" y="276"/>
                  </a:lnTo>
                  <a:lnTo>
                    <a:pt x="155" y="270"/>
                  </a:lnTo>
                  <a:lnTo>
                    <a:pt x="159" y="261"/>
                  </a:lnTo>
                  <a:lnTo>
                    <a:pt x="169" y="238"/>
                  </a:lnTo>
                  <a:lnTo>
                    <a:pt x="185" y="208"/>
                  </a:lnTo>
                  <a:lnTo>
                    <a:pt x="217" y="193"/>
                  </a:lnTo>
                  <a:lnTo>
                    <a:pt x="209" y="134"/>
                  </a:lnTo>
                  <a:lnTo>
                    <a:pt x="161" y="118"/>
                  </a:lnTo>
                  <a:lnTo>
                    <a:pt x="95" y="94"/>
                  </a:lnTo>
                  <a:lnTo>
                    <a:pt x="75" y="42"/>
                  </a:lnTo>
                  <a:lnTo>
                    <a:pt x="55" y="0"/>
                  </a:lnTo>
                  <a:lnTo>
                    <a:pt x="35" y="2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eform 75"/>
            <p:cNvSpPr>
              <a:spLocks noChangeAspect="1"/>
            </p:cNvSpPr>
            <p:nvPr/>
          </p:nvSpPr>
          <p:spPr bwMode="auto">
            <a:xfrm>
              <a:off x="4163106" y="3087329"/>
              <a:ext cx="249671" cy="264468"/>
            </a:xfrm>
            <a:custGeom>
              <a:avLst/>
              <a:gdLst/>
              <a:ahLst/>
              <a:cxnLst>
                <a:cxn ang="0">
                  <a:pos x="317" y="0"/>
                </a:cxn>
                <a:cxn ang="0">
                  <a:pos x="361" y="0"/>
                </a:cxn>
                <a:cxn ang="0">
                  <a:pos x="376" y="75"/>
                </a:cxn>
                <a:cxn ang="0">
                  <a:pos x="392" y="106"/>
                </a:cxn>
                <a:cxn ang="0">
                  <a:pos x="427" y="141"/>
                </a:cxn>
                <a:cxn ang="0">
                  <a:pos x="372" y="189"/>
                </a:cxn>
                <a:cxn ang="0">
                  <a:pos x="396" y="272"/>
                </a:cxn>
                <a:cxn ang="0">
                  <a:pos x="385" y="324"/>
                </a:cxn>
                <a:cxn ang="0">
                  <a:pos x="361" y="351"/>
                </a:cxn>
                <a:cxn ang="0">
                  <a:pos x="337" y="359"/>
                </a:cxn>
                <a:cxn ang="0">
                  <a:pos x="321" y="399"/>
                </a:cxn>
                <a:cxn ang="0">
                  <a:pos x="289" y="362"/>
                </a:cxn>
                <a:cxn ang="0">
                  <a:pos x="274" y="383"/>
                </a:cxn>
                <a:cxn ang="0">
                  <a:pos x="214" y="386"/>
                </a:cxn>
                <a:cxn ang="0">
                  <a:pos x="203" y="359"/>
                </a:cxn>
                <a:cxn ang="0">
                  <a:pos x="179" y="367"/>
                </a:cxn>
                <a:cxn ang="0">
                  <a:pos x="179" y="438"/>
                </a:cxn>
                <a:cxn ang="0">
                  <a:pos x="147" y="419"/>
                </a:cxn>
                <a:cxn ang="0">
                  <a:pos x="127" y="390"/>
                </a:cxn>
                <a:cxn ang="0">
                  <a:pos x="116" y="438"/>
                </a:cxn>
                <a:cxn ang="0">
                  <a:pos x="88" y="447"/>
                </a:cxn>
                <a:cxn ang="0">
                  <a:pos x="61" y="410"/>
                </a:cxn>
                <a:cxn ang="0">
                  <a:pos x="24" y="406"/>
                </a:cxn>
                <a:cxn ang="0">
                  <a:pos x="0" y="386"/>
                </a:cxn>
                <a:cxn ang="0">
                  <a:pos x="37" y="351"/>
                </a:cxn>
                <a:cxn ang="0">
                  <a:pos x="76" y="327"/>
                </a:cxn>
                <a:cxn ang="0">
                  <a:pos x="103" y="303"/>
                </a:cxn>
                <a:cxn ang="0">
                  <a:pos x="175" y="312"/>
                </a:cxn>
                <a:cxn ang="0">
                  <a:pos x="179" y="265"/>
                </a:cxn>
                <a:cxn ang="0">
                  <a:pos x="195" y="224"/>
                </a:cxn>
                <a:cxn ang="0">
                  <a:pos x="218" y="237"/>
                </a:cxn>
                <a:cxn ang="0">
                  <a:pos x="282" y="228"/>
                </a:cxn>
                <a:cxn ang="0">
                  <a:pos x="289" y="193"/>
                </a:cxn>
                <a:cxn ang="0">
                  <a:pos x="289" y="138"/>
                </a:cxn>
                <a:cxn ang="0">
                  <a:pos x="309" y="106"/>
                </a:cxn>
                <a:cxn ang="0">
                  <a:pos x="293" y="31"/>
                </a:cxn>
                <a:cxn ang="0">
                  <a:pos x="317" y="0"/>
                </a:cxn>
              </a:cxnLst>
              <a:rect l="0" t="0" r="r" b="b"/>
              <a:pathLst>
                <a:path w="427" h="447">
                  <a:moveTo>
                    <a:pt x="317" y="0"/>
                  </a:moveTo>
                  <a:lnTo>
                    <a:pt x="361" y="0"/>
                  </a:lnTo>
                  <a:lnTo>
                    <a:pt x="376" y="75"/>
                  </a:lnTo>
                  <a:lnTo>
                    <a:pt x="392" y="106"/>
                  </a:lnTo>
                  <a:lnTo>
                    <a:pt x="427" y="141"/>
                  </a:lnTo>
                  <a:lnTo>
                    <a:pt x="372" y="189"/>
                  </a:lnTo>
                  <a:lnTo>
                    <a:pt x="396" y="272"/>
                  </a:lnTo>
                  <a:lnTo>
                    <a:pt x="385" y="324"/>
                  </a:lnTo>
                  <a:lnTo>
                    <a:pt x="361" y="351"/>
                  </a:lnTo>
                  <a:lnTo>
                    <a:pt x="337" y="359"/>
                  </a:lnTo>
                  <a:lnTo>
                    <a:pt x="321" y="399"/>
                  </a:lnTo>
                  <a:lnTo>
                    <a:pt x="289" y="362"/>
                  </a:lnTo>
                  <a:lnTo>
                    <a:pt x="274" y="383"/>
                  </a:lnTo>
                  <a:lnTo>
                    <a:pt x="214" y="386"/>
                  </a:lnTo>
                  <a:lnTo>
                    <a:pt x="203" y="359"/>
                  </a:lnTo>
                  <a:lnTo>
                    <a:pt x="179" y="367"/>
                  </a:lnTo>
                  <a:lnTo>
                    <a:pt x="179" y="438"/>
                  </a:lnTo>
                  <a:lnTo>
                    <a:pt x="147" y="419"/>
                  </a:lnTo>
                  <a:lnTo>
                    <a:pt x="127" y="390"/>
                  </a:lnTo>
                  <a:lnTo>
                    <a:pt x="116" y="438"/>
                  </a:lnTo>
                  <a:lnTo>
                    <a:pt x="88" y="447"/>
                  </a:lnTo>
                  <a:lnTo>
                    <a:pt x="61" y="410"/>
                  </a:lnTo>
                  <a:lnTo>
                    <a:pt x="24" y="406"/>
                  </a:lnTo>
                  <a:lnTo>
                    <a:pt x="0" y="386"/>
                  </a:lnTo>
                  <a:lnTo>
                    <a:pt x="37" y="351"/>
                  </a:lnTo>
                  <a:lnTo>
                    <a:pt x="76" y="327"/>
                  </a:lnTo>
                  <a:lnTo>
                    <a:pt x="103" y="303"/>
                  </a:lnTo>
                  <a:lnTo>
                    <a:pt x="175" y="312"/>
                  </a:lnTo>
                  <a:lnTo>
                    <a:pt x="179" y="265"/>
                  </a:lnTo>
                  <a:lnTo>
                    <a:pt x="195" y="224"/>
                  </a:lnTo>
                  <a:lnTo>
                    <a:pt x="218" y="237"/>
                  </a:lnTo>
                  <a:lnTo>
                    <a:pt x="282" y="228"/>
                  </a:lnTo>
                  <a:lnTo>
                    <a:pt x="289" y="193"/>
                  </a:lnTo>
                  <a:lnTo>
                    <a:pt x="289" y="138"/>
                  </a:lnTo>
                  <a:lnTo>
                    <a:pt x="309" y="106"/>
                  </a:lnTo>
                  <a:lnTo>
                    <a:pt x="293" y="31"/>
                  </a:lnTo>
                  <a:lnTo>
                    <a:pt x="317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 76"/>
            <p:cNvSpPr>
              <a:spLocks noChangeAspect="1"/>
            </p:cNvSpPr>
            <p:nvPr/>
          </p:nvSpPr>
          <p:spPr bwMode="auto">
            <a:xfrm>
              <a:off x="4189480" y="3362448"/>
              <a:ext cx="29890" cy="28399"/>
            </a:xfrm>
            <a:custGeom>
              <a:avLst/>
              <a:gdLst/>
              <a:ahLst/>
              <a:cxnLst>
                <a:cxn ang="0">
                  <a:pos x="4" y="17"/>
                </a:cxn>
                <a:cxn ang="0">
                  <a:pos x="0" y="48"/>
                </a:cxn>
                <a:cxn ang="0">
                  <a:pos x="28" y="48"/>
                </a:cxn>
                <a:cxn ang="0">
                  <a:pos x="52" y="17"/>
                </a:cxn>
                <a:cxn ang="0">
                  <a:pos x="24" y="0"/>
                </a:cxn>
                <a:cxn ang="0">
                  <a:pos x="4" y="4"/>
                </a:cxn>
                <a:cxn ang="0">
                  <a:pos x="4" y="17"/>
                </a:cxn>
              </a:cxnLst>
              <a:rect l="0" t="0" r="r" b="b"/>
              <a:pathLst>
                <a:path w="52" h="48">
                  <a:moveTo>
                    <a:pt x="4" y="17"/>
                  </a:moveTo>
                  <a:lnTo>
                    <a:pt x="0" y="48"/>
                  </a:lnTo>
                  <a:lnTo>
                    <a:pt x="28" y="48"/>
                  </a:lnTo>
                  <a:lnTo>
                    <a:pt x="52" y="17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1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77"/>
            <p:cNvSpPr>
              <a:spLocks noChangeAspect="1"/>
            </p:cNvSpPr>
            <p:nvPr/>
          </p:nvSpPr>
          <p:spPr bwMode="auto">
            <a:xfrm>
              <a:off x="4189480" y="3362448"/>
              <a:ext cx="29890" cy="28399"/>
            </a:xfrm>
            <a:custGeom>
              <a:avLst/>
              <a:gdLst/>
              <a:ahLst/>
              <a:cxnLst>
                <a:cxn ang="0">
                  <a:pos x="4" y="17"/>
                </a:cxn>
                <a:cxn ang="0">
                  <a:pos x="0" y="48"/>
                </a:cxn>
                <a:cxn ang="0">
                  <a:pos x="28" y="48"/>
                </a:cxn>
                <a:cxn ang="0">
                  <a:pos x="52" y="17"/>
                </a:cxn>
                <a:cxn ang="0">
                  <a:pos x="24" y="0"/>
                </a:cxn>
                <a:cxn ang="0">
                  <a:pos x="4" y="4"/>
                </a:cxn>
              </a:cxnLst>
              <a:rect l="0" t="0" r="r" b="b"/>
              <a:pathLst>
                <a:path w="52" h="48">
                  <a:moveTo>
                    <a:pt x="4" y="17"/>
                  </a:moveTo>
                  <a:lnTo>
                    <a:pt x="0" y="48"/>
                  </a:lnTo>
                  <a:lnTo>
                    <a:pt x="28" y="48"/>
                  </a:lnTo>
                  <a:lnTo>
                    <a:pt x="52" y="17"/>
                  </a:lnTo>
                  <a:lnTo>
                    <a:pt x="24" y="0"/>
                  </a:lnTo>
                  <a:lnTo>
                    <a:pt x="4" y="4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Freeform 78"/>
            <p:cNvSpPr>
              <a:spLocks noChangeAspect="1"/>
            </p:cNvSpPr>
            <p:nvPr/>
          </p:nvSpPr>
          <p:spPr bwMode="auto">
            <a:xfrm>
              <a:off x="4103326" y="3339373"/>
              <a:ext cx="63297" cy="97623"/>
            </a:xfrm>
            <a:custGeom>
              <a:avLst/>
              <a:gdLst/>
              <a:ahLst/>
              <a:cxnLst>
                <a:cxn ang="0">
                  <a:pos x="46" y="16"/>
                </a:cxn>
                <a:cxn ang="0">
                  <a:pos x="27" y="48"/>
                </a:cxn>
                <a:cxn ang="0">
                  <a:pos x="0" y="63"/>
                </a:cxn>
                <a:cxn ang="0">
                  <a:pos x="22" y="111"/>
                </a:cxn>
                <a:cxn ang="0">
                  <a:pos x="46" y="87"/>
                </a:cxn>
                <a:cxn ang="0">
                  <a:pos x="66" y="95"/>
                </a:cxn>
                <a:cxn ang="0">
                  <a:pos x="59" y="127"/>
                </a:cxn>
                <a:cxn ang="0">
                  <a:pos x="78" y="166"/>
                </a:cxn>
                <a:cxn ang="0">
                  <a:pos x="106" y="146"/>
                </a:cxn>
                <a:cxn ang="0">
                  <a:pos x="106" y="98"/>
                </a:cxn>
                <a:cxn ang="0">
                  <a:pos x="98" y="24"/>
                </a:cxn>
                <a:cxn ang="0">
                  <a:pos x="83" y="0"/>
                </a:cxn>
                <a:cxn ang="0">
                  <a:pos x="46" y="16"/>
                </a:cxn>
              </a:cxnLst>
              <a:rect l="0" t="0" r="r" b="b"/>
              <a:pathLst>
                <a:path w="106" h="166">
                  <a:moveTo>
                    <a:pt x="46" y="16"/>
                  </a:moveTo>
                  <a:lnTo>
                    <a:pt x="27" y="48"/>
                  </a:lnTo>
                  <a:lnTo>
                    <a:pt x="0" y="63"/>
                  </a:lnTo>
                  <a:lnTo>
                    <a:pt x="22" y="111"/>
                  </a:lnTo>
                  <a:lnTo>
                    <a:pt x="46" y="87"/>
                  </a:lnTo>
                  <a:lnTo>
                    <a:pt x="66" y="95"/>
                  </a:lnTo>
                  <a:lnTo>
                    <a:pt x="59" y="127"/>
                  </a:lnTo>
                  <a:lnTo>
                    <a:pt x="78" y="166"/>
                  </a:lnTo>
                  <a:lnTo>
                    <a:pt x="106" y="146"/>
                  </a:lnTo>
                  <a:lnTo>
                    <a:pt x="106" y="98"/>
                  </a:lnTo>
                  <a:lnTo>
                    <a:pt x="98" y="24"/>
                  </a:lnTo>
                  <a:lnTo>
                    <a:pt x="83" y="0"/>
                  </a:lnTo>
                  <a:lnTo>
                    <a:pt x="46" y="1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Freeform 79"/>
            <p:cNvSpPr>
              <a:spLocks noChangeAspect="1"/>
            </p:cNvSpPr>
            <p:nvPr/>
          </p:nvSpPr>
          <p:spPr bwMode="auto">
            <a:xfrm>
              <a:off x="5080910" y="5052206"/>
              <a:ext cx="66813" cy="55024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0" y="17"/>
                </a:cxn>
                <a:cxn ang="0">
                  <a:pos x="24" y="44"/>
                </a:cxn>
                <a:cxn ang="0">
                  <a:pos x="59" y="72"/>
                </a:cxn>
                <a:cxn ang="0">
                  <a:pos x="103" y="91"/>
                </a:cxn>
                <a:cxn ang="0">
                  <a:pos x="114" y="63"/>
                </a:cxn>
                <a:cxn ang="0">
                  <a:pos x="83" y="17"/>
                </a:cxn>
                <a:cxn ang="0">
                  <a:pos x="35" y="0"/>
                </a:cxn>
              </a:cxnLst>
              <a:rect l="0" t="0" r="r" b="b"/>
              <a:pathLst>
                <a:path w="114" h="91">
                  <a:moveTo>
                    <a:pt x="35" y="0"/>
                  </a:moveTo>
                  <a:lnTo>
                    <a:pt x="0" y="17"/>
                  </a:lnTo>
                  <a:lnTo>
                    <a:pt x="24" y="44"/>
                  </a:lnTo>
                  <a:lnTo>
                    <a:pt x="59" y="72"/>
                  </a:lnTo>
                  <a:lnTo>
                    <a:pt x="103" y="91"/>
                  </a:lnTo>
                  <a:lnTo>
                    <a:pt x="114" y="63"/>
                  </a:lnTo>
                  <a:lnTo>
                    <a:pt x="83" y="17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 80"/>
            <p:cNvSpPr>
              <a:spLocks noChangeAspect="1"/>
            </p:cNvSpPr>
            <p:nvPr/>
          </p:nvSpPr>
          <p:spPr bwMode="auto">
            <a:xfrm>
              <a:off x="968377" y="1449045"/>
              <a:ext cx="304176" cy="182820"/>
            </a:xfrm>
            <a:custGeom>
              <a:avLst/>
              <a:gdLst/>
              <a:ahLst/>
              <a:cxnLst>
                <a:cxn ang="0">
                  <a:pos x="204" y="8"/>
                </a:cxn>
                <a:cxn ang="0">
                  <a:pos x="189" y="71"/>
                </a:cxn>
                <a:cxn ang="0">
                  <a:pos x="134" y="32"/>
                </a:cxn>
                <a:cxn ang="0">
                  <a:pos x="86" y="63"/>
                </a:cxn>
                <a:cxn ang="0">
                  <a:pos x="63" y="8"/>
                </a:cxn>
                <a:cxn ang="0">
                  <a:pos x="0" y="56"/>
                </a:cxn>
                <a:cxn ang="0">
                  <a:pos x="15" y="87"/>
                </a:cxn>
                <a:cxn ang="0">
                  <a:pos x="24" y="142"/>
                </a:cxn>
                <a:cxn ang="0">
                  <a:pos x="94" y="150"/>
                </a:cxn>
                <a:cxn ang="0">
                  <a:pos x="134" y="111"/>
                </a:cxn>
                <a:cxn ang="0">
                  <a:pos x="166" y="118"/>
                </a:cxn>
                <a:cxn ang="0">
                  <a:pos x="149" y="166"/>
                </a:cxn>
                <a:cxn ang="0">
                  <a:pos x="142" y="205"/>
                </a:cxn>
                <a:cxn ang="0">
                  <a:pos x="182" y="236"/>
                </a:cxn>
                <a:cxn ang="0">
                  <a:pos x="213" y="293"/>
                </a:cxn>
                <a:cxn ang="0">
                  <a:pos x="261" y="308"/>
                </a:cxn>
                <a:cxn ang="0">
                  <a:pos x="276" y="229"/>
                </a:cxn>
                <a:cxn ang="0">
                  <a:pos x="339" y="159"/>
                </a:cxn>
                <a:cxn ang="0">
                  <a:pos x="379" y="181"/>
                </a:cxn>
                <a:cxn ang="0">
                  <a:pos x="379" y="236"/>
                </a:cxn>
                <a:cxn ang="0">
                  <a:pos x="458" y="229"/>
                </a:cxn>
                <a:cxn ang="0">
                  <a:pos x="489" y="245"/>
                </a:cxn>
                <a:cxn ang="0">
                  <a:pos x="521" y="190"/>
                </a:cxn>
                <a:cxn ang="0">
                  <a:pos x="339" y="94"/>
                </a:cxn>
                <a:cxn ang="0">
                  <a:pos x="284" y="0"/>
                </a:cxn>
                <a:cxn ang="0">
                  <a:pos x="204" y="8"/>
                </a:cxn>
              </a:cxnLst>
              <a:rect l="0" t="0" r="r" b="b"/>
              <a:pathLst>
                <a:path w="521" h="308">
                  <a:moveTo>
                    <a:pt x="204" y="8"/>
                  </a:moveTo>
                  <a:lnTo>
                    <a:pt x="189" y="71"/>
                  </a:lnTo>
                  <a:lnTo>
                    <a:pt x="134" y="32"/>
                  </a:lnTo>
                  <a:lnTo>
                    <a:pt x="86" y="63"/>
                  </a:lnTo>
                  <a:lnTo>
                    <a:pt x="63" y="8"/>
                  </a:lnTo>
                  <a:lnTo>
                    <a:pt x="0" y="56"/>
                  </a:lnTo>
                  <a:lnTo>
                    <a:pt x="15" y="87"/>
                  </a:lnTo>
                  <a:lnTo>
                    <a:pt x="24" y="142"/>
                  </a:lnTo>
                  <a:lnTo>
                    <a:pt x="94" y="150"/>
                  </a:lnTo>
                  <a:lnTo>
                    <a:pt x="134" y="111"/>
                  </a:lnTo>
                  <a:lnTo>
                    <a:pt x="166" y="118"/>
                  </a:lnTo>
                  <a:lnTo>
                    <a:pt x="149" y="166"/>
                  </a:lnTo>
                  <a:lnTo>
                    <a:pt x="142" y="205"/>
                  </a:lnTo>
                  <a:lnTo>
                    <a:pt x="182" y="236"/>
                  </a:lnTo>
                  <a:lnTo>
                    <a:pt x="213" y="293"/>
                  </a:lnTo>
                  <a:lnTo>
                    <a:pt x="261" y="308"/>
                  </a:lnTo>
                  <a:lnTo>
                    <a:pt x="276" y="229"/>
                  </a:lnTo>
                  <a:lnTo>
                    <a:pt x="339" y="159"/>
                  </a:lnTo>
                  <a:lnTo>
                    <a:pt x="379" y="181"/>
                  </a:lnTo>
                  <a:lnTo>
                    <a:pt x="379" y="236"/>
                  </a:lnTo>
                  <a:lnTo>
                    <a:pt x="458" y="229"/>
                  </a:lnTo>
                  <a:lnTo>
                    <a:pt x="489" y="245"/>
                  </a:lnTo>
                  <a:lnTo>
                    <a:pt x="521" y="190"/>
                  </a:lnTo>
                  <a:lnTo>
                    <a:pt x="339" y="94"/>
                  </a:lnTo>
                  <a:lnTo>
                    <a:pt x="284" y="0"/>
                  </a:lnTo>
                  <a:lnTo>
                    <a:pt x="204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 81"/>
            <p:cNvSpPr>
              <a:spLocks noChangeAspect="1"/>
            </p:cNvSpPr>
            <p:nvPr/>
          </p:nvSpPr>
          <p:spPr bwMode="auto">
            <a:xfrm>
              <a:off x="1172333" y="1425971"/>
              <a:ext cx="170550" cy="7099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5" y="87"/>
                </a:cxn>
                <a:cxn ang="0">
                  <a:pos x="134" y="119"/>
                </a:cxn>
                <a:cxn ang="0">
                  <a:pos x="221" y="87"/>
                </a:cxn>
                <a:cxn ang="0">
                  <a:pos x="292" y="16"/>
                </a:cxn>
                <a:cxn ang="0">
                  <a:pos x="165" y="16"/>
                </a:cxn>
                <a:cxn ang="0">
                  <a:pos x="94" y="0"/>
                </a:cxn>
                <a:cxn ang="0">
                  <a:pos x="0" y="8"/>
                </a:cxn>
              </a:cxnLst>
              <a:rect l="0" t="0" r="r" b="b"/>
              <a:pathLst>
                <a:path w="292" h="119">
                  <a:moveTo>
                    <a:pt x="0" y="8"/>
                  </a:moveTo>
                  <a:lnTo>
                    <a:pt x="15" y="87"/>
                  </a:lnTo>
                  <a:lnTo>
                    <a:pt x="134" y="119"/>
                  </a:lnTo>
                  <a:lnTo>
                    <a:pt x="221" y="87"/>
                  </a:lnTo>
                  <a:lnTo>
                    <a:pt x="292" y="16"/>
                  </a:lnTo>
                  <a:lnTo>
                    <a:pt x="165" y="16"/>
                  </a:lnTo>
                  <a:lnTo>
                    <a:pt x="94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 82"/>
            <p:cNvSpPr>
              <a:spLocks noChangeAspect="1"/>
            </p:cNvSpPr>
            <p:nvPr/>
          </p:nvSpPr>
          <p:spPr bwMode="auto">
            <a:xfrm>
              <a:off x="6919396" y="3830707"/>
              <a:ext cx="49231" cy="88748"/>
            </a:xfrm>
            <a:custGeom>
              <a:avLst/>
              <a:gdLst/>
              <a:ahLst/>
              <a:cxnLst>
                <a:cxn ang="0">
                  <a:pos x="5" y="40"/>
                </a:cxn>
                <a:cxn ang="0">
                  <a:pos x="29" y="33"/>
                </a:cxn>
                <a:cxn ang="0">
                  <a:pos x="84" y="0"/>
                </a:cxn>
                <a:cxn ang="0">
                  <a:pos x="75" y="62"/>
                </a:cxn>
                <a:cxn ang="0">
                  <a:pos x="84" y="127"/>
                </a:cxn>
                <a:cxn ang="0">
                  <a:pos x="53" y="147"/>
                </a:cxn>
                <a:cxn ang="0">
                  <a:pos x="25" y="151"/>
                </a:cxn>
                <a:cxn ang="0">
                  <a:pos x="0" y="144"/>
                </a:cxn>
                <a:cxn ang="0">
                  <a:pos x="0" y="100"/>
                </a:cxn>
                <a:cxn ang="0">
                  <a:pos x="5" y="40"/>
                </a:cxn>
              </a:cxnLst>
              <a:rect l="0" t="0" r="r" b="b"/>
              <a:pathLst>
                <a:path w="84" h="151">
                  <a:moveTo>
                    <a:pt x="5" y="40"/>
                  </a:moveTo>
                  <a:lnTo>
                    <a:pt x="29" y="33"/>
                  </a:lnTo>
                  <a:lnTo>
                    <a:pt x="84" y="0"/>
                  </a:lnTo>
                  <a:lnTo>
                    <a:pt x="75" y="62"/>
                  </a:lnTo>
                  <a:lnTo>
                    <a:pt x="84" y="127"/>
                  </a:lnTo>
                  <a:lnTo>
                    <a:pt x="53" y="147"/>
                  </a:lnTo>
                  <a:lnTo>
                    <a:pt x="25" y="151"/>
                  </a:lnTo>
                  <a:lnTo>
                    <a:pt x="0" y="144"/>
                  </a:lnTo>
                  <a:lnTo>
                    <a:pt x="0" y="100"/>
                  </a:lnTo>
                  <a:lnTo>
                    <a:pt x="5" y="4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 83"/>
            <p:cNvSpPr>
              <a:spLocks noChangeAspect="1"/>
            </p:cNvSpPr>
            <p:nvPr/>
          </p:nvSpPr>
          <p:spPr bwMode="auto">
            <a:xfrm>
              <a:off x="7002033" y="4066776"/>
              <a:ext cx="87912" cy="55024"/>
            </a:xfrm>
            <a:custGeom>
              <a:avLst/>
              <a:gdLst/>
              <a:ahLst/>
              <a:cxnLst>
                <a:cxn ang="0">
                  <a:pos x="103" y="4"/>
                </a:cxn>
                <a:cxn ang="0">
                  <a:pos x="5" y="0"/>
                </a:cxn>
                <a:cxn ang="0">
                  <a:pos x="0" y="36"/>
                </a:cxn>
                <a:cxn ang="0">
                  <a:pos x="24" y="72"/>
                </a:cxn>
                <a:cxn ang="0">
                  <a:pos x="111" y="95"/>
                </a:cxn>
                <a:cxn ang="0">
                  <a:pos x="150" y="75"/>
                </a:cxn>
                <a:cxn ang="0">
                  <a:pos x="147" y="33"/>
                </a:cxn>
                <a:cxn ang="0">
                  <a:pos x="103" y="4"/>
                </a:cxn>
              </a:cxnLst>
              <a:rect l="0" t="0" r="r" b="b"/>
              <a:pathLst>
                <a:path w="150" h="95">
                  <a:moveTo>
                    <a:pt x="103" y="4"/>
                  </a:moveTo>
                  <a:lnTo>
                    <a:pt x="5" y="0"/>
                  </a:lnTo>
                  <a:lnTo>
                    <a:pt x="0" y="36"/>
                  </a:lnTo>
                  <a:lnTo>
                    <a:pt x="24" y="72"/>
                  </a:lnTo>
                  <a:lnTo>
                    <a:pt x="111" y="95"/>
                  </a:lnTo>
                  <a:lnTo>
                    <a:pt x="150" y="75"/>
                  </a:lnTo>
                  <a:lnTo>
                    <a:pt x="147" y="33"/>
                  </a:lnTo>
                  <a:lnTo>
                    <a:pt x="103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 84"/>
            <p:cNvSpPr>
              <a:spLocks noChangeAspect="1"/>
            </p:cNvSpPr>
            <p:nvPr/>
          </p:nvSpPr>
          <p:spPr bwMode="auto">
            <a:xfrm>
              <a:off x="7336100" y="4017077"/>
              <a:ext cx="351649" cy="358541"/>
            </a:xfrm>
            <a:custGeom>
              <a:avLst/>
              <a:gdLst/>
              <a:ahLst/>
              <a:cxnLst>
                <a:cxn ang="0">
                  <a:pos x="86" y="17"/>
                </a:cxn>
                <a:cxn ang="0">
                  <a:pos x="51" y="59"/>
                </a:cxn>
                <a:cxn ang="0">
                  <a:pos x="31" y="135"/>
                </a:cxn>
                <a:cxn ang="0">
                  <a:pos x="0" y="155"/>
                </a:cxn>
                <a:cxn ang="0">
                  <a:pos x="39" y="210"/>
                </a:cxn>
                <a:cxn ang="0">
                  <a:pos x="27" y="265"/>
                </a:cxn>
                <a:cxn ang="0">
                  <a:pos x="110" y="269"/>
                </a:cxn>
                <a:cxn ang="0">
                  <a:pos x="114" y="300"/>
                </a:cxn>
                <a:cxn ang="0">
                  <a:pos x="180" y="333"/>
                </a:cxn>
                <a:cxn ang="0">
                  <a:pos x="252" y="357"/>
                </a:cxn>
                <a:cxn ang="0">
                  <a:pos x="252" y="447"/>
                </a:cxn>
                <a:cxn ang="0">
                  <a:pos x="237" y="502"/>
                </a:cxn>
                <a:cxn ang="0">
                  <a:pos x="244" y="546"/>
                </a:cxn>
                <a:cxn ang="0">
                  <a:pos x="272" y="558"/>
                </a:cxn>
                <a:cxn ang="0">
                  <a:pos x="296" y="589"/>
                </a:cxn>
                <a:cxn ang="0">
                  <a:pos x="331" y="607"/>
                </a:cxn>
                <a:cxn ang="0">
                  <a:pos x="379" y="602"/>
                </a:cxn>
                <a:cxn ang="0">
                  <a:pos x="418" y="569"/>
                </a:cxn>
                <a:cxn ang="0">
                  <a:pos x="416" y="536"/>
                </a:cxn>
                <a:cxn ang="0">
                  <a:pos x="385" y="516"/>
                </a:cxn>
                <a:cxn ang="0">
                  <a:pos x="380" y="489"/>
                </a:cxn>
                <a:cxn ang="0">
                  <a:pos x="389" y="447"/>
                </a:cxn>
                <a:cxn ang="0">
                  <a:pos x="408" y="440"/>
                </a:cxn>
                <a:cxn ang="0">
                  <a:pos x="448" y="475"/>
                </a:cxn>
                <a:cxn ang="0">
                  <a:pos x="473" y="457"/>
                </a:cxn>
                <a:cxn ang="0">
                  <a:pos x="552" y="453"/>
                </a:cxn>
                <a:cxn ang="0">
                  <a:pos x="566" y="421"/>
                </a:cxn>
                <a:cxn ang="0">
                  <a:pos x="565" y="389"/>
                </a:cxn>
                <a:cxn ang="0">
                  <a:pos x="545" y="362"/>
                </a:cxn>
                <a:cxn ang="0">
                  <a:pos x="547" y="317"/>
                </a:cxn>
                <a:cxn ang="0">
                  <a:pos x="572" y="292"/>
                </a:cxn>
                <a:cxn ang="0">
                  <a:pos x="582" y="268"/>
                </a:cxn>
                <a:cxn ang="0">
                  <a:pos x="600" y="248"/>
                </a:cxn>
                <a:cxn ang="0">
                  <a:pos x="599" y="202"/>
                </a:cxn>
                <a:cxn ang="0">
                  <a:pos x="580" y="192"/>
                </a:cxn>
                <a:cxn ang="0">
                  <a:pos x="565" y="148"/>
                </a:cxn>
                <a:cxn ang="0">
                  <a:pos x="542" y="125"/>
                </a:cxn>
                <a:cxn ang="0">
                  <a:pos x="556" y="109"/>
                </a:cxn>
                <a:cxn ang="0">
                  <a:pos x="556" y="87"/>
                </a:cxn>
                <a:cxn ang="0">
                  <a:pos x="486" y="86"/>
                </a:cxn>
                <a:cxn ang="0">
                  <a:pos x="434" y="93"/>
                </a:cxn>
                <a:cxn ang="0">
                  <a:pos x="404" y="117"/>
                </a:cxn>
                <a:cxn ang="0">
                  <a:pos x="366" y="111"/>
                </a:cxn>
                <a:cxn ang="0">
                  <a:pos x="270" y="106"/>
                </a:cxn>
                <a:cxn ang="0">
                  <a:pos x="260" y="78"/>
                </a:cxn>
                <a:cxn ang="0">
                  <a:pos x="234" y="69"/>
                </a:cxn>
                <a:cxn ang="0">
                  <a:pos x="194" y="55"/>
                </a:cxn>
                <a:cxn ang="0">
                  <a:pos x="185" y="28"/>
                </a:cxn>
                <a:cxn ang="0">
                  <a:pos x="152" y="18"/>
                </a:cxn>
                <a:cxn ang="0">
                  <a:pos x="152" y="0"/>
                </a:cxn>
                <a:cxn ang="0">
                  <a:pos x="138" y="18"/>
                </a:cxn>
                <a:cxn ang="0">
                  <a:pos x="86" y="17"/>
                </a:cxn>
              </a:cxnLst>
              <a:rect l="0" t="0" r="r" b="b"/>
              <a:pathLst>
                <a:path w="600" h="607">
                  <a:moveTo>
                    <a:pt x="86" y="17"/>
                  </a:moveTo>
                  <a:lnTo>
                    <a:pt x="51" y="59"/>
                  </a:lnTo>
                  <a:lnTo>
                    <a:pt x="31" y="135"/>
                  </a:lnTo>
                  <a:lnTo>
                    <a:pt x="0" y="155"/>
                  </a:lnTo>
                  <a:lnTo>
                    <a:pt x="39" y="210"/>
                  </a:lnTo>
                  <a:lnTo>
                    <a:pt x="27" y="265"/>
                  </a:lnTo>
                  <a:lnTo>
                    <a:pt x="110" y="269"/>
                  </a:lnTo>
                  <a:lnTo>
                    <a:pt x="114" y="300"/>
                  </a:lnTo>
                  <a:lnTo>
                    <a:pt x="180" y="333"/>
                  </a:lnTo>
                  <a:lnTo>
                    <a:pt x="252" y="357"/>
                  </a:lnTo>
                  <a:lnTo>
                    <a:pt x="252" y="447"/>
                  </a:lnTo>
                  <a:lnTo>
                    <a:pt x="237" y="502"/>
                  </a:lnTo>
                  <a:lnTo>
                    <a:pt x="244" y="546"/>
                  </a:lnTo>
                  <a:lnTo>
                    <a:pt x="272" y="558"/>
                  </a:lnTo>
                  <a:lnTo>
                    <a:pt x="296" y="589"/>
                  </a:lnTo>
                  <a:lnTo>
                    <a:pt x="331" y="607"/>
                  </a:lnTo>
                  <a:lnTo>
                    <a:pt x="379" y="602"/>
                  </a:lnTo>
                  <a:lnTo>
                    <a:pt x="418" y="569"/>
                  </a:lnTo>
                  <a:lnTo>
                    <a:pt x="416" y="536"/>
                  </a:lnTo>
                  <a:lnTo>
                    <a:pt x="385" y="516"/>
                  </a:lnTo>
                  <a:lnTo>
                    <a:pt x="380" y="489"/>
                  </a:lnTo>
                  <a:lnTo>
                    <a:pt x="389" y="447"/>
                  </a:lnTo>
                  <a:lnTo>
                    <a:pt x="408" y="440"/>
                  </a:lnTo>
                  <a:lnTo>
                    <a:pt x="448" y="475"/>
                  </a:lnTo>
                  <a:lnTo>
                    <a:pt x="473" y="457"/>
                  </a:lnTo>
                  <a:lnTo>
                    <a:pt x="552" y="453"/>
                  </a:lnTo>
                  <a:lnTo>
                    <a:pt x="566" y="421"/>
                  </a:lnTo>
                  <a:lnTo>
                    <a:pt x="565" y="389"/>
                  </a:lnTo>
                  <a:lnTo>
                    <a:pt x="545" y="362"/>
                  </a:lnTo>
                  <a:lnTo>
                    <a:pt x="547" y="317"/>
                  </a:lnTo>
                  <a:lnTo>
                    <a:pt x="572" y="292"/>
                  </a:lnTo>
                  <a:lnTo>
                    <a:pt x="582" y="268"/>
                  </a:lnTo>
                  <a:lnTo>
                    <a:pt x="600" y="248"/>
                  </a:lnTo>
                  <a:lnTo>
                    <a:pt x="599" y="202"/>
                  </a:lnTo>
                  <a:lnTo>
                    <a:pt x="580" y="192"/>
                  </a:lnTo>
                  <a:lnTo>
                    <a:pt x="565" y="148"/>
                  </a:lnTo>
                  <a:lnTo>
                    <a:pt x="542" y="125"/>
                  </a:lnTo>
                  <a:lnTo>
                    <a:pt x="556" y="109"/>
                  </a:lnTo>
                  <a:lnTo>
                    <a:pt x="556" y="87"/>
                  </a:lnTo>
                  <a:lnTo>
                    <a:pt x="486" y="86"/>
                  </a:lnTo>
                  <a:lnTo>
                    <a:pt x="434" y="93"/>
                  </a:lnTo>
                  <a:lnTo>
                    <a:pt x="404" y="117"/>
                  </a:lnTo>
                  <a:lnTo>
                    <a:pt x="366" y="111"/>
                  </a:lnTo>
                  <a:lnTo>
                    <a:pt x="270" y="106"/>
                  </a:lnTo>
                  <a:lnTo>
                    <a:pt x="260" y="78"/>
                  </a:lnTo>
                  <a:lnTo>
                    <a:pt x="234" y="69"/>
                  </a:lnTo>
                  <a:lnTo>
                    <a:pt x="194" y="55"/>
                  </a:lnTo>
                  <a:lnTo>
                    <a:pt x="185" y="28"/>
                  </a:lnTo>
                  <a:lnTo>
                    <a:pt x="152" y="18"/>
                  </a:lnTo>
                  <a:lnTo>
                    <a:pt x="152" y="0"/>
                  </a:lnTo>
                  <a:lnTo>
                    <a:pt x="138" y="18"/>
                  </a:lnTo>
                  <a:lnTo>
                    <a:pt x="86" y="1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 85"/>
            <p:cNvSpPr>
              <a:spLocks noChangeAspect="1"/>
            </p:cNvSpPr>
            <p:nvPr/>
          </p:nvSpPr>
          <p:spPr bwMode="auto">
            <a:xfrm>
              <a:off x="7566430" y="6166549"/>
              <a:ext cx="63297" cy="67448"/>
            </a:xfrm>
            <a:custGeom>
              <a:avLst/>
              <a:gdLst/>
              <a:ahLst/>
              <a:cxnLst>
                <a:cxn ang="0">
                  <a:pos x="98" y="13"/>
                </a:cxn>
                <a:cxn ang="0">
                  <a:pos x="67" y="114"/>
                </a:cxn>
                <a:cxn ang="0">
                  <a:pos x="0" y="74"/>
                </a:cxn>
                <a:cxn ang="0">
                  <a:pos x="16" y="18"/>
                </a:cxn>
                <a:cxn ang="0">
                  <a:pos x="47" y="0"/>
                </a:cxn>
                <a:cxn ang="0">
                  <a:pos x="106" y="15"/>
                </a:cxn>
                <a:cxn ang="0">
                  <a:pos x="98" y="13"/>
                </a:cxn>
              </a:cxnLst>
              <a:rect l="0" t="0" r="r" b="b"/>
              <a:pathLst>
                <a:path w="106" h="114">
                  <a:moveTo>
                    <a:pt x="98" y="13"/>
                  </a:moveTo>
                  <a:lnTo>
                    <a:pt x="67" y="114"/>
                  </a:lnTo>
                  <a:lnTo>
                    <a:pt x="0" y="74"/>
                  </a:lnTo>
                  <a:lnTo>
                    <a:pt x="16" y="18"/>
                  </a:lnTo>
                  <a:lnTo>
                    <a:pt x="47" y="0"/>
                  </a:lnTo>
                  <a:lnTo>
                    <a:pt x="106" y="15"/>
                  </a:lnTo>
                  <a:lnTo>
                    <a:pt x="98" y="1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 86"/>
            <p:cNvSpPr>
              <a:spLocks noChangeAspect="1"/>
            </p:cNvSpPr>
            <p:nvPr/>
          </p:nvSpPr>
          <p:spPr bwMode="auto">
            <a:xfrm>
              <a:off x="7768628" y="5346519"/>
              <a:ext cx="142418" cy="161521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76" y="22"/>
                </a:cxn>
                <a:cxn ang="0">
                  <a:pos x="120" y="41"/>
                </a:cxn>
                <a:cxn ang="0">
                  <a:pos x="217" y="132"/>
                </a:cxn>
                <a:cxn ang="0">
                  <a:pos x="238" y="167"/>
                </a:cxn>
                <a:cxn ang="0">
                  <a:pos x="244" y="203"/>
                </a:cxn>
                <a:cxn ang="0">
                  <a:pos x="217" y="221"/>
                </a:cxn>
                <a:cxn ang="0">
                  <a:pos x="204" y="235"/>
                </a:cxn>
                <a:cxn ang="0">
                  <a:pos x="201" y="252"/>
                </a:cxn>
                <a:cxn ang="0">
                  <a:pos x="163" y="259"/>
                </a:cxn>
                <a:cxn ang="0">
                  <a:pos x="155" y="272"/>
                </a:cxn>
                <a:cxn ang="0">
                  <a:pos x="135" y="262"/>
                </a:cxn>
                <a:cxn ang="0">
                  <a:pos x="90" y="245"/>
                </a:cxn>
                <a:cxn ang="0">
                  <a:pos x="55" y="227"/>
                </a:cxn>
                <a:cxn ang="0">
                  <a:pos x="39" y="246"/>
                </a:cxn>
                <a:cxn ang="0">
                  <a:pos x="18" y="252"/>
                </a:cxn>
                <a:cxn ang="0">
                  <a:pos x="5" y="200"/>
                </a:cxn>
                <a:cxn ang="0">
                  <a:pos x="0" y="125"/>
                </a:cxn>
                <a:cxn ang="0">
                  <a:pos x="7" y="76"/>
                </a:cxn>
                <a:cxn ang="0">
                  <a:pos x="32" y="33"/>
                </a:cxn>
                <a:cxn ang="0">
                  <a:pos x="56" y="0"/>
                </a:cxn>
              </a:cxnLst>
              <a:rect l="0" t="0" r="r" b="b"/>
              <a:pathLst>
                <a:path w="244" h="272">
                  <a:moveTo>
                    <a:pt x="56" y="0"/>
                  </a:moveTo>
                  <a:lnTo>
                    <a:pt x="76" y="22"/>
                  </a:lnTo>
                  <a:lnTo>
                    <a:pt x="120" y="41"/>
                  </a:lnTo>
                  <a:lnTo>
                    <a:pt x="217" y="132"/>
                  </a:lnTo>
                  <a:lnTo>
                    <a:pt x="238" y="167"/>
                  </a:lnTo>
                  <a:lnTo>
                    <a:pt x="244" y="203"/>
                  </a:lnTo>
                  <a:lnTo>
                    <a:pt x="217" y="221"/>
                  </a:lnTo>
                  <a:lnTo>
                    <a:pt x="204" y="235"/>
                  </a:lnTo>
                  <a:lnTo>
                    <a:pt x="201" y="252"/>
                  </a:lnTo>
                  <a:lnTo>
                    <a:pt x="163" y="259"/>
                  </a:lnTo>
                  <a:lnTo>
                    <a:pt x="155" y="272"/>
                  </a:lnTo>
                  <a:lnTo>
                    <a:pt x="135" y="262"/>
                  </a:lnTo>
                  <a:lnTo>
                    <a:pt x="90" y="245"/>
                  </a:lnTo>
                  <a:lnTo>
                    <a:pt x="55" y="227"/>
                  </a:lnTo>
                  <a:lnTo>
                    <a:pt x="39" y="246"/>
                  </a:lnTo>
                  <a:lnTo>
                    <a:pt x="18" y="252"/>
                  </a:lnTo>
                  <a:lnTo>
                    <a:pt x="5" y="200"/>
                  </a:lnTo>
                  <a:lnTo>
                    <a:pt x="0" y="125"/>
                  </a:lnTo>
                  <a:lnTo>
                    <a:pt x="7" y="76"/>
                  </a:lnTo>
                  <a:lnTo>
                    <a:pt x="32" y="33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 87"/>
            <p:cNvSpPr>
              <a:spLocks noChangeAspect="1"/>
            </p:cNvSpPr>
            <p:nvPr/>
          </p:nvSpPr>
          <p:spPr bwMode="auto">
            <a:xfrm>
              <a:off x="7439836" y="4707535"/>
              <a:ext cx="328792" cy="413565"/>
            </a:xfrm>
            <a:custGeom>
              <a:avLst/>
              <a:gdLst/>
              <a:ahLst/>
              <a:cxnLst>
                <a:cxn ang="0">
                  <a:pos x="516" y="537"/>
                </a:cxn>
                <a:cxn ang="0">
                  <a:pos x="539" y="532"/>
                </a:cxn>
                <a:cxn ang="0">
                  <a:pos x="558" y="505"/>
                </a:cxn>
                <a:cxn ang="0">
                  <a:pos x="562" y="444"/>
                </a:cxn>
                <a:cxn ang="0">
                  <a:pos x="545" y="433"/>
                </a:cxn>
                <a:cxn ang="0">
                  <a:pos x="539" y="398"/>
                </a:cxn>
                <a:cxn ang="0">
                  <a:pos x="514" y="393"/>
                </a:cxn>
                <a:cxn ang="0">
                  <a:pos x="510" y="358"/>
                </a:cxn>
                <a:cxn ang="0">
                  <a:pos x="446" y="360"/>
                </a:cxn>
                <a:cxn ang="0">
                  <a:pos x="432" y="344"/>
                </a:cxn>
                <a:cxn ang="0">
                  <a:pos x="419" y="338"/>
                </a:cxn>
                <a:cxn ang="0">
                  <a:pos x="417" y="275"/>
                </a:cxn>
                <a:cxn ang="0">
                  <a:pos x="441" y="257"/>
                </a:cxn>
                <a:cxn ang="0">
                  <a:pos x="417" y="254"/>
                </a:cxn>
                <a:cxn ang="0">
                  <a:pos x="411" y="208"/>
                </a:cxn>
                <a:cxn ang="0">
                  <a:pos x="386" y="202"/>
                </a:cxn>
                <a:cxn ang="0">
                  <a:pos x="339" y="196"/>
                </a:cxn>
                <a:cxn ang="0">
                  <a:pos x="334" y="168"/>
                </a:cxn>
                <a:cxn ang="0">
                  <a:pos x="303" y="161"/>
                </a:cxn>
                <a:cxn ang="0">
                  <a:pos x="294" y="151"/>
                </a:cxn>
                <a:cxn ang="0">
                  <a:pos x="224" y="148"/>
                </a:cxn>
                <a:cxn ang="0">
                  <a:pos x="214" y="134"/>
                </a:cxn>
                <a:cxn ang="0">
                  <a:pos x="198" y="99"/>
                </a:cxn>
                <a:cxn ang="0">
                  <a:pos x="190" y="6"/>
                </a:cxn>
                <a:cxn ang="0">
                  <a:pos x="131" y="0"/>
                </a:cxn>
                <a:cxn ang="0">
                  <a:pos x="125" y="34"/>
                </a:cxn>
                <a:cxn ang="0">
                  <a:pos x="101" y="30"/>
                </a:cxn>
                <a:cxn ang="0">
                  <a:pos x="90" y="51"/>
                </a:cxn>
                <a:cxn ang="0">
                  <a:pos x="73" y="65"/>
                </a:cxn>
                <a:cxn ang="0">
                  <a:pos x="46" y="78"/>
                </a:cxn>
                <a:cxn ang="0">
                  <a:pos x="12" y="73"/>
                </a:cxn>
                <a:cxn ang="0">
                  <a:pos x="47" y="128"/>
                </a:cxn>
                <a:cxn ang="0">
                  <a:pos x="42" y="175"/>
                </a:cxn>
                <a:cxn ang="0">
                  <a:pos x="19" y="193"/>
                </a:cxn>
                <a:cxn ang="0">
                  <a:pos x="22" y="255"/>
                </a:cxn>
                <a:cxn ang="0">
                  <a:pos x="14" y="334"/>
                </a:cxn>
                <a:cxn ang="0">
                  <a:pos x="29" y="362"/>
                </a:cxn>
                <a:cxn ang="0">
                  <a:pos x="14" y="368"/>
                </a:cxn>
                <a:cxn ang="0">
                  <a:pos x="0" y="406"/>
                </a:cxn>
                <a:cxn ang="0">
                  <a:pos x="26" y="429"/>
                </a:cxn>
                <a:cxn ang="0">
                  <a:pos x="29" y="477"/>
                </a:cxn>
                <a:cxn ang="0">
                  <a:pos x="73" y="516"/>
                </a:cxn>
                <a:cxn ang="0">
                  <a:pos x="73" y="615"/>
                </a:cxn>
                <a:cxn ang="0">
                  <a:pos x="108" y="678"/>
                </a:cxn>
                <a:cxn ang="0">
                  <a:pos x="140" y="698"/>
                </a:cxn>
                <a:cxn ang="0">
                  <a:pos x="169" y="639"/>
                </a:cxn>
                <a:cxn ang="0">
                  <a:pos x="211" y="674"/>
                </a:cxn>
                <a:cxn ang="0">
                  <a:pos x="267" y="694"/>
                </a:cxn>
                <a:cxn ang="0">
                  <a:pos x="322" y="650"/>
                </a:cxn>
                <a:cxn ang="0">
                  <a:pos x="338" y="571"/>
                </a:cxn>
                <a:cxn ang="0">
                  <a:pos x="353" y="532"/>
                </a:cxn>
                <a:cxn ang="0">
                  <a:pos x="405" y="512"/>
                </a:cxn>
                <a:cxn ang="0">
                  <a:pos x="441" y="485"/>
                </a:cxn>
                <a:cxn ang="0">
                  <a:pos x="496" y="505"/>
                </a:cxn>
                <a:cxn ang="0">
                  <a:pos x="516" y="537"/>
                </a:cxn>
              </a:cxnLst>
              <a:rect l="0" t="0" r="r" b="b"/>
              <a:pathLst>
                <a:path w="562" h="698">
                  <a:moveTo>
                    <a:pt x="516" y="537"/>
                  </a:moveTo>
                  <a:lnTo>
                    <a:pt x="539" y="532"/>
                  </a:lnTo>
                  <a:lnTo>
                    <a:pt x="558" y="505"/>
                  </a:lnTo>
                  <a:lnTo>
                    <a:pt x="562" y="444"/>
                  </a:lnTo>
                  <a:lnTo>
                    <a:pt x="545" y="433"/>
                  </a:lnTo>
                  <a:lnTo>
                    <a:pt x="539" y="398"/>
                  </a:lnTo>
                  <a:lnTo>
                    <a:pt x="514" y="393"/>
                  </a:lnTo>
                  <a:lnTo>
                    <a:pt x="510" y="358"/>
                  </a:lnTo>
                  <a:lnTo>
                    <a:pt x="446" y="360"/>
                  </a:lnTo>
                  <a:lnTo>
                    <a:pt x="432" y="344"/>
                  </a:lnTo>
                  <a:lnTo>
                    <a:pt x="419" y="338"/>
                  </a:lnTo>
                  <a:lnTo>
                    <a:pt x="417" y="275"/>
                  </a:lnTo>
                  <a:lnTo>
                    <a:pt x="441" y="257"/>
                  </a:lnTo>
                  <a:lnTo>
                    <a:pt x="417" y="254"/>
                  </a:lnTo>
                  <a:lnTo>
                    <a:pt x="411" y="208"/>
                  </a:lnTo>
                  <a:lnTo>
                    <a:pt x="386" y="202"/>
                  </a:lnTo>
                  <a:lnTo>
                    <a:pt x="339" y="196"/>
                  </a:lnTo>
                  <a:lnTo>
                    <a:pt x="334" y="168"/>
                  </a:lnTo>
                  <a:lnTo>
                    <a:pt x="303" y="161"/>
                  </a:lnTo>
                  <a:lnTo>
                    <a:pt x="294" y="151"/>
                  </a:lnTo>
                  <a:lnTo>
                    <a:pt x="224" y="148"/>
                  </a:lnTo>
                  <a:lnTo>
                    <a:pt x="214" y="134"/>
                  </a:lnTo>
                  <a:lnTo>
                    <a:pt x="198" y="99"/>
                  </a:lnTo>
                  <a:lnTo>
                    <a:pt x="190" y="6"/>
                  </a:lnTo>
                  <a:lnTo>
                    <a:pt x="131" y="0"/>
                  </a:lnTo>
                  <a:lnTo>
                    <a:pt x="125" y="34"/>
                  </a:lnTo>
                  <a:lnTo>
                    <a:pt x="101" y="30"/>
                  </a:lnTo>
                  <a:lnTo>
                    <a:pt x="90" y="51"/>
                  </a:lnTo>
                  <a:lnTo>
                    <a:pt x="73" y="65"/>
                  </a:lnTo>
                  <a:lnTo>
                    <a:pt x="46" y="78"/>
                  </a:lnTo>
                  <a:lnTo>
                    <a:pt x="12" y="73"/>
                  </a:lnTo>
                  <a:lnTo>
                    <a:pt x="47" y="128"/>
                  </a:lnTo>
                  <a:lnTo>
                    <a:pt x="42" y="175"/>
                  </a:lnTo>
                  <a:lnTo>
                    <a:pt x="19" y="193"/>
                  </a:lnTo>
                  <a:lnTo>
                    <a:pt x="22" y="255"/>
                  </a:lnTo>
                  <a:lnTo>
                    <a:pt x="14" y="334"/>
                  </a:lnTo>
                  <a:lnTo>
                    <a:pt x="29" y="362"/>
                  </a:lnTo>
                  <a:lnTo>
                    <a:pt x="14" y="368"/>
                  </a:lnTo>
                  <a:lnTo>
                    <a:pt x="0" y="406"/>
                  </a:lnTo>
                  <a:lnTo>
                    <a:pt x="26" y="429"/>
                  </a:lnTo>
                  <a:lnTo>
                    <a:pt x="29" y="477"/>
                  </a:lnTo>
                  <a:lnTo>
                    <a:pt x="73" y="516"/>
                  </a:lnTo>
                  <a:lnTo>
                    <a:pt x="73" y="615"/>
                  </a:lnTo>
                  <a:lnTo>
                    <a:pt x="108" y="678"/>
                  </a:lnTo>
                  <a:lnTo>
                    <a:pt x="140" y="698"/>
                  </a:lnTo>
                  <a:lnTo>
                    <a:pt x="169" y="639"/>
                  </a:lnTo>
                  <a:lnTo>
                    <a:pt x="211" y="674"/>
                  </a:lnTo>
                  <a:lnTo>
                    <a:pt x="267" y="694"/>
                  </a:lnTo>
                  <a:lnTo>
                    <a:pt x="322" y="650"/>
                  </a:lnTo>
                  <a:lnTo>
                    <a:pt x="338" y="571"/>
                  </a:lnTo>
                  <a:lnTo>
                    <a:pt x="353" y="532"/>
                  </a:lnTo>
                  <a:lnTo>
                    <a:pt x="405" y="512"/>
                  </a:lnTo>
                  <a:lnTo>
                    <a:pt x="441" y="485"/>
                  </a:lnTo>
                  <a:lnTo>
                    <a:pt x="496" y="505"/>
                  </a:lnTo>
                  <a:lnTo>
                    <a:pt x="516" y="53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 88"/>
            <p:cNvSpPr>
              <a:spLocks noChangeAspect="1"/>
            </p:cNvSpPr>
            <p:nvPr/>
          </p:nvSpPr>
          <p:spPr bwMode="auto">
            <a:xfrm>
              <a:off x="7383572" y="4948929"/>
              <a:ext cx="189890" cy="1258444"/>
            </a:xfrm>
            <a:custGeom>
              <a:avLst/>
              <a:gdLst/>
              <a:ahLst/>
              <a:cxnLst>
                <a:cxn ang="0">
                  <a:pos x="177" y="1976"/>
                </a:cxn>
                <a:cxn ang="0">
                  <a:pos x="128" y="1888"/>
                </a:cxn>
                <a:cxn ang="0">
                  <a:pos x="145" y="1740"/>
                </a:cxn>
                <a:cxn ang="0">
                  <a:pos x="155" y="1511"/>
                </a:cxn>
                <a:cxn ang="0">
                  <a:pos x="134" y="1381"/>
                </a:cxn>
                <a:cxn ang="0">
                  <a:pos x="101" y="1254"/>
                </a:cxn>
                <a:cxn ang="0">
                  <a:pos x="139" y="1174"/>
                </a:cxn>
                <a:cxn ang="0">
                  <a:pos x="130" y="1029"/>
                </a:cxn>
                <a:cxn ang="0">
                  <a:pos x="130" y="974"/>
                </a:cxn>
                <a:cxn ang="0">
                  <a:pos x="155" y="899"/>
                </a:cxn>
                <a:cxn ang="0">
                  <a:pos x="130" y="836"/>
                </a:cxn>
                <a:cxn ang="0">
                  <a:pos x="148" y="740"/>
                </a:cxn>
                <a:cxn ang="0">
                  <a:pos x="132" y="624"/>
                </a:cxn>
                <a:cxn ang="0">
                  <a:pos x="155" y="551"/>
                </a:cxn>
                <a:cxn ang="0">
                  <a:pos x="199" y="488"/>
                </a:cxn>
                <a:cxn ang="0">
                  <a:pos x="201" y="420"/>
                </a:cxn>
                <a:cxn ang="0">
                  <a:pos x="232" y="351"/>
                </a:cxn>
                <a:cxn ang="0">
                  <a:pos x="204" y="272"/>
                </a:cxn>
                <a:cxn ang="0">
                  <a:pos x="169" y="110"/>
                </a:cxn>
                <a:cxn ang="0">
                  <a:pos x="122" y="23"/>
                </a:cxn>
                <a:cxn ang="0">
                  <a:pos x="64" y="28"/>
                </a:cxn>
                <a:cxn ang="0">
                  <a:pos x="86" y="123"/>
                </a:cxn>
                <a:cxn ang="0">
                  <a:pos x="70" y="327"/>
                </a:cxn>
                <a:cxn ang="0">
                  <a:pos x="86" y="351"/>
                </a:cxn>
                <a:cxn ang="0">
                  <a:pos x="74" y="462"/>
                </a:cxn>
                <a:cxn ang="0">
                  <a:pos x="39" y="588"/>
                </a:cxn>
                <a:cxn ang="0">
                  <a:pos x="42" y="679"/>
                </a:cxn>
                <a:cxn ang="0">
                  <a:pos x="46" y="846"/>
                </a:cxn>
                <a:cxn ang="0">
                  <a:pos x="11" y="1074"/>
                </a:cxn>
                <a:cxn ang="0">
                  <a:pos x="31" y="1378"/>
                </a:cxn>
                <a:cxn ang="0">
                  <a:pos x="46" y="1422"/>
                </a:cxn>
                <a:cxn ang="0">
                  <a:pos x="63" y="1577"/>
                </a:cxn>
                <a:cxn ang="0">
                  <a:pos x="39" y="1691"/>
                </a:cxn>
                <a:cxn ang="0">
                  <a:pos x="39" y="1790"/>
                </a:cxn>
                <a:cxn ang="0">
                  <a:pos x="86" y="1912"/>
                </a:cxn>
                <a:cxn ang="0">
                  <a:pos x="125" y="1976"/>
                </a:cxn>
                <a:cxn ang="0">
                  <a:pos x="173" y="2015"/>
                </a:cxn>
                <a:cxn ang="0">
                  <a:pos x="228" y="2070"/>
                </a:cxn>
                <a:cxn ang="0">
                  <a:pos x="276" y="2129"/>
                </a:cxn>
                <a:cxn ang="0">
                  <a:pos x="324" y="2055"/>
                </a:cxn>
              </a:cxnLst>
              <a:rect l="0" t="0" r="r" b="b"/>
              <a:pathLst>
                <a:path w="324" h="2129">
                  <a:moveTo>
                    <a:pt x="315" y="1970"/>
                  </a:moveTo>
                  <a:lnTo>
                    <a:pt x="177" y="1976"/>
                  </a:lnTo>
                  <a:lnTo>
                    <a:pt x="167" y="1911"/>
                  </a:lnTo>
                  <a:lnTo>
                    <a:pt x="128" y="1888"/>
                  </a:lnTo>
                  <a:lnTo>
                    <a:pt x="120" y="1749"/>
                  </a:lnTo>
                  <a:lnTo>
                    <a:pt x="145" y="1740"/>
                  </a:lnTo>
                  <a:lnTo>
                    <a:pt x="153" y="1701"/>
                  </a:lnTo>
                  <a:lnTo>
                    <a:pt x="155" y="1511"/>
                  </a:lnTo>
                  <a:lnTo>
                    <a:pt x="135" y="1457"/>
                  </a:lnTo>
                  <a:lnTo>
                    <a:pt x="134" y="1381"/>
                  </a:lnTo>
                  <a:lnTo>
                    <a:pt x="122" y="1298"/>
                  </a:lnTo>
                  <a:lnTo>
                    <a:pt x="101" y="1254"/>
                  </a:lnTo>
                  <a:lnTo>
                    <a:pt x="106" y="1216"/>
                  </a:lnTo>
                  <a:lnTo>
                    <a:pt x="139" y="1174"/>
                  </a:lnTo>
                  <a:lnTo>
                    <a:pt x="96" y="1081"/>
                  </a:lnTo>
                  <a:lnTo>
                    <a:pt x="130" y="1029"/>
                  </a:lnTo>
                  <a:lnTo>
                    <a:pt x="149" y="998"/>
                  </a:lnTo>
                  <a:lnTo>
                    <a:pt x="130" y="974"/>
                  </a:lnTo>
                  <a:lnTo>
                    <a:pt x="130" y="905"/>
                  </a:lnTo>
                  <a:lnTo>
                    <a:pt x="155" y="899"/>
                  </a:lnTo>
                  <a:lnTo>
                    <a:pt x="152" y="843"/>
                  </a:lnTo>
                  <a:lnTo>
                    <a:pt x="130" y="836"/>
                  </a:lnTo>
                  <a:lnTo>
                    <a:pt x="125" y="758"/>
                  </a:lnTo>
                  <a:lnTo>
                    <a:pt x="148" y="740"/>
                  </a:lnTo>
                  <a:lnTo>
                    <a:pt x="144" y="703"/>
                  </a:lnTo>
                  <a:lnTo>
                    <a:pt x="132" y="624"/>
                  </a:lnTo>
                  <a:lnTo>
                    <a:pt x="149" y="595"/>
                  </a:lnTo>
                  <a:lnTo>
                    <a:pt x="155" y="551"/>
                  </a:lnTo>
                  <a:lnTo>
                    <a:pt x="183" y="529"/>
                  </a:lnTo>
                  <a:lnTo>
                    <a:pt x="199" y="488"/>
                  </a:lnTo>
                  <a:lnTo>
                    <a:pt x="176" y="454"/>
                  </a:lnTo>
                  <a:lnTo>
                    <a:pt x="201" y="420"/>
                  </a:lnTo>
                  <a:lnTo>
                    <a:pt x="203" y="361"/>
                  </a:lnTo>
                  <a:lnTo>
                    <a:pt x="232" y="351"/>
                  </a:lnTo>
                  <a:lnTo>
                    <a:pt x="236" y="292"/>
                  </a:lnTo>
                  <a:lnTo>
                    <a:pt x="204" y="272"/>
                  </a:lnTo>
                  <a:lnTo>
                    <a:pt x="169" y="209"/>
                  </a:lnTo>
                  <a:lnTo>
                    <a:pt x="169" y="110"/>
                  </a:lnTo>
                  <a:lnTo>
                    <a:pt x="125" y="71"/>
                  </a:lnTo>
                  <a:lnTo>
                    <a:pt x="122" y="23"/>
                  </a:lnTo>
                  <a:lnTo>
                    <a:pt x="96" y="0"/>
                  </a:lnTo>
                  <a:lnTo>
                    <a:pt x="64" y="28"/>
                  </a:lnTo>
                  <a:lnTo>
                    <a:pt x="74" y="99"/>
                  </a:lnTo>
                  <a:lnTo>
                    <a:pt x="86" y="123"/>
                  </a:lnTo>
                  <a:lnTo>
                    <a:pt x="90" y="303"/>
                  </a:lnTo>
                  <a:lnTo>
                    <a:pt x="70" y="327"/>
                  </a:lnTo>
                  <a:lnTo>
                    <a:pt x="70" y="351"/>
                  </a:lnTo>
                  <a:lnTo>
                    <a:pt x="86" y="351"/>
                  </a:lnTo>
                  <a:lnTo>
                    <a:pt x="86" y="462"/>
                  </a:lnTo>
                  <a:lnTo>
                    <a:pt x="74" y="462"/>
                  </a:lnTo>
                  <a:lnTo>
                    <a:pt x="70" y="588"/>
                  </a:lnTo>
                  <a:lnTo>
                    <a:pt x="39" y="588"/>
                  </a:lnTo>
                  <a:lnTo>
                    <a:pt x="55" y="620"/>
                  </a:lnTo>
                  <a:lnTo>
                    <a:pt x="42" y="679"/>
                  </a:lnTo>
                  <a:lnTo>
                    <a:pt x="31" y="837"/>
                  </a:lnTo>
                  <a:lnTo>
                    <a:pt x="46" y="846"/>
                  </a:lnTo>
                  <a:lnTo>
                    <a:pt x="27" y="1043"/>
                  </a:lnTo>
                  <a:lnTo>
                    <a:pt x="11" y="1074"/>
                  </a:lnTo>
                  <a:lnTo>
                    <a:pt x="0" y="1095"/>
                  </a:lnTo>
                  <a:lnTo>
                    <a:pt x="31" y="1378"/>
                  </a:lnTo>
                  <a:lnTo>
                    <a:pt x="15" y="1426"/>
                  </a:lnTo>
                  <a:lnTo>
                    <a:pt x="46" y="1422"/>
                  </a:lnTo>
                  <a:lnTo>
                    <a:pt x="59" y="1434"/>
                  </a:lnTo>
                  <a:lnTo>
                    <a:pt x="63" y="1577"/>
                  </a:lnTo>
                  <a:lnTo>
                    <a:pt x="42" y="1619"/>
                  </a:lnTo>
                  <a:lnTo>
                    <a:pt x="39" y="1691"/>
                  </a:lnTo>
                  <a:lnTo>
                    <a:pt x="70" y="1707"/>
                  </a:lnTo>
                  <a:lnTo>
                    <a:pt x="39" y="1790"/>
                  </a:lnTo>
                  <a:lnTo>
                    <a:pt x="63" y="1873"/>
                  </a:lnTo>
                  <a:lnTo>
                    <a:pt x="86" y="1912"/>
                  </a:lnTo>
                  <a:lnTo>
                    <a:pt x="118" y="1928"/>
                  </a:lnTo>
                  <a:lnTo>
                    <a:pt x="125" y="1976"/>
                  </a:lnTo>
                  <a:lnTo>
                    <a:pt x="142" y="2000"/>
                  </a:lnTo>
                  <a:lnTo>
                    <a:pt x="173" y="2015"/>
                  </a:lnTo>
                  <a:lnTo>
                    <a:pt x="189" y="2043"/>
                  </a:lnTo>
                  <a:lnTo>
                    <a:pt x="228" y="2070"/>
                  </a:lnTo>
                  <a:lnTo>
                    <a:pt x="256" y="2094"/>
                  </a:lnTo>
                  <a:lnTo>
                    <a:pt x="276" y="2129"/>
                  </a:lnTo>
                  <a:lnTo>
                    <a:pt x="292" y="2074"/>
                  </a:lnTo>
                  <a:lnTo>
                    <a:pt x="324" y="2055"/>
                  </a:lnTo>
                  <a:lnTo>
                    <a:pt x="315" y="197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 89"/>
            <p:cNvSpPr>
              <a:spLocks noChangeAspect="1"/>
            </p:cNvSpPr>
            <p:nvPr/>
          </p:nvSpPr>
          <p:spPr bwMode="auto">
            <a:xfrm>
              <a:off x="7833683" y="4222972"/>
              <a:ext cx="91429" cy="118922"/>
            </a:xfrm>
            <a:custGeom>
              <a:avLst/>
              <a:gdLst/>
              <a:ahLst/>
              <a:cxnLst>
                <a:cxn ang="0">
                  <a:pos x="27" y="4"/>
                </a:cxn>
                <a:cxn ang="0">
                  <a:pos x="14" y="29"/>
                </a:cxn>
                <a:cxn ang="0">
                  <a:pos x="14" y="163"/>
                </a:cxn>
                <a:cxn ang="0">
                  <a:pos x="0" y="176"/>
                </a:cxn>
                <a:cxn ang="0">
                  <a:pos x="20" y="197"/>
                </a:cxn>
                <a:cxn ang="0">
                  <a:pos x="66" y="201"/>
                </a:cxn>
                <a:cxn ang="0">
                  <a:pos x="79" y="173"/>
                </a:cxn>
                <a:cxn ang="0">
                  <a:pos x="93" y="148"/>
                </a:cxn>
                <a:cxn ang="0">
                  <a:pos x="120" y="122"/>
                </a:cxn>
                <a:cxn ang="0">
                  <a:pos x="155" y="124"/>
                </a:cxn>
                <a:cxn ang="0">
                  <a:pos x="145" y="90"/>
                </a:cxn>
                <a:cxn ang="0">
                  <a:pos x="117" y="70"/>
                </a:cxn>
                <a:cxn ang="0">
                  <a:pos x="110" y="42"/>
                </a:cxn>
                <a:cxn ang="0">
                  <a:pos x="86" y="31"/>
                </a:cxn>
                <a:cxn ang="0">
                  <a:pos x="58" y="25"/>
                </a:cxn>
                <a:cxn ang="0">
                  <a:pos x="48" y="0"/>
                </a:cxn>
                <a:cxn ang="0">
                  <a:pos x="27" y="4"/>
                </a:cxn>
              </a:cxnLst>
              <a:rect l="0" t="0" r="r" b="b"/>
              <a:pathLst>
                <a:path w="155" h="201">
                  <a:moveTo>
                    <a:pt x="27" y="4"/>
                  </a:moveTo>
                  <a:lnTo>
                    <a:pt x="14" y="29"/>
                  </a:lnTo>
                  <a:lnTo>
                    <a:pt x="14" y="163"/>
                  </a:lnTo>
                  <a:lnTo>
                    <a:pt x="0" y="176"/>
                  </a:lnTo>
                  <a:lnTo>
                    <a:pt x="20" y="197"/>
                  </a:lnTo>
                  <a:lnTo>
                    <a:pt x="66" y="201"/>
                  </a:lnTo>
                  <a:lnTo>
                    <a:pt x="79" y="173"/>
                  </a:lnTo>
                  <a:lnTo>
                    <a:pt x="93" y="148"/>
                  </a:lnTo>
                  <a:lnTo>
                    <a:pt x="120" y="122"/>
                  </a:lnTo>
                  <a:lnTo>
                    <a:pt x="155" y="124"/>
                  </a:lnTo>
                  <a:lnTo>
                    <a:pt x="145" y="90"/>
                  </a:lnTo>
                  <a:lnTo>
                    <a:pt x="117" y="70"/>
                  </a:lnTo>
                  <a:lnTo>
                    <a:pt x="110" y="42"/>
                  </a:lnTo>
                  <a:lnTo>
                    <a:pt x="86" y="31"/>
                  </a:lnTo>
                  <a:lnTo>
                    <a:pt x="58" y="25"/>
                  </a:lnTo>
                  <a:lnTo>
                    <a:pt x="48" y="0"/>
                  </a:lnTo>
                  <a:lnTo>
                    <a:pt x="27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 90"/>
            <p:cNvSpPr>
              <a:spLocks noChangeAspect="1"/>
            </p:cNvSpPr>
            <p:nvPr/>
          </p:nvSpPr>
          <p:spPr bwMode="auto">
            <a:xfrm>
              <a:off x="7766869" y="6070701"/>
              <a:ext cx="100220" cy="67448"/>
            </a:xfrm>
            <a:custGeom>
              <a:avLst/>
              <a:gdLst/>
              <a:ahLst/>
              <a:cxnLst>
                <a:cxn ang="0">
                  <a:pos x="52" y="28"/>
                </a:cxn>
                <a:cxn ang="0">
                  <a:pos x="4" y="35"/>
                </a:cxn>
                <a:cxn ang="0">
                  <a:pos x="0" y="79"/>
                </a:cxn>
                <a:cxn ang="0">
                  <a:pos x="8" y="114"/>
                </a:cxn>
                <a:cxn ang="0">
                  <a:pos x="44" y="79"/>
                </a:cxn>
                <a:cxn ang="0">
                  <a:pos x="68" y="94"/>
                </a:cxn>
                <a:cxn ang="0">
                  <a:pos x="131" y="75"/>
                </a:cxn>
                <a:cxn ang="0">
                  <a:pos x="170" y="55"/>
                </a:cxn>
                <a:cxn ang="0">
                  <a:pos x="123" y="28"/>
                </a:cxn>
                <a:cxn ang="0">
                  <a:pos x="96" y="0"/>
                </a:cxn>
                <a:cxn ang="0">
                  <a:pos x="92" y="31"/>
                </a:cxn>
                <a:cxn ang="0">
                  <a:pos x="52" y="28"/>
                </a:cxn>
              </a:cxnLst>
              <a:rect l="0" t="0" r="r" b="b"/>
              <a:pathLst>
                <a:path w="170" h="114">
                  <a:moveTo>
                    <a:pt x="52" y="28"/>
                  </a:moveTo>
                  <a:lnTo>
                    <a:pt x="4" y="35"/>
                  </a:lnTo>
                  <a:lnTo>
                    <a:pt x="0" y="79"/>
                  </a:lnTo>
                  <a:lnTo>
                    <a:pt x="8" y="114"/>
                  </a:lnTo>
                  <a:lnTo>
                    <a:pt x="44" y="79"/>
                  </a:lnTo>
                  <a:lnTo>
                    <a:pt x="68" y="94"/>
                  </a:lnTo>
                  <a:lnTo>
                    <a:pt x="131" y="75"/>
                  </a:lnTo>
                  <a:lnTo>
                    <a:pt x="170" y="55"/>
                  </a:lnTo>
                  <a:lnTo>
                    <a:pt x="123" y="28"/>
                  </a:lnTo>
                  <a:lnTo>
                    <a:pt x="96" y="0"/>
                  </a:lnTo>
                  <a:lnTo>
                    <a:pt x="92" y="31"/>
                  </a:lnTo>
                  <a:lnTo>
                    <a:pt x="52" y="2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 91"/>
            <p:cNvSpPr>
              <a:spLocks noChangeAspect="1"/>
            </p:cNvSpPr>
            <p:nvPr/>
          </p:nvSpPr>
          <p:spPr bwMode="auto">
            <a:xfrm>
              <a:off x="7995441" y="1927954"/>
              <a:ext cx="65055" cy="31949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0" y="55"/>
                </a:cxn>
                <a:cxn ang="0">
                  <a:pos x="56" y="55"/>
                </a:cxn>
                <a:cxn ang="0">
                  <a:pos x="111" y="31"/>
                </a:cxn>
                <a:cxn ang="0">
                  <a:pos x="32" y="0"/>
                </a:cxn>
              </a:cxnLst>
              <a:rect l="0" t="0" r="r" b="b"/>
              <a:pathLst>
                <a:path w="111" h="55">
                  <a:moveTo>
                    <a:pt x="32" y="0"/>
                  </a:moveTo>
                  <a:lnTo>
                    <a:pt x="0" y="55"/>
                  </a:lnTo>
                  <a:lnTo>
                    <a:pt x="56" y="55"/>
                  </a:lnTo>
                  <a:lnTo>
                    <a:pt x="111" y="31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 92"/>
            <p:cNvSpPr>
              <a:spLocks noChangeAspect="1"/>
            </p:cNvSpPr>
            <p:nvPr/>
          </p:nvSpPr>
          <p:spPr bwMode="auto">
            <a:xfrm>
              <a:off x="5205108" y="1878256"/>
              <a:ext cx="882638" cy="729507"/>
            </a:xfrm>
            <a:custGeom>
              <a:avLst/>
              <a:gdLst/>
              <a:ahLst/>
              <a:cxnLst>
                <a:cxn ang="0">
                  <a:pos x="723" y="31"/>
                </a:cxn>
                <a:cxn ang="0">
                  <a:pos x="605" y="79"/>
                </a:cxn>
                <a:cxn ang="0">
                  <a:pos x="454" y="174"/>
                </a:cxn>
                <a:cxn ang="0">
                  <a:pos x="280" y="237"/>
                </a:cxn>
                <a:cxn ang="0">
                  <a:pos x="502" y="356"/>
                </a:cxn>
                <a:cxn ang="0">
                  <a:pos x="344" y="388"/>
                </a:cxn>
                <a:cxn ang="0">
                  <a:pos x="265" y="364"/>
                </a:cxn>
                <a:cxn ang="0">
                  <a:pos x="186" y="395"/>
                </a:cxn>
                <a:cxn ang="0">
                  <a:pos x="209" y="451"/>
                </a:cxn>
                <a:cxn ang="0">
                  <a:pos x="233" y="522"/>
                </a:cxn>
                <a:cxn ang="0">
                  <a:pos x="391" y="482"/>
                </a:cxn>
                <a:cxn ang="0">
                  <a:pos x="383" y="530"/>
                </a:cxn>
                <a:cxn ang="0">
                  <a:pos x="304" y="585"/>
                </a:cxn>
                <a:cxn ang="0">
                  <a:pos x="248" y="601"/>
                </a:cxn>
                <a:cxn ang="0">
                  <a:pos x="178" y="680"/>
                </a:cxn>
                <a:cxn ang="0">
                  <a:pos x="138" y="751"/>
                </a:cxn>
                <a:cxn ang="0">
                  <a:pos x="123" y="798"/>
                </a:cxn>
                <a:cxn ang="0">
                  <a:pos x="209" y="839"/>
                </a:cxn>
                <a:cxn ang="0">
                  <a:pos x="233" y="861"/>
                </a:cxn>
                <a:cxn ang="0">
                  <a:pos x="217" y="949"/>
                </a:cxn>
                <a:cxn ang="0">
                  <a:pos x="312" y="945"/>
                </a:cxn>
                <a:cxn ang="0">
                  <a:pos x="375" y="1001"/>
                </a:cxn>
                <a:cxn ang="0">
                  <a:pos x="63" y="1178"/>
                </a:cxn>
                <a:cxn ang="0">
                  <a:pos x="4" y="1233"/>
                </a:cxn>
                <a:cxn ang="0">
                  <a:pos x="438" y="1043"/>
                </a:cxn>
                <a:cxn ang="0">
                  <a:pos x="498" y="996"/>
                </a:cxn>
                <a:cxn ang="0">
                  <a:pos x="548" y="913"/>
                </a:cxn>
                <a:cxn ang="0">
                  <a:pos x="707" y="743"/>
                </a:cxn>
                <a:cxn ang="0">
                  <a:pos x="664" y="850"/>
                </a:cxn>
                <a:cxn ang="0">
                  <a:pos x="651" y="901"/>
                </a:cxn>
                <a:cxn ang="0">
                  <a:pos x="688" y="925"/>
                </a:cxn>
                <a:cxn ang="0">
                  <a:pos x="705" y="925"/>
                </a:cxn>
                <a:cxn ang="0">
                  <a:pos x="724" y="916"/>
                </a:cxn>
                <a:cxn ang="0">
                  <a:pos x="743" y="904"/>
                </a:cxn>
                <a:cxn ang="0">
                  <a:pos x="776" y="871"/>
                </a:cxn>
                <a:cxn ang="0">
                  <a:pos x="798" y="842"/>
                </a:cxn>
                <a:cxn ang="0">
                  <a:pos x="846" y="771"/>
                </a:cxn>
                <a:cxn ang="0">
                  <a:pos x="916" y="782"/>
                </a:cxn>
                <a:cxn ang="0">
                  <a:pos x="960" y="826"/>
                </a:cxn>
                <a:cxn ang="0">
                  <a:pos x="1115" y="846"/>
                </a:cxn>
                <a:cxn ang="0">
                  <a:pos x="1165" y="885"/>
                </a:cxn>
                <a:cxn ang="0">
                  <a:pos x="1209" y="916"/>
                </a:cxn>
                <a:cxn ang="0">
                  <a:pos x="1257" y="968"/>
                </a:cxn>
                <a:cxn ang="0">
                  <a:pos x="1295" y="968"/>
                </a:cxn>
                <a:cxn ang="0">
                  <a:pos x="1339" y="968"/>
                </a:cxn>
                <a:cxn ang="0">
                  <a:pos x="1356" y="996"/>
                </a:cxn>
                <a:cxn ang="0">
                  <a:pos x="1375" y="1060"/>
                </a:cxn>
                <a:cxn ang="0">
                  <a:pos x="1402" y="1099"/>
                </a:cxn>
                <a:cxn ang="0">
                  <a:pos x="1474" y="1119"/>
                </a:cxn>
                <a:cxn ang="0">
                  <a:pos x="1442" y="1071"/>
                </a:cxn>
                <a:cxn ang="0">
                  <a:pos x="1402" y="984"/>
                </a:cxn>
                <a:cxn ang="0">
                  <a:pos x="1323" y="854"/>
                </a:cxn>
                <a:cxn ang="0">
                  <a:pos x="1288" y="881"/>
                </a:cxn>
                <a:cxn ang="0">
                  <a:pos x="1249" y="909"/>
                </a:cxn>
                <a:cxn ang="0">
                  <a:pos x="1198" y="822"/>
                </a:cxn>
                <a:cxn ang="0">
                  <a:pos x="1137" y="822"/>
                </a:cxn>
                <a:cxn ang="0">
                  <a:pos x="1292" y="83"/>
                </a:cxn>
                <a:cxn ang="0">
                  <a:pos x="1133" y="99"/>
                </a:cxn>
                <a:cxn ang="0">
                  <a:pos x="960" y="79"/>
                </a:cxn>
                <a:cxn ang="0">
                  <a:pos x="865" y="55"/>
                </a:cxn>
                <a:cxn ang="0">
                  <a:pos x="794" y="4"/>
                </a:cxn>
              </a:cxnLst>
              <a:rect l="0" t="0" r="r" b="b"/>
              <a:pathLst>
                <a:path w="1505" h="1233">
                  <a:moveTo>
                    <a:pt x="762" y="0"/>
                  </a:moveTo>
                  <a:lnTo>
                    <a:pt x="723" y="31"/>
                  </a:lnTo>
                  <a:lnTo>
                    <a:pt x="628" y="31"/>
                  </a:lnTo>
                  <a:lnTo>
                    <a:pt x="605" y="79"/>
                  </a:lnTo>
                  <a:lnTo>
                    <a:pt x="493" y="86"/>
                  </a:lnTo>
                  <a:lnTo>
                    <a:pt x="454" y="174"/>
                  </a:lnTo>
                  <a:lnTo>
                    <a:pt x="296" y="198"/>
                  </a:lnTo>
                  <a:lnTo>
                    <a:pt x="280" y="237"/>
                  </a:lnTo>
                  <a:lnTo>
                    <a:pt x="368" y="300"/>
                  </a:lnTo>
                  <a:lnTo>
                    <a:pt x="502" y="356"/>
                  </a:lnTo>
                  <a:lnTo>
                    <a:pt x="407" y="372"/>
                  </a:lnTo>
                  <a:lnTo>
                    <a:pt x="344" y="388"/>
                  </a:lnTo>
                  <a:lnTo>
                    <a:pt x="312" y="348"/>
                  </a:lnTo>
                  <a:lnTo>
                    <a:pt x="265" y="364"/>
                  </a:lnTo>
                  <a:lnTo>
                    <a:pt x="265" y="388"/>
                  </a:lnTo>
                  <a:lnTo>
                    <a:pt x="186" y="395"/>
                  </a:lnTo>
                  <a:lnTo>
                    <a:pt x="162" y="427"/>
                  </a:lnTo>
                  <a:lnTo>
                    <a:pt x="209" y="451"/>
                  </a:lnTo>
                  <a:lnTo>
                    <a:pt x="201" y="498"/>
                  </a:lnTo>
                  <a:lnTo>
                    <a:pt x="233" y="522"/>
                  </a:lnTo>
                  <a:lnTo>
                    <a:pt x="327" y="522"/>
                  </a:lnTo>
                  <a:lnTo>
                    <a:pt x="391" y="482"/>
                  </a:lnTo>
                  <a:lnTo>
                    <a:pt x="414" y="506"/>
                  </a:lnTo>
                  <a:lnTo>
                    <a:pt x="383" y="530"/>
                  </a:lnTo>
                  <a:lnTo>
                    <a:pt x="375" y="585"/>
                  </a:lnTo>
                  <a:lnTo>
                    <a:pt x="304" y="585"/>
                  </a:lnTo>
                  <a:lnTo>
                    <a:pt x="289" y="633"/>
                  </a:lnTo>
                  <a:lnTo>
                    <a:pt x="248" y="601"/>
                  </a:lnTo>
                  <a:lnTo>
                    <a:pt x="186" y="633"/>
                  </a:lnTo>
                  <a:lnTo>
                    <a:pt x="178" y="680"/>
                  </a:lnTo>
                  <a:lnTo>
                    <a:pt x="114" y="712"/>
                  </a:lnTo>
                  <a:lnTo>
                    <a:pt x="138" y="751"/>
                  </a:lnTo>
                  <a:lnTo>
                    <a:pt x="178" y="767"/>
                  </a:lnTo>
                  <a:lnTo>
                    <a:pt x="123" y="798"/>
                  </a:lnTo>
                  <a:lnTo>
                    <a:pt x="162" y="846"/>
                  </a:lnTo>
                  <a:lnTo>
                    <a:pt x="209" y="839"/>
                  </a:lnTo>
                  <a:lnTo>
                    <a:pt x="233" y="798"/>
                  </a:lnTo>
                  <a:lnTo>
                    <a:pt x="233" y="861"/>
                  </a:lnTo>
                  <a:lnTo>
                    <a:pt x="209" y="901"/>
                  </a:lnTo>
                  <a:lnTo>
                    <a:pt x="217" y="949"/>
                  </a:lnTo>
                  <a:lnTo>
                    <a:pt x="289" y="925"/>
                  </a:lnTo>
                  <a:lnTo>
                    <a:pt x="312" y="945"/>
                  </a:lnTo>
                  <a:lnTo>
                    <a:pt x="368" y="925"/>
                  </a:lnTo>
                  <a:lnTo>
                    <a:pt x="375" y="1001"/>
                  </a:lnTo>
                  <a:lnTo>
                    <a:pt x="193" y="1119"/>
                  </a:lnTo>
                  <a:lnTo>
                    <a:pt x="63" y="1178"/>
                  </a:lnTo>
                  <a:lnTo>
                    <a:pt x="0" y="1205"/>
                  </a:lnTo>
                  <a:lnTo>
                    <a:pt x="4" y="1233"/>
                  </a:lnTo>
                  <a:lnTo>
                    <a:pt x="213" y="1194"/>
                  </a:lnTo>
                  <a:lnTo>
                    <a:pt x="438" y="1043"/>
                  </a:lnTo>
                  <a:lnTo>
                    <a:pt x="462" y="1019"/>
                  </a:lnTo>
                  <a:lnTo>
                    <a:pt x="498" y="996"/>
                  </a:lnTo>
                  <a:lnTo>
                    <a:pt x="561" y="957"/>
                  </a:lnTo>
                  <a:lnTo>
                    <a:pt x="548" y="913"/>
                  </a:lnTo>
                  <a:lnTo>
                    <a:pt x="620" y="850"/>
                  </a:lnTo>
                  <a:lnTo>
                    <a:pt x="707" y="743"/>
                  </a:lnTo>
                  <a:lnTo>
                    <a:pt x="782" y="763"/>
                  </a:lnTo>
                  <a:lnTo>
                    <a:pt x="664" y="850"/>
                  </a:lnTo>
                  <a:lnTo>
                    <a:pt x="684" y="878"/>
                  </a:lnTo>
                  <a:lnTo>
                    <a:pt x="651" y="901"/>
                  </a:lnTo>
                  <a:lnTo>
                    <a:pt x="688" y="925"/>
                  </a:lnTo>
                  <a:lnTo>
                    <a:pt x="688" y="925"/>
                  </a:lnTo>
                  <a:lnTo>
                    <a:pt x="697" y="927"/>
                  </a:lnTo>
                  <a:lnTo>
                    <a:pt x="705" y="925"/>
                  </a:lnTo>
                  <a:lnTo>
                    <a:pt x="715" y="922"/>
                  </a:lnTo>
                  <a:lnTo>
                    <a:pt x="724" y="916"/>
                  </a:lnTo>
                  <a:lnTo>
                    <a:pt x="734" y="911"/>
                  </a:lnTo>
                  <a:lnTo>
                    <a:pt x="743" y="904"/>
                  </a:lnTo>
                  <a:lnTo>
                    <a:pt x="761" y="888"/>
                  </a:lnTo>
                  <a:lnTo>
                    <a:pt x="776" y="871"/>
                  </a:lnTo>
                  <a:lnTo>
                    <a:pt x="787" y="856"/>
                  </a:lnTo>
                  <a:lnTo>
                    <a:pt x="798" y="842"/>
                  </a:lnTo>
                  <a:lnTo>
                    <a:pt x="837" y="822"/>
                  </a:lnTo>
                  <a:lnTo>
                    <a:pt x="846" y="771"/>
                  </a:lnTo>
                  <a:lnTo>
                    <a:pt x="905" y="751"/>
                  </a:lnTo>
                  <a:lnTo>
                    <a:pt x="916" y="782"/>
                  </a:lnTo>
                  <a:lnTo>
                    <a:pt x="960" y="787"/>
                  </a:lnTo>
                  <a:lnTo>
                    <a:pt x="960" y="826"/>
                  </a:lnTo>
                  <a:lnTo>
                    <a:pt x="1098" y="834"/>
                  </a:lnTo>
                  <a:lnTo>
                    <a:pt x="1115" y="846"/>
                  </a:lnTo>
                  <a:lnTo>
                    <a:pt x="1118" y="874"/>
                  </a:lnTo>
                  <a:lnTo>
                    <a:pt x="1165" y="885"/>
                  </a:lnTo>
                  <a:lnTo>
                    <a:pt x="1174" y="922"/>
                  </a:lnTo>
                  <a:lnTo>
                    <a:pt x="1209" y="916"/>
                  </a:lnTo>
                  <a:lnTo>
                    <a:pt x="1221" y="949"/>
                  </a:lnTo>
                  <a:lnTo>
                    <a:pt x="1257" y="968"/>
                  </a:lnTo>
                  <a:lnTo>
                    <a:pt x="1277" y="937"/>
                  </a:lnTo>
                  <a:lnTo>
                    <a:pt x="1295" y="968"/>
                  </a:lnTo>
                  <a:lnTo>
                    <a:pt x="1323" y="984"/>
                  </a:lnTo>
                  <a:lnTo>
                    <a:pt x="1339" y="968"/>
                  </a:lnTo>
                  <a:lnTo>
                    <a:pt x="1359" y="977"/>
                  </a:lnTo>
                  <a:lnTo>
                    <a:pt x="1356" y="996"/>
                  </a:lnTo>
                  <a:lnTo>
                    <a:pt x="1356" y="1036"/>
                  </a:lnTo>
                  <a:lnTo>
                    <a:pt x="1375" y="1060"/>
                  </a:lnTo>
                  <a:lnTo>
                    <a:pt x="1402" y="1063"/>
                  </a:lnTo>
                  <a:lnTo>
                    <a:pt x="1402" y="1099"/>
                  </a:lnTo>
                  <a:lnTo>
                    <a:pt x="1439" y="1119"/>
                  </a:lnTo>
                  <a:lnTo>
                    <a:pt x="1474" y="1119"/>
                  </a:lnTo>
                  <a:lnTo>
                    <a:pt x="1505" y="1087"/>
                  </a:lnTo>
                  <a:lnTo>
                    <a:pt x="1442" y="1071"/>
                  </a:lnTo>
                  <a:lnTo>
                    <a:pt x="1426" y="996"/>
                  </a:lnTo>
                  <a:lnTo>
                    <a:pt x="1402" y="984"/>
                  </a:lnTo>
                  <a:lnTo>
                    <a:pt x="1391" y="929"/>
                  </a:lnTo>
                  <a:lnTo>
                    <a:pt x="1323" y="854"/>
                  </a:lnTo>
                  <a:lnTo>
                    <a:pt x="1295" y="850"/>
                  </a:lnTo>
                  <a:lnTo>
                    <a:pt x="1288" y="881"/>
                  </a:lnTo>
                  <a:lnTo>
                    <a:pt x="1260" y="881"/>
                  </a:lnTo>
                  <a:lnTo>
                    <a:pt x="1249" y="909"/>
                  </a:lnTo>
                  <a:lnTo>
                    <a:pt x="1209" y="881"/>
                  </a:lnTo>
                  <a:lnTo>
                    <a:pt x="1198" y="822"/>
                  </a:lnTo>
                  <a:lnTo>
                    <a:pt x="1177" y="806"/>
                  </a:lnTo>
                  <a:lnTo>
                    <a:pt x="1137" y="822"/>
                  </a:lnTo>
                  <a:lnTo>
                    <a:pt x="1339" y="127"/>
                  </a:lnTo>
                  <a:lnTo>
                    <a:pt x="1292" y="83"/>
                  </a:lnTo>
                  <a:lnTo>
                    <a:pt x="1181" y="95"/>
                  </a:lnTo>
                  <a:lnTo>
                    <a:pt x="1133" y="99"/>
                  </a:lnTo>
                  <a:lnTo>
                    <a:pt x="1102" y="68"/>
                  </a:lnTo>
                  <a:lnTo>
                    <a:pt x="960" y="79"/>
                  </a:lnTo>
                  <a:lnTo>
                    <a:pt x="913" y="16"/>
                  </a:lnTo>
                  <a:lnTo>
                    <a:pt x="865" y="55"/>
                  </a:lnTo>
                  <a:lnTo>
                    <a:pt x="798" y="48"/>
                  </a:lnTo>
                  <a:lnTo>
                    <a:pt x="794" y="4"/>
                  </a:lnTo>
                  <a:lnTo>
                    <a:pt x="762" y="0"/>
                  </a:lnTo>
                  <a:close/>
                </a:path>
              </a:pathLst>
            </a:custGeom>
            <a:solidFill>
              <a:srgbClr val="A0AEC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 93"/>
            <p:cNvSpPr>
              <a:spLocks noChangeAspect="1"/>
            </p:cNvSpPr>
            <p:nvPr/>
          </p:nvSpPr>
          <p:spPr bwMode="auto">
            <a:xfrm>
              <a:off x="6094779" y="2801233"/>
              <a:ext cx="1494507" cy="844879"/>
            </a:xfrm>
            <a:custGeom>
              <a:avLst/>
              <a:gdLst/>
              <a:ahLst/>
              <a:cxnLst>
                <a:cxn ang="0">
                  <a:pos x="1374" y="31"/>
                </a:cxn>
                <a:cxn ang="0">
                  <a:pos x="1663" y="43"/>
                </a:cxn>
                <a:cxn ang="0">
                  <a:pos x="1849" y="221"/>
                </a:cxn>
                <a:cxn ang="0">
                  <a:pos x="1813" y="426"/>
                </a:cxn>
                <a:cxn ang="0">
                  <a:pos x="2018" y="331"/>
                </a:cxn>
                <a:cxn ang="0">
                  <a:pos x="2177" y="232"/>
                </a:cxn>
                <a:cxn ang="0">
                  <a:pos x="2418" y="157"/>
                </a:cxn>
                <a:cxn ang="0">
                  <a:pos x="2517" y="221"/>
                </a:cxn>
                <a:cxn ang="0">
                  <a:pos x="2480" y="272"/>
                </a:cxn>
                <a:cxn ang="0">
                  <a:pos x="2421" y="319"/>
                </a:cxn>
                <a:cxn ang="0">
                  <a:pos x="2362" y="394"/>
                </a:cxn>
                <a:cxn ang="0">
                  <a:pos x="2271" y="458"/>
                </a:cxn>
                <a:cxn ang="0">
                  <a:pos x="2192" y="525"/>
                </a:cxn>
                <a:cxn ang="0">
                  <a:pos x="2125" y="648"/>
                </a:cxn>
                <a:cxn ang="0">
                  <a:pos x="2109" y="714"/>
                </a:cxn>
                <a:cxn ang="0">
                  <a:pos x="2066" y="861"/>
                </a:cxn>
                <a:cxn ang="0">
                  <a:pos x="1943" y="904"/>
                </a:cxn>
                <a:cxn ang="0">
                  <a:pos x="1853" y="992"/>
                </a:cxn>
                <a:cxn ang="0">
                  <a:pos x="1836" y="1165"/>
                </a:cxn>
                <a:cxn ang="0">
                  <a:pos x="1869" y="1272"/>
                </a:cxn>
                <a:cxn ang="0">
                  <a:pos x="1849" y="1399"/>
                </a:cxn>
                <a:cxn ang="0">
                  <a:pos x="1757" y="1241"/>
                </a:cxn>
                <a:cxn ang="0">
                  <a:pos x="1687" y="1099"/>
                </a:cxn>
                <a:cxn ang="0">
                  <a:pos x="1485" y="1094"/>
                </a:cxn>
                <a:cxn ang="0">
                  <a:pos x="1426" y="1169"/>
                </a:cxn>
                <a:cxn ang="0">
                  <a:pos x="1330" y="1106"/>
                </a:cxn>
                <a:cxn ang="0">
                  <a:pos x="1264" y="1106"/>
                </a:cxn>
                <a:cxn ang="0">
                  <a:pos x="1177" y="1197"/>
                </a:cxn>
                <a:cxn ang="0">
                  <a:pos x="1078" y="1327"/>
                </a:cxn>
                <a:cxn ang="0">
                  <a:pos x="964" y="1244"/>
                </a:cxn>
                <a:cxn ang="0">
                  <a:pos x="876" y="1106"/>
                </a:cxn>
                <a:cxn ang="0">
                  <a:pos x="789" y="1094"/>
                </a:cxn>
                <a:cxn ang="0">
                  <a:pos x="723" y="1035"/>
                </a:cxn>
                <a:cxn ang="0">
                  <a:pos x="635" y="1014"/>
                </a:cxn>
                <a:cxn ang="0">
                  <a:pos x="509" y="1062"/>
                </a:cxn>
                <a:cxn ang="0">
                  <a:pos x="351" y="983"/>
                </a:cxn>
                <a:cxn ang="0">
                  <a:pos x="244" y="913"/>
                </a:cxn>
                <a:cxn ang="0">
                  <a:pos x="101" y="841"/>
                </a:cxn>
                <a:cxn ang="0">
                  <a:pos x="59" y="731"/>
                </a:cxn>
                <a:cxn ang="0">
                  <a:pos x="7" y="611"/>
                </a:cxn>
                <a:cxn ang="0">
                  <a:pos x="7" y="434"/>
                </a:cxn>
                <a:cxn ang="0">
                  <a:pos x="24" y="335"/>
                </a:cxn>
                <a:cxn ang="0">
                  <a:pos x="70" y="221"/>
                </a:cxn>
                <a:cxn ang="0">
                  <a:pos x="83" y="83"/>
                </a:cxn>
                <a:cxn ang="0">
                  <a:pos x="149" y="66"/>
                </a:cxn>
              </a:cxnLst>
              <a:rect l="0" t="0" r="r" b="b"/>
              <a:pathLst>
                <a:path w="2548" h="1428">
                  <a:moveTo>
                    <a:pt x="177" y="4"/>
                  </a:moveTo>
                  <a:lnTo>
                    <a:pt x="1378" y="0"/>
                  </a:lnTo>
                  <a:lnTo>
                    <a:pt x="1374" y="31"/>
                  </a:lnTo>
                  <a:lnTo>
                    <a:pt x="1457" y="31"/>
                  </a:lnTo>
                  <a:lnTo>
                    <a:pt x="1584" y="43"/>
                  </a:lnTo>
                  <a:lnTo>
                    <a:pt x="1663" y="43"/>
                  </a:lnTo>
                  <a:lnTo>
                    <a:pt x="1726" y="90"/>
                  </a:lnTo>
                  <a:lnTo>
                    <a:pt x="1801" y="129"/>
                  </a:lnTo>
                  <a:lnTo>
                    <a:pt x="1849" y="221"/>
                  </a:lnTo>
                  <a:lnTo>
                    <a:pt x="1892" y="311"/>
                  </a:lnTo>
                  <a:lnTo>
                    <a:pt x="1836" y="390"/>
                  </a:lnTo>
                  <a:lnTo>
                    <a:pt x="1813" y="426"/>
                  </a:lnTo>
                  <a:lnTo>
                    <a:pt x="1880" y="453"/>
                  </a:lnTo>
                  <a:lnTo>
                    <a:pt x="1980" y="367"/>
                  </a:lnTo>
                  <a:lnTo>
                    <a:pt x="2018" y="331"/>
                  </a:lnTo>
                  <a:lnTo>
                    <a:pt x="2121" y="335"/>
                  </a:lnTo>
                  <a:lnTo>
                    <a:pt x="2142" y="269"/>
                  </a:lnTo>
                  <a:lnTo>
                    <a:pt x="2177" y="232"/>
                  </a:lnTo>
                  <a:lnTo>
                    <a:pt x="2362" y="245"/>
                  </a:lnTo>
                  <a:lnTo>
                    <a:pt x="2394" y="201"/>
                  </a:lnTo>
                  <a:lnTo>
                    <a:pt x="2418" y="157"/>
                  </a:lnTo>
                  <a:lnTo>
                    <a:pt x="2445" y="83"/>
                  </a:lnTo>
                  <a:lnTo>
                    <a:pt x="2508" y="94"/>
                  </a:lnTo>
                  <a:lnTo>
                    <a:pt x="2517" y="221"/>
                  </a:lnTo>
                  <a:lnTo>
                    <a:pt x="2548" y="236"/>
                  </a:lnTo>
                  <a:lnTo>
                    <a:pt x="2521" y="269"/>
                  </a:lnTo>
                  <a:lnTo>
                    <a:pt x="2480" y="272"/>
                  </a:lnTo>
                  <a:lnTo>
                    <a:pt x="2462" y="300"/>
                  </a:lnTo>
                  <a:lnTo>
                    <a:pt x="2429" y="296"/>
                  </a:lnTo>
                  <a:lnTo>
                    <a:pt x="2421" y="319"/>
                  </a:lnTo>
                  <a:lnTo>
                    <a:pt x="2386" y="319"/>
                  </a:lnTo>
                  <a:lnTo>
                    <a:pt x="2370" y="359"/>
                  </a:lnTo>
                  <a:lnTo>
                    <a:pt x="2362" y="394"/>
                  </a:lnTo>
                  <a:lnTo>
                    <a:pt x="2394" y="426"/>
                  </a:lnTo>
                  <a:lnTo>
                    <a:pt x="2355" y="449"/>
                  </a:lnTo>
                  <a:lnTo>
                    <a:pt x="2271" y="458"/>
                  </a:lnTo>
                  <a:lnTo>
                    <a:pt x="2256" y="493"/>
                  </a:lnTo>
                  <a:lnTo>
                    <a:pt x="2239" y="517"/>
                  </a:lnTo>
                  <a:lnTo>
                    <a:pt x="2192" y="525"/>
                  </a:lnTo>
                  <a:lnTo>
                    <a:pt x="2169" y="556"/>
                  </a:lnTo>
                  <a:lnTo>
                    <a:pt x="2157" y="635"/>
                  </a:lnTo>
                  <a:lnTo>
                    <a:pt x="2125" y="648"/>
                  </a:lnTo>
                  <a:lnTo>
                    <a:pt x="2105" y="672"/>
                  </a:lnTo>
                  <a:lnTo>
                    <a:pt x="2086" y="699"/>
                  </a:lnTo>
                  <a:lnTo>
                    <a:pt x="2109" y="714"/>
                  </a:lnTo>
                  <a:lnTo>
                    <a:pt x="2105" y="810"/>
                  </a:lnTo>
                  <a:lnTo>
                    <a:pt x="2074" y="825"/>
                  </a:lnTo>
                  <a:lnTo>
                    <a:pt x="2066" y="861"/>
                  </a:lnTo>
                  <a:lnTo>
                    <a:pt x="2015" y="858"/>
                  </a:lnTo>
                  <a:lnTo>
                    <a:pt x="1991" y="889"/>
                  </a:lnTo>
                  <a:lnTo>
                    <a:pt x="1943" y="904"/>
                  </a:lnTo>
                  <a:lnTo>
                    <a:pt x="1928" y="948"/>
                  </a:lnTo>
                  <a:lnTo>
                    <a:pt x="1892" y="955"/>
                  </a:lnTo>
                  <a:lnTo>
                    <a:pt x="1853" y="992"/>
                  </a:lnTo>
                  <a:lnTo>
                    <a:pt x="1840" y="1035"/>
                  </a:lnTo>
                  <a:lnTo>
                    <a:pt x="1840" y="1106"/>
                  </a:lnTo>
                  <a:lnTo>
                    <a:pt x="1836" y="1165"/>
                  </a:lnTo>
                  <a:lnTo>
                    <a:pt x="1857" y="1173"/>
                  </a:lnTo>
                  <a:lnTo>
                    <a:pt x="1860" y="1252"/>
                  </a:lnTo>
                  <a:lnTo>
                    <a:pt x="1869" y="1272"/>
                  </a:lnTo>
                  <a:lnTo>
                    <a:pt x="1890" y="1385"/>
                  </a:lnTo>
                  <a:lnTo>
                    <a:pt x="1872" y="1428"/>
                  </a:lnTo>
                  <a:lnTo>
                    <a:pt x="1849" y="1399"/>
                  </a:lnTo>
                  <a:lnTo>
                    <a:pt x="1801" y="1371"/>
                  </a:lnTo>
                  <a:lnTo>
                    <a:pt x="1777" y="1307"/>
                  </a:lnTo>
                  <a:lnTo>
                    <a:pt x="1757" y="1241"/>
                  </a:lnTo>
                  <a:lnTo>
                    <a:pt x="1766" y="1169"/>
                  </a:lnTo>
                  <a:lnTo>
                    <a:pt x="1730" y="1134"/>
                  </a:lnTo>
                  <a:lnTo>
                    <a:pt x="1687" y="1099"/>
                  </a:lnTo>
                  <a:lnTo>
                    <a:pt x="1632" y="1110"/>
                  </a:lnTo>
                  <a:lnTo>
                    <a:pt x="1588" y="1086"/>
                  </a:lnTo>
                  <a:lnTo>
                    <a:pt x="1485" y="1094"/>
                  </a:lnTo>
                  <a:lnTo>
                    <a:pt x="1454" y="1117"/>
                  </a:lnTo>
                  <a:lnTo>
                    <a:pt x="1474" y="1165"/>
                  </a:lnTo>
                  <a:lnTo>
                    <a:pt x="1426" y="1169"/>
                  </a:lnTo>
                  <a:lnTo>
                    <a:pt x="1374" y="1158"/>
                  </a:lnTo>
                  <a:lnTo>
                    <a:pt x="1367" y="1094"/>
                  </a:lnTo>
                  <a:lnTo>
                    <a:pt x="1330" y="1106"/>
                  </a:lnTo>
                  <a:lnTo>
                    <a:pt x="1319" y="1154"/>
                  </a:lnTo>
                  <a:lnTo>
                    <a:pt x="1292" y="1145"/>
                  </a:lnTo>
                  <a:lnTo>
                    <a:pt x="1264" y="1106"/>
                  </a:lnTo>
                  <a:lnTo>
                    <a:pt x="1233" y="1126"/>
                  </a:lnTo>
                  <a:lnTo>
                    <a:pt x="1205" y="1154"/>
                  </a:lnTo>
                  <a:lnTo>
                    <a:pt x="1177" y="1197"/>
                  </a:lnTo>
                  <a:lnTo>
                    <a:pt x="1150" y="1228"/>
                  </a:lnTo>
                  <a:lnTo>
                    <a:pt x="1098" y="1252"/>
                  </a:lnTo>
                  <a:lnTo>
                    <a:pt x="1078" y="1327"/>
                  </a:lnTo>
                  <a:lnTo>
                    <a:pt x="1015" y="1327"/>
                  </a:lnTo>
                  <a:lnTo>
                    <a:pt x="1003" y="1264"/>
                  </a:lnTo>
                  <a:lnTo>
                    <a:pt x="964" y="1244"/>
                  </a:lnTo>
                  <a:lnTo>
                    <a:pt x="951" y="1176"/>
                  </a:lnTo>
                  <a:lnTo>
                    <a:pt x="924" y="1141"/>
                  </a:lnTo>
                  <a:lnTo>
                    <a:pt x="876" y="1106"/>
                  </a:lnTo>
                  <a:lnTo>
                    <a:pt x="861" y="1169"/>
                  </a:lnTo>
                  <a:lnTo>
                    <a:pt x="813" y="1169"/>
                  </a:lnTo>
                  <a:lnTo>
                    <a:pt x="789" y="1094"/>
                  </a:lnTo>
                  <a:lnTo>
                    <a:pt x="762" y="1086"/>
                  </a:lnTo>
                  <a:lnTo>
                    <a:pt x="758" y="1042"/>
                  </a:lnTo>
                  <a:lnTo>
                    <a:pt x="723" y="1035"/>
                  </a:lnTo>
                  <a:lnTo>
                    <a:pt x="706" y="987"/>
                  </a:lnTo>
                  <a:lnTo>
                    <a:pt x="675" y="1011"/>
                  </a:lnTo>
                  <a:lnTo>
                    <a:pt x="635" y="1014"/>
                  </a:lnTo>
                  <a:lnTo>
                    <a:pt x="627" y="1042"/>
                  </a:lnTo>
                  <a:lnTo>
                    <a:pt x="561" y="1042"/>
                  </a:lnTo>
                  <a:lnTo>
                    <a:pt x="509" y="1062"/>
                  </a:lnTo>
                  <a:lnTo>
                    <a:pt x="438" y="1047"/>
                  </a:lnTo>
                  <a:lnTo>
                    <a:pt x="390" y="999"/>
                  </a:lnTo>
                  <a:lnTo>
                    <a:pt x="351" y="983"/>
                  </a:lnTo>
                  <a:lnTo>
                    <a:pt x="339" y="955"/>
                  </a:lnTo>
                  <a:lnTo>
                    <a:pt x="241" y="952"/>
                  </a:lnTo>
                  <a:lnTo>
                    <a:pt x="244" y="913"/>
                  </a:lnTo>
                  <a:lnTo>
                    <a:pt x="185" y="893"/>
                  </a:lnTo>
                  <a:lnTo>
                    <a:pt x="145" y="861"/>
                  </a:lnTo>
                  <a:lnTo>
                    <a:pt x="101" y="841"/>
                  </a:lnTo>
                  <a:lnTo>
                    <a:pt x="110" y="778"/>
                  </a:lnTo>
                  <a:lnTo>
                    <a:pt x="55" y="766"/>
                  </a:lnTo>
                  <a:lnTo>
                    <a:pt x="59" y="731"/>
                  </a:lnTo>
                  <a:lnTo>
                    <a:pt x="74" y="687"/>
                  </a:lnTo>
                  <a:lnTo>
                    <a:pt x="46" y="652"/>
                  </a:lnTo>
                  <a:lnTo>
                    <a:pt x="7" y="611"/>
                  </a:lnTo>
                  <a:lnTo>
                    <a:pt x="0" y="477"/>
                  </a:lnTo>
                  <a:lnTo>
                    <a:pt x="27" y="453"/>
                  </a:lnTo>
                  <a:lnTo>
                    <a:pt x="7" y="434"/>
                  </a:lnTo>
                  <a:lnTo>
                    <a:pt x="3" y="411"/>
                  </a:lnTo>
                  <a:lnTo>
                    <a:pt x="15" y="387"/>
                  </a:lnTo>
                  <a:lnTo>
                    <a:pt x="24" y="335"/>
                  </a:lnTo>
                  <a:lnTo>
                    <a:pt x="46" y="319"/>
                  </a:lnTo>
                  <a:lnTo>
                    <a:pt x="46" y="241"/>
                  </a:lnTo>
                  <a:lnTo>
                    <a:pt x="70" y="221"/>
                  </a:lnTo>
                  <a:lnTo>
                    <a:pt x="90" y="129"/>
                  </a:lnTo>
                  <a:lnTo>
                    <a:pt x="114" y="122"/>
                  </a:lnTo>
                  <a:lnTo>
                    <a:pt x="83" y="83"/>
                  </a:lnTo>
                  <a:lnTo>
                    <a:pt x="83" y="43"/>
                  </a:lnTo>
                  <a:lnTo>
                    <a:pt x="121" y="35"/>
                  </a:lnTo>
                  <a:lnTo>
                    <a:pt x="149" y="66"/>
                  </a:lnTo>
                  <a:lnTo>
                    <a:pt x="169" y="94"/>
                  </a:lnTo>
                  <a:lnTo>
                    <a:pt x="177" y="4"/>
                  </a:lnTo>
                  <a:close/>
                </a:path>
              </a:pathLst>
            </a:custGeom>
            <a:solidFill>
              <a:srgbClr val="A0AEC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4" name="Freeform 94"/>
            <p:cNvSpPr>
              <a:spLocks noChangeAspect="1"/>
            </p:cNvSpPr>
            <p:nvPr/>
          </p:nvSpPr>
          <p:spPr bwMode="auto">
            <a:xfrm>
              <a:off x="5871482" y="1856956"/>
              <a:ext cx="2025497" cy="1212295"/>
            </a:xfrm>
            <a:custGeom>
              <a:avLst/>
              <a:gdLst/>
              <a:ahLst/>
              <a:cxnLst>
                <a:cxn ang="0">
                  <a:pos x="3226" y="948"/>
                </a:cxn>
                <a:cxn ang="0">
                  <a:pos x="3237" y="1075"/>
                </a:cxn>
                <a:cxn ang="0">
                  <a:pos x="3347" y="1181"/>
                </a:cxn>
                <a:cxn ang="0">
                  <a:pos x="3344" y="1280"/>
                </a:cxn>
                <a:cxn ang="0">
                  <a:pos x="3399" y="1272"/>
                </a:cxn>
                <a:cxn ang="0">
                  <a:pos x="3454" y="1402"/>
                </a:cxn>
                <a:cxn ang="0">
                  <a:pos x="3285" y="1494"/>
                </a:cxn>
                <a:cxn ang="0">
                  <a:pos x="2972" y="1533"/>
                </a:cxn>
                <a:cxn ang="0">
                  <a:pos x="3008" y="1564"/>
                </a:cxn>
                <a:cxn ang="0">
                  <a:pos x="3206" y="1770"/>
                </a:cxn>
                <a:cxn ang="0">
                  <a:pos x="3091" y="1754"/>
                </a:cxn>
                <a:cxn ang="0">
                  <a:pos x="2898" y="1818"/>
                </a:cxn>
                <a:cxn ang="0">
                  <a:pos x="2775" y="1798"/>
                </a:cxn>
                <a:cxn ang="0">
                  <a:pos x="2502" y="1932"/>
                </a:cxn>
                <a:cxn ang="0">
                  <a:pos x="2194" y="2023"/>
                </a:cxn>
                <a:cxn ang="0">
                  <a:pos x="2182" y="1726"/>
                </a:cxn>
                <a:cxn ang="0">
                  <a:pos x="1838" y="1628"/>
                </a:cxn>
                <a:cxn ang="0">
                  <a:pos x="499" y="1525"/>
                </a:cxn>
                <a:cxn ang="0">
                  <a:pos x="384" y="1308"/>
                </a:cxn>
                <a:cxn ang="0">
                  <a:pos x="317" y="1189"/>
                </a:cxn>
                <a:cxn ang="0">
                  <a:pos x="289" y="1031"/>
                </a:cxn>
                <a:cxn ang="0">
                  <a:pos x="158" y="885"/>
                </a:cxn>
                <a:cxn ang="0">
                  <a:pos x="72" y="916"/>
                </a:cxn>
                <a:cxn ang="0">
                  <a:pos x="202" y="162"/>
                </a:cxn>
                <a:cxn ang="0">
                  <a:pos x="502" y="197"/>
                </a:cxn>
                <a:cxn ang="0">
                  <a:pos x="609" y="165"/>
                </a:cxn>
                <a:cxn ang="0">
                  <a:pos x="771" y="83"/>
                </a:cxn>
                <a:cxn ang="0">
                  <a:pos x="918" y="178"/>
                </a:cxn>
                <a:cxn ang="0">
                  <a:pos x="1312" y="245"/>
                </a:cxn>
                <a:cxn ang="0">
                  <a:pos x="1534" y="340"/>
                </a:cxn>
                <a:cxn ang="0">
                  <a:pos x="1858" y="300"/>
                </a:cxn>
                <a:cxn ang="0">
                  <a:pos x="2032" y="268"/>
                </a:cxn>
                <a:cxn ang="0">
                  <a:pos x="2040" y="79"/>
                </a:cxn>
                <a:cxn ang="0">
                  <a:pos x="2170" y="106"/>
                </a:cxn>
                <a:cxn ang="0">
                  <a:pos x="2289" y="186"/>
                </a:cxn>
                <a:cxn ang="0">
                  <a:pos x="2368" y="280"/>
                </a:cxn>
                <a:cxn ang="0">
                  <a:pos x="2573" y="233"/>
                </a:cxn>
                <a:cxn ang="0">
                  <a:pos x="2407" y="383"/>
                </a:cxn>
                <a:cxn ang="0">
                  <a:pos x="2226" y="419"/>
                </a:cxn>
                <a:cxn ang="0">
                  <a:pos x="2254" y="553"/>
                </a:cxn>
                <a:cxn ang="0">
                  <a:pos x="2028" y="710"/>
                </a:cxn>
                <a:cxn ang="0">
                  <a:pos x="1949" y="944"/>
                </a:cxn>
                <a:cxn ang="0">
                  <a:pos x="2226" y="1154"/>
                </a:cxn>
                <a:cxn ang="0">
                  <a:pos x="2340" y="1383"/>
                </a:cxn>
                <a:cxn ang="0">
                  <a:pos x="2471" y="1446"/>
                </a:cxn>
                <a:cxn ang="0">
                  <a:pos x="2510" y="1205"/>
                </a:cxn>
                <a:cxn ang="0">
                  <a:pos x="2585" y="1105"/>
                </a:cxn>
                <a:cxn ang="0">
                  <a:pos x="2585" y="1005"/>
                </a:cxn>
                <a:cxn ang="0">
                  <a:pos x="2568" y="953"/>
                </a:cxn>
                <a:cxn ang="0">
                  <a:pos x="2597" y="920"/>
                </a:cxn>
                <a:cxn ang="0">
                  <a:pos x="2661" y="655"/>
                </a:cxn>
                <a:cxn ang="0">
                  <a:pos x="2909" y="778"/>
                </a:cxn>
                <a:cxn ang="0">
                  <a:pos x="3016" y="980"/>
                </a:cxn>
              </a:cxnLst>
              <a:rect l="0" t="0" r="r" b="b"/>
              <a:pathLst>
                <a:path w="3454" h="2050">
                  <a:moveTo>
                    <a:pt x="3154" y="850"/>
                  </a:moveTo>
                  <a:lnTo>
                    <a:pt x="3177" y="887"/>
                  </a:lnTo>
                  <a:lnTo>
                    <a:pt x="3190" y="948"/>
                  </a:lnTo>
                  <a:lnTo>
                    <a:pt x="3226" y="948"/>
                  </a:lnTo>
                  <a:lnTo>
                    <a:pt x="3237" y="1027"/>
                  </a:lnTo>
                  <a:lnTo>
                    <a:pt x="3261" y="1023"/>
                  </a:lnTo>
                  <a:lnTo>
                    <a:pt x="3261" y="1058"/>
                  </a:lnTo>
                  <a:lnTo>
                    <a:pt x="3237" y="1075"/>
                  </a:lnTo>
                  <a:lnTo>
                    <a:pt x="3241" y="1106"/>
                  </a:lnTo>
                  <a:lnTo>
                    <a:pt x="3273" y="1115"/>
                  </a:lnTo>
                  <a:lnTo>
                    <a:pt x="3288" y="1189"/>
                  </a:lnTo>
                  <a:lnTo>
                    <a:pt x="3347" y="1181"/>
                  </a:lnTo>
                  <a:lnTo>
                    <a:pt x="3340" y="1213"/>
                  </a:lnTo>
                  <a:lnTo>
                    <a:pt x="3388" y="1205"/>
                  </a:lnTo>
                  <a:lnTo>
                    <a:pt x="3356" y="1249"/>
                  </a:lnTo>
                  <a:lnTo>
                    <a:pt x="3344" y="1280"/>
                  </a:lnTo>
                  <a:lnTo>
                    <a:pt x="3281" y="1296"/>
                  </a:lnTo>
                  <a:lnTo>
                    <a:pt x="3308" y="1312"/>
                  </a:lnTo>
                  <a:lnTo>
                    <a:pt x="3356" y="1296"/>
                  </a:lnTo>
                  <a:lnTo>
                    <a:pt x="3399" y="1272"/>
                  </a:lnTo>
                  <a:lnTo>
                    <a:pt x="3443" y="1277"/>
                  </a:lnTo>
                  <a:lnTo>
                    <a:pt x="3450" y="1316"/>
                  </a:lnTo>
                  <a:lnTo>
                    <a:pt x="3450" y="1371"/>
                  </a:lnTo>
                  <a:lnTo>
                    <a:pt x="3454" y="1402"/>
                  </a:lnTo>
                  <a:lnTo>
                    <a:pt x="3450" y="1426"/>
                  </a:lnTo>
                  <a:lnTo>
                    <a:pt x="3395" y="1442"/>
                  </a:lnTo>
                  <a:lnTo>
                    <a:pt x="3347" y="1439"/>
                  </a:lnTo>
                  <a:lnTo>
                    <a:pt x="3285" y="1494"/>
                  </a:lnTo>
                  <a:lnTo>
                    <a:pt x="3178" y="1505"/>
                  </a:lnTo>
                  <a:lnTo>
                    <a:pt x="3067" y="1505"/>
                  </a:lnTo>
                  <a:lnTo>
                    <a:pt x="3012" y="1498"/>
                  </a:lnTo>
                  <a:lnTo>
                    <a:pt x="2972" y="1533"/>
                  </a:lnTo>
                  <a:lnTo>
                    <a:pt x="2913" y="1560"/>
                  </a:lnTo>
                  <a:lnTo>
                    <a:pt x="2858" y="1632"/>
                  </a:lnTo>
                  <a:lnTo>
                    <a:pt x="2953" y="1592"/>
                  </a:lnTo>
                  <a:lnTo>
                    <a:pt x="3008" y="1564"/>
                  </a:lnTo>
                  <a:lnTo>
                    <a:pt x="3064" y="1597"/>
                  </a:lnTo>
                  <a:lnTo>
                    <a:pt x="3027" y="1652"/>
                  </a:lnTo>
                  <a:lnTo>
                    <a:pt x="3079" y="1707"/>
                  </a:lnTo>
                  <a:lnTo>
                    <a:pt x="3206" y="1770"/>
                  </a:lnTo>
                  <a:lnTo>
                    <a:pt x="3091" y="1833"/>
                  </a:lnTo>
                  <a:lnTo>
                    <a:pt x="2981" y="1908"/>
                  </a:lnTo>
                  <a:lnTo>
                    <a:pt x="2957" y="1881"/>
                  </a:lnTo>
                  <a:lnTo>
                    <a:pt x="3091" y="1754"/>
                  </a:lnTo>
                  <a:lnTo>
                    <a:pt x="3084" y="1735"/>
                  </a:lnTo>
                  <a:lnTo>
                    <a:pt x="3044" y="1735"/>
                  </a:lnTo>
                  <a:lnTo>
                    <a:pt x="2929" y="1833"/>
                  </a:lnTo>
                  <a:lnTo>
                    <a:pt x="2898" y="1818"/>
                  </a:lnTo>
                  <a:lnTo>
                    <a:pt x="2889" y="1691"/>
                  </a:lnTo>
                  <a:lnTo>
                    <a:pt x="2826" y="1680"/>
                  </a:lnTo>
                  <a:lnTo>
                    <a:pt x="2799" y="1754"/>
                  </a:lnTo>
                  <a:lnTo>
                    <a:pt x="2775" y="1798"/>
                  </a:lnTo>
                  <a:lnTo>
                    <a:pt x="2743" y="1842"/>
                  </a:lnTo>
                  <a:lnTo>
                    <a:pt x="2558" y="1829"/>
                  </a:lnTo>
                  <a:lnTo>
                    <a:pt x="2523" y="1866"/>
                  </a:lnTo>
                  <a:lnTo>
                    <a:pt x="2502" y="1932"/>
                  </a:lnTo>
                  <a:lnTo>
                    <a:pt x="2399" y="1928"/>
                  </a:lnTo>
                  <a:lnTo>
                    <a:pt x="2361" y="1964"/>
                  </a:lnTo>
                  <a:lnTo>
                    <a:pt x="2261" y="2050"/>
                  </a:lnTo>
                  <a:lnTo>
                    <a:pt x="2194" y="2023"/>
                  </a:lnTo>
                  <a:lnTo>
                    <a:pt x="2217" y="1987"/>
                  </a:lnTo>
                  <a:lnTo>
                    <a:pt x="2273" y="1908"/>
                  </a:lnTo>
                  <a:lnTo>
                    <a:pt x="2230" y="1818"/>
                  </a:lnTo>
                  <a:lnTo>
                    <a:pt x="2182" y="1726"/>
                  </a:lnTo>
                  <a:lnTo>
                    <a:pt x="2107" y="1687"/>
                  </a:lnTo>
                  <a:lnTo>
                    <a:pt x="2044" y="1640"/>
                  </a:lnTo>
                  <a:lnTo>
                    <a:pt x="1965" y="1640"/>
                  </a:lnTo>
                  <a:lnTo>
                    <a:pt x="1838" y="1628"/>
                  </a:lnTo>
                  <a:lnTo>
                    <a:pt x="1755" y="1628"/>
                  </a:lnTo>
                  <a:lnTo>
                    <a:pt x="1759" y="1597"/>
                  </a:lnTo>
                  <a:lnTo>
                    <a:pt x="558" y="1601"/>
                  </a:lnTo>
                  <a:lnTo>
                    <a:pt x="499" y="1525"/>
                  </a:lnTo>
                  <a:lnTo>
                    <a:pt x="440" y="1485"/>
                  </a:lnTo>
                  <a:lnTo>
                    <a:pt x="392" y="1430"/>
                  </a:lnTo>
                  <a:lnTo>
                    <a:pt x="388" y="1363"/>
                  </a:lnTo>
                  <a:lnTo>
                    <a:pt x="384" y="1308"/>
                  </a:lnTo>
                  <a:lnTo>
                    <a:pt x="340" y="1312"/>
                  </a:lnTo>
                  <a:lnTo>
                    <a:pt x="337" y="1268"/>
                  </a:lnTo>
                  <a:lnTo>
                    <a:pt x="309" y="1257"/>
                  </a:lnTo>
                  <a:lnTo>
                    <a:pt x="317" y="1189"/>
                  </a:lnTo>
                  <a:lnTo>
                    <a:pt x="337" y="1154"/>
                  </a:lnTo>
                  <a:lnTo>
                    <a:pt x="368" y="1122"/>
                  </a:lnTo>
                  <a:lnTo>
                    <a:pt x="305" y="1106"/>
                  </a:lnTo>
                  <a:lnTo>
                    <a:pt x="289" y="1031"/>
                  </a:lnTo>
                  <a:lnTo>
                    <a:pt x="265" y="1019"/>
                  </a:lnTo>
                  <a:lnTo>
                    <a:pt x="254" y="964"/>
                  </a:lnTo>
                  <a:lnTo>
                    <a:pt x="186" y="889"/>
                  </a:lnTo>
                  <a:lnTo>
                    <a:pt x="158" y="885"/>
                  </a:lnTo>
                  <a:lnTo>
                    <a:pt x="151" y="916"/>
                  </a:lnTo>
                  <a:lnTo>
                    <a:pt x="123" y="916"/>
                  </a:lnTo>
                  <a:lnTo>
                    <a:pt x="112" y="944"/>
                  </a:lnTo>
                  <a:lnTo>
                    <a:pt x="72" y="916"/>
                  </a:lnTo>
                  <a:lnTo>
                    <a:pt x="61" y="857"/>
                  </a:lnTo>
                  <a:lnTo>
                    <a:pt x="40" y="841"/>
                  </a:lnTo>
                  <a:lnTo>
                    <a:pt x="0" y="857"/>
                  </a:lnTo>
                  <a:lnTo>
                    <a:pt x="202" y="162"/>
                  </a:lnTo>
                  <a:lnTo>
                    <a:pt x="333" y="186"/>
                  </a:lnTo>
                  <a:lnTo>
                    <a:pt x="451" y="241"/>
                  </a:lnTo>
                  <a:lnTo>
                    <a:pt x="499" y="245"/>
                  </a:lnTo>
                  <a:lnTo>
                    <a:pt x="502" y="197"/>
                  </a:lnTo>
                  <a:lnTo>
                    <a:pt x="546" y="165"/>
                  </a:lnTo>
                  <a:lnTo>
                    <a:pt x="657" y="94"/>
                  </a:lnTo>
                  <a:lnTo>
                    <a:pt x="688" y="114"/>
                  </a:lnTo>
                  <a:lnTo>
                    <a:pt x="609" y="165"/>
                  </a:lnTo>
                  <a:lnTo>
                    <a:pt x="692" y="162"/>
                  </a:lnTo>
                  <a:lnTo>
                    <a:pt x="723" y="130"/>
                  </a:lnTo>
                  <a:lnTo>
                    <a:pt x="743" y="94"/>
                  </a:lnTo>
                  <a:lnTo>
                    <a:pt x="771" y="83"/>
                  </a:lnTo>
                  <a:lnTo>
                    <a:pt x="811" y="150"/>
                  </a:lnTo>
                  <a:lnTo>
                    <a:pt x="863" y="158"/>
                  </a:lnTo>
                  <a:lnTo>
                    <a:pt x="885" y="130"/>
                  </a:lnTo>
                  <a:lnTo>
                    <a:pt x="918" y="178"/>
                  </a:lnTo>
                  <a:lnTo>
                    <a:pt x="957" y="145"/>
                  </a:lnTo>
                  <a:lnTo>
                    <a:pt x="1128" y="201"/>
                  </a:lnTo>
                  <a:lnTo>
                    <a:pt x="1233" y="206"/>
                  </a:lnTo>
                  <a:lnTo>
                    <a:pt x="1312" y="245"/>
                  </a:lnTo>
                  <a:lnTo>
                    <a:pt x="1297" y="300"/>
                  </a:lnTo>
                  <a:lnTo>
                    <a:pt x="1404" y="268"/>
                  </a:lnTo>
                  <a:lnTo>
                    <a:pt x="1479" y="344"/>
                  </a:lnTo>
                  <a:lnTo>
                    <a:pt x="1534" y="340"/>
                  </a:lnTo>
                  <a:lnTo>
                    <a:pt x="1526" y="300"/>
                  </a:lnTo>
                  <a:lnTo>
                    <a:pt x="1590" y="237"/>
                  </a:lnTo>
                  <a:lnTo>
                    <a:pt x="1656" y="288"/>
                  </a:lnTo>
                  <a:lnTo>
                    <a:pt x="1858" y="300"/>
                  </a:lnTo>
                  <a:lnTo>
                    <a:pt x="1894" y="257"/>
                  </a:lnTo>
                  <a:lnTo>
                    <a:pt x="1953" y="248"/>
                  </a:lnTo>
                  <a:lnTo>
                    <a:pt x="1985" y="296"/>
                  </a:lnTo>
                  <a:lnTo>
                    <a:pt x="2032" y="268"/>
                  </a:lnTo>
                  <a:lnTo>
                    <a:pt x="2076" y="237"/>
                  </a:lnTo>
                  <a:lnTo>
                    <a:pt x="2052" y="145"/>
                  </a:lnTo>
                  <a:lnTo>
                    <a:pt x="1996" y="106"/>
                  </a:lnTo>
                  <a:lnTo>
                    <a:pt x="2040" y="79"/>
                  </a:lnTo>
                  <a:lnTo>
                    <a:pt x="2063" y="39"/>
                  </a:lnTo>
                  <a:lnTo>
                    <a:pt x="2123" y="0"/>
                  </a:lnTo>
                  <a:lnTo>
                    <a:pt x="2186" y="55"/>
                  </a:lnTo>
                  <a:lnTo>
                    <a:pt x="2170" y="106"/>
                  </a:lnTo>
                  <a:lnTo>
                    <a:pt x="2179" y="150"/>
                  </a:lnTo>
                  <a:lnTo>
                    <a:pt x="2217" y="186"/>
                  </a:lnTo>
                  <a:lnTo>
                    <a:pt x="2238" y="248"/>
                  </a:lnTo>
                  <a:lnTo>
                    <a:pt x="2289" y="186"/>
                  </a:lnTo>
                  <a:lnTo>
                    <a:pt x="2317" y="241"/>
                  </a:lnTo>
                  <a:lnTo>
                    <a:pt x="2313" y="331"/>
                  </a:lnTo>
                  <a:lnTo>
                    <a:pt x="2352" y="331"/>
                  </a:lnTo>
                  <a:lnTo>
                    <a:pt x="2368" y="280"/>
                  </a:lnTo>
                  <a:lnTo>
                    <a:pt x="2423" y="224"/>
                  </a:lnTo>
                  <a:lnTo>
                    <a:pt x="2447" y="150"/>
                  </a:lnTo>
                  <a:lnTo>
                    <a:pt x="2545" y="162"/>
                  </a:lnTo>
                  <a:lnTo>
                    <a:pt x="2573" y="233"/>
                  </a:lnTo>
                  <a:lnTo>
                    <a:pt x="2534" y="257"/>
                  </a:lnTo>
                  <a:lnTo>
                    <a:pt x="2554" y="347"/>
                  </a:lnTo>
                  <a:lnTo>
                    <a:pt x="2427" y="414"/>
                  </a:lnTo>
                  <a:lnTo>
                    <a:pt x="2407" y="383"/>
                  </a:lnTo>
                  <a:lnTo>
                    <a:pt x="2340" y="386"/>
                  </a:lnTo>
                  <a:lnTo>
                    <a:pt x="2328" y="442"/>
                  </a:lnTo>
                  <a:lnTo>
                    <a:pt x="2249" y="442"/>
                  </a:lnTo>
                  <a:lnTo>
                    <a:pt x="2226" y="419"/>
                  </a:lnTo>
                  <a:lnTo>
                    <a:pt x="2194" y="423"/>
                  </a:lnTo>
                  <a:lnTo>
                    <a:pt x="2197" y="454"/>
                  </a:lnTo>
                  <a:lnTo>
                    <a:pt x="2273" y="482"/>
                  </a:lnTo>
                  <a:lnTo>
                    <a:pt x="2254" y="553"/>
                  </a:lnTo>
                  <a:lnTo>
                    <a:pt x="2214" y="581"/>
                  </a:lnTo>
                  <a:lnTo>
                    <a:pt x="2151" y="589"/>
                  </a:lnTo>
                  <a:lnTo>
                    <a:pt x="2114" y="644"/>
                  </a:lnTo>
                  <a:lnTo>
                    <a:pt x="2028" y="710"/>
                  </a:lnTo>
                  <a:lnTo>
                    <a:pt x="1956" y="774"/>
                  </a:lnTo>
                  <a:lnTo>
                    <a:pt x="1897" y="865"/>
                  </a:lnTo>
                  <a:lnTo>
                    <a:pt x="1894" y="933"/>
                  </a:lnTo>
                  <a:lnTo>
                    <a:pt x="1949" y="944"/>
                  </a:lnTo>
                  <a:lnTo>
                    <a:pt x="1976" y="1054"/>
                  </a:lnTo>
                  <a:lnTo>
                    <a:pt x="2099" y="1071"/>
                  </a:lnTo>
                  <a:lnTo>
                    <a:pt x="2179" y="1146"/>
                  </a:lnTo>
                  <a:lnTo>
                    <a:pt x="2226" y="1154"/>
                  </a:lnTo>
                  <a:lnTo>
                    <a:pt x="2273" y="1205"/>
                  </a:lnTo>
                  <a:lnTo>
                    <a:pt x="2356" y="1198"/>
                  </a:lnTo>
                  <a:lnTo>
                    <a:pt x="2348" y="1296"/>
                  </a:lnTo>
                  <a:lnTo>
                    <a:pt x="2340" y="1383"/>
                  </a:lnTo>
                  <a:lnTo>
                    <a:pt x="2372" y="1446"/>
                  </a:lnTo>
                  <a:lnTo>
                    <a:pt x="2407" y="1450"/>
                  </a:lnTo>
                  <a:lnTo>
                    <a:pt x="2435" y="1419"/>
                  </a:lnTo>
                  <a:lnTo>
                    <a:pt x="2471" y="1446"/>
                  </a:lnTo>
                  <a:lnTo>
                    <a:pt x="2486" y="1411"/>
                  </a:lnTo>
                  <a:lnTo>
                    <a:pt x="2506" y="1312"/>
                  </a:lnTo>
                  <a:lnTo>
                    <a:pt x="2502" y="1272"/>
                  </a:lnTo>
                  <a:lnTo>
                    <a:pt x="2510" y="1205"/>
                  </a:lnTo>
                  <a:lnTo>
                    <a:pt x="2578" y="1170"/>
                  </a:lnTo>
                  <a:lnTo>
                    <a:pt x="2578" y="1170"/>
                  </a:lnTo>
                  <a:lnTo>
                    <a:pt x="2582" y="1137"/>
                  </a:lnTo>
                  <a:lnTo>
                    <a:pt x="2585" y="1105"/>
                  </a:lnTo>
                  <a:lnTo>
                    <a:pt x="2588" y="1066"/>
                  </a:lnTo>
                  <a:lnTo>
                    <a:pt x="2588" y="1044"/>
                  </a:lnTo>
                  <a:lnTo>
                    <a:pt x="2587" y="1024"/>
                  </a:lnTo>
                  <a:lnTo>
                    <a:pt x="2585" y="1005"/>
                  </a:lnTo>
                  <a:lnTo>
                    <a:pt x="2583" y="988"/>
                  </a:lnTo>
                  <a:lnTo>
                    <a:pt x="2578" y="972"/>
                  </a:lnTo>
                  <a:lnTo>
                    <a:pt x="2571" y="958"/>
                  </a:lnTo>
                  <a:lnTo>
                    <a:pt x="2568" y="953"/>
                  </a:lnTo>
                  <a:lnTo>
                    <a:pt x="2564" y="948"/>
                  </a:lnTo>
                  <a:lnTo>
                    <a:pt x="2559" y="943"/>
                  </a:lnTo>
                  <a:lnTo>
                    <a:pt x="2554" y="940"/>
                  </a:lnTo>
                  <a:lnTo>
                    <a:pt x="2597" y="920"/>
                  </a:lnTo>
                  <a:lnTo>
                    <a:pt x="2613" y="830"/>
                  </a:lnTo>
                  <a:lnTo>
                    <a:pt x="2602" y="798"/>
                  </a:lnTo>
                  <a:lnTo>
                    <a:pt x="2613" y="727"/>
                  </a:lnTo>
                  <a:lnTo>
                    <a:pt x="2661" y="655"/>
                  </a:lnTo>
                  <a:lnTo>
                    <a:pt x="2731" y="695"/>
                  </a:lnTo>
                  <a:lnTo>
                    <a:pt x="2830" y="695"/>
                  </a:lnTo>
                  <a:lnTo>
                    <a:pt x="2870" y="734"/>
                  </a:lnTo>
                  <a:lnTo>
                    <a:pt x="2909" y="778"/>
                  </a:lnTo>
                  <a:lnTo>
                    <a:pt x="2972" y="802"/>
                  </a:lnTo>
                  <a:lnTo>
                    <a:pt x="2944" y="837"/>
                  </a:lnTo>
                  <a:lnTo>
                    <a:pt x="2949" y="960"/>
                  </a:lnTo>
                  <a:lnTo>
                    <a:pt x="3016" y="980"/>
                  </a:lnTo>
                  <a:lnTo>
                    <a:pt x="3087" y="957"/>
                  </a:lnTo>
                  <a:lnTo>
                    <a:pt x="3115" y="916"/>
                  </a:lnTo>
                  <a:lnTo>
                    <a:pt x="3154" y="85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Freeform 95"/>
            <p:cNvSpPr>
              <a:spLocks noChangeAspect="1"/>
            </p:cNvSpPr>
            <p:nvPr/>
          </p:nvSpPr>
          <p:spPr bwMode="auto">
            <a:xfrm>
              <a:off x="5491702" y="2469316"/>
              <a:ext cx="52747" cy="53249"/>
            </a:xfrm>
            <a:custGeom>
              <a:avLst/>
              <a:gdLst/>
              <a:ahLst/>
              <a:cxnLst>
                <a:cxn ang="0">
                  <a:pos x="28" y="27"/>
                </a:cxn>
                <a:cxn ang="0">
                  <a:pos x="44" y="0"/>
                </a:cxn>
                <a:cxn ang="0">
                  <a:pos x="88" y="0"/>
                </a:cxn>
                <a:cxn ang="0">
                  <a:pos x="88" y="39"/>
                </a:cxn>
                <a:cxn ang="0">
                  <a:pos x="37" y="90"/>
                </a:cxn>
                <a:cxn ang="0">
                  <a:pos x="0" y="55"/>
                </a:cxn>
                <a:cxn ang="0">
                  <a:pos x="28" y="27"/>
                </a:cxn>
              </a:cxnLst>
              <a:rect l="0" t="0" r="r" b="b"/>
              <a:pathLst>
                <a:path w="88" h="90">
                  <a:moveTo>
                    <a:pt x="28" y="27"/>
                  </a:moveTo>
                  <a:lnTo>
                    <a:pt x="44" y="0"/>
                  </a:lnTo>
                  <a:lnTo>
                    <a:pt x="88" y="0"/>
                  </a:lnTo>
                  <a:lnTo>
                    <a:pt x="88" y="39"/>
                  </a:lnTo>
                  <a:lnTo>
                    <a:pt x="37" y="90"/>
                  </a:lnTo>
                  <a:lnTo>
                    <a:pt x="0" y="55"/>
                  </a:lnTo>
                  <a:lnTo>
                    <a:pt x="28" y="2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Freeform 96"/>
            <p:cNvSpPr>
              <a:spLocks noChangeAspect="1"/>
            </p:cNvSpPr>
            <p:nvPr/>
          </p:nvSpPr>
          <p:spPr bwMode="auto">
            <a:xfrm>
              <a:off x="7795001" y="2724909"/>
              <a:ext cx="147692" cy="156196"/>
            </a:xfrm>
            <a:custGeom>
              <a:avLst/>
              <a:gdLst/>
              <a:ahLst/>
              <a:cxnLst>
                <a:cxn ang="0">
                  <a:pos x="138" y="0"/>
                </a:cxn>
                <a:cxn ang="0">
                  <a:pos x="107" y="12"/>
                </a:cxn>
                <a:cxn ang="0">
                  <a:pos x="86" y="43"/>
                </a:cxn>
                <a:cxn ang="0">
                  <a:pos x="59" y="79"/>
                </a:cxn>
                <a:cxn ang="0">
                  <a:pos x="20" y="98"/>
                </a:cxn>
                <a:cxn ang="0">
                  <a:pos x="0" y="142"/>
                </a:cxn>
                <a:cxn ang="0">
                  <a:pos x="0" y="205"/>
                </a:cxn>
                <a:cxn ang="0">
                  <a:pos x="51" y="214"/>
                </a:cxn>
                <a:cxn ang="0">
                  <a:pos x="94" y="194"/>
                </a:cxn>
                <a:cxn ang="0">
                  <a:pos x="130" y="194"/>
                </a:cxn>
                <a:cxn ang="0">
                  <a:pos x="138" y="253"/>
                </a:cxn>
                <a:cxn ang="0">
                  <a:pos x="169" y="265"/>
                </a:cxn>
                <a:cxn ang="0">
                  <a:pos x="169" y="221"/>
                </a:cxn>
                <a:cxn ang="0">
                  <a:pos x="197" y="229"/>
                </a:cxn>
                <a:cxn ang="0">
                  <a:pos x="209" y="265"/>
                </a:cxn>
                <a:cxn ang="0">
                  <a:pos x="233" y="209"/>
                </a:cxn>
                <a:cxn ang="0">
                  <a:pos x="252" y="162"/>
                </a:cxn>
                <a:cxn ang="0">
                  <a:pos x="241" y="94"/>
                </a:cxn>
                <a:cxn ang="0">
                  <a:pos x="209" y="83"/>
                </a:cxn>
                <a:cxn ang="0">
                  <a:pos x="169" y="83"/>
                </a:cxn>
                <a:cxn ang="0">
                  <a:pos x="154" y="43"/>
                </a:cxn>
                <a:cxn ang="0">
                  <a:pos x="158" y="15"/>
                </a:cxn>
                <a:cxn ang="0">
                  <a:pos x="127" y="0"/>
                </a:cxn>
                <a:cxn ang="0">
                  <a:pos x="138" y="0"/>
                </a:cxn>
              </a:cxnLst>
              <a:rect l="0" t="0" r="r" b="b"/>
              <a:pathLst>
                <a:path w="252" h="265">
                  <a:moveTo>
                    <a:pt x="138" y="0"/>
                  </a:moveTo>
                  <a:lnTo>
                    <a:pt x="107" y="12"/>
                  </a:lnTo>
                  <a:lnTo>
                    <a:pt x="86" y="43"/>
                  </a:lnTo>
                  <a:lnTo>
                    <a:pt x="59" y="79"/>
                  </a:lnTo>
                  <a:lnTo>
                    <a:pt x="20" y="98"/>
                  </a:lnTo>
                  <a:lnTo>
                    <a:pt x="0" y="142"/>
                  </a:lnTo>
                  <a:lnTo>
                    <a:pt x="0" y="205"/>
                  </a:lnTo>
                  <a:lnTo>
                    <a:pt x="51" y="214"/>
                  </a:lnTo>
                  <a:lnTo>
                    <a:pt x="94" y="194"/>
                  </a:lnTo>
                  <a:lnTo>
                    <a:pt x="130" y="194"/>
                  </a:lnTo>
                  <a:lnTo>
                    <a:pt x="138" y="253"/>
                  </a:lnTo>
                  <a:lnTo>
                    <a:pt x="169" y="265"/>
                  </a:lnTo>
                  <a:lnTo>
                    <a:pt x="169" y="221"/>
                  </a:lnTo>
                  <a:lnTo>
                    <a:pt x="197" y="229"/>
                  </a:lnTo>
                  <a:lnTo>
                    <a:pt x="209" y="265"/>
                  </a:lnTo>
                  <a:lnTo>
                    <a:pt x="233" y="209"/>
                  </a:lnTo>
                  <a:lnTo>
                    <a:pt x="252" y="162"/>
                  </a:lnTo>
                  <a:lnTo>
                    <a:pt x="241" y="94"/>
                  </a:lnTo>
                  <a:lnTo>
                    <a:pt x="209" y="83"/>
                  </a:lnTo>
                  <a:lnTo>
                    <a:pt x="169" y="83"/>
                  </a:lnTo>
                  <a:lnTo>
                    <a:pt x="154" y="43"/>
                  </a:lnTo>
                  <a:lnTo>
                    <a:pt x="158" y="15"/>
                  </a:lnTo>
                  <a:lnTo>
                    <a:pt x="127" y="0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Freeform 97"/>
            <p:cNvSpPr>
              <a:spLocks noChangeAspect="1"/>
            </p:cNvSpPr>
            <p:nvPr/>
          </p:nvSpPr>
          <p:spPr bwMode="auto">
            <a:xfrm>
              <a:off x="7795001" y="2724909"/>
              <a:ext cx="147692" cy="156196"/>
            </a:xfrm>
            <a:custGeom>
              <a:avLst/>
              <a:gdLst/>
              <a:ahLst/>
              <a:cxnLst>
                <a:cxn ang="0">
                  <a:pos x="138" y="0"/>
                </a:cxn>
                <a:cxn ang="0">
                  <a:pos x="107" y="12"/>
                </a:cxn>
                <a:cxn ang="0">
                  <a:pos x="86" y="43"/>
                </a:cxn>
                <a:cxn ang="0">
                  <a:pos x="59" y="79"/>
                </a:cxn>
                <a:cxn ang="0">
                  <a:pos x="20" y="98"/>
                </a:cxn>
                <a:cxn ang="0">
                  <a:pos x="0" y="142"/>
                </a:cxn>
                <a:cxn ang="0">
                  <a:pos x="0" y="205"/>
                </a:cxn>
                <a:cxn ang="0">
                  <a:pos x="51" y="214"/>
                </a:cxn>
                <a:cxn ang="0">
                  <a:pos x="94" y="194"/>
                </a:cxn>
                <a:cxn ang="0">
                  <a:pos x="130" y="194"/>
                </a:cxn>
                <a:cxn ang="0">
                  <a:pos x="138" y="253"/>
                </a:cxn>
                <a:cxn ang="0">
                  <a:pos x="169" y="265"/>
                </a:cxn>
                <a:cxn ang="0">
                  <a:pos x="169" y="221"/>
                </a:cxn>
                <a:cxn ang="0">
                  <a:pos x="197" y="229"/>
                </a:cxn>
                <a:cxn ang="0">
                  <a:pos x="209" y="265"/>
                </a:cxn>
                <a:cxn ang="0">
                  <a:pos x="233" y="209"/>
                </a:cxn>
                <a:cxn ang="0">
                  <a:pos x="252" y="162"/>
                </a:cxn>
                <a:cxn ang="0">
                  <a:pos x="241" y="94"/>
                </a:cxn>
                <a:cxn ang="0">
                  <a:pos x="209" y="83"/>
                </a:cxn>
                <a:cxn ang="0">
                  <a:pos x="169" y="83"/>
                </a:cxn>
                <a:cxn ang="0">
                  <a:pos x="154" y="43"/>
                </a:cxn>
                <a:cxn ang="0">
                  <a:pos x="158" y="15"/>
                </a:cxn>
                <a:cxn ang="0">
                  <a:pos x="127" y="0"/>
                </a:cxn>
              </a:cxnLst>
              <a:rect l="0" t="0" r="r" b="b"/>
              <a:pathLst>
                <a:path w="252" h="265">
                  <a:moveTo>
                    <a:pt x="138" y="0"/>
                  </a:moveTo>
                  <a:lnTo>
                    <a:pt x="107" y="12"/>
                  </a:lnTo>
                  <a:lnTo>
                    <a:pt x="86" y="43"/>
                  </a:lnTo>
                  <a:lnTo>
                    <a:pt x="59" y="79"/>
                  </a:lnTo>
                  <a:lnTo>
                    <a:pt x="20" y="98"/>
                  </a:lnTo>
                  <a:lnTo>
                    <a:pt x="0" y="142"/>
                  </a:lnTo>
                  <a:lnTo>
                    <a:pt x="0" y="205"/>
                  </a:lnTo>
                  <a:lnTo>
                    <a:pt x="51" y="214"/>
                  </a:lnTo>
                  <a:lnTo>
                    <a:pt x="94" y="194"/>
                  </a:lnTo>
                  <a:lnTo>
                    <a:pt x="130" y="194"/>
                  </a:lnTo>
                  <a:lnTo>
                    <a:pt x="138" y="253"/>
                  </a:lnTo>
                  <a:lnTo>
                    <a:pt x="169" y="265"/>
                  </a:lnTo>
                  <a:lnTo>
                    <a:pt x="169" y="221"/>
                  </a:lnTo>
                  <a:lnTo>
                    <a:pt x="197" y="229"/>
                  </a:lnTo>
                  <a:lnTo>
                    <a:pt x="209" y="265"/>
                  </a:lnTo>
                  <a:lnTo>
                    <a:pt x="233" y="209"/>
                  </a:lnTo>
                  <a:lnTo>
                    <a:pt x="252" y="162"/>
                  </a:lnTo>
                  <a:lnTo>
                    <a:pt x="241" y="94"/>
                  </a:lnTo>
                  <a:lnTo>
                    <a:pt x="209" y="83"/>
                  </a:lnTo>
                  <a:lnTo>
                    <a:pt x="169" y="83"/>
                  </a:lnTo>
                  <a:lnTo>
                    <a:pt x="154" y="43"/>
                  </a:lnTo>
                  <a:lnTo>
                    <a:pt x="158" y="15"/>
                  </a:lnTo>
                  <a:lnTo>
                    <a:pt x="127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Freeform 98"/>
            <p:cNvSpPr>
              <a:spLocks noChangeAspect="1"/>
            </p:cNvSpPr>
            <p:nvPr/>
          </p:nvSpPr>
          <p:spPr bwMode="auto">
            <a:xfrm>
              <a:off x="7928628" y="2843832"/>
              <a:ext cx="24615" cy="42599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37" y="32"/>
                </a:cxn>
                <a:cxn ang="0">
                  <a:pos x="33" y="64"/>
                </a:cxn>
                <a:cxn ang="0">
                  <a:pos x="0" y="72"/>
                </a:cxn>
                <a:cxn ang="0">
                  <a:pos x="41" y="0"/>
                </a:cxn>
              </a:cxnLst>
              <a:rect l="0" t="0" r="r" b="b"/>
              <a:pathLst>
                <a:path w="41" h="72">
                  <a:moveTo>
                    <a:pt x="41" y="0"/>
                  </a:moveTo>
                  <a:lnTo>
                    <a:pt x="37" y="32"/>
                  </a:lnTo>
                  <a:lnTo>
                    <a:pt x="33" y="64"/>
                  </a:lnTo>
                  <a:lnTo>
                    <a:pt x="0" y="72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Freeform 99"/>
            <p:cNvSpPr>
              <a:spLocks noChangeAspect="1"/>
            </p:cNvSpPr>
            <p:nvPr/>
          </p:nvSpPr>
          <p:spPr bwMode="auto">
            <a:xfrm>
              <a:off x="6390164" y="1691885"/>
              <a:ext cx="258462" cy="182820"/>
            </a:xfrm>
            <a:custGeom>
              <a:avLst/>
              <a:gdLst/>
              <a:ahLst/>
              <a:cxnLst>
                <a:cxn ang="0">
                  <a:pos x="142" y="16"/>
                </a:cxn>
                <a:cxn ang="0">
                  <a:pos x="86" y="103"/>
                </a:cxn>
                <a:cxn ang="0">
                  <a:pos x="55" y="158"/>
                </a:cxn>
                <a:cxn ang="0">
                  <a:pos x="0" y="221"/>
                </a:cxn>
                <a:cxn ang="0">
                  <a:pos x="39" y="269"/>
                </a:cxn>
                <a:cxn ang="0">
                  <a:pos x="103" y="309"/>
                </a:cxn>
                <a:cxn ang="0">
                  <a:pos x="221" y="245"/>
                </a:cxn>
                <a:cxn ang="0">
                  <a:pos x="284" y="206"/>
                </a:cxn>
                <a:cxn ang="0">
                  <a:pos x="379" y="182"/>
                </a:cxn>
                <a:cxn ang="0">
                  <a:pos x="442" y="134"/>
                </a:cxn>
                <a:cxn ang="0">
                  <a:pos x="363" y="64"/>
                </a:cxn>
                <a:cxn ang="0">
                  <a:pos x="260" y="40"/>
                </a:cxn>
                <a:cxn ang="0">
                  <a:pos x="221" y="0"/>
                </a:cxn>
                <a:cxn ang="0">
                  <a:pos x="173" y="48"/>
                </a:cxn>
                <a:cxn ang="0">
                  <a:pos x="142" y="16"/>
                </a:cxn>
              </a:cxnLst>
              <a:rect l="0" t="0" r="r" b="b"/>
              <a:pathLst>
                <a:path w="442" h="309">
                  <a:moveTo>
                    <a:pt x="142" y="16"/>
                  </a:moveTo>
                  <a:lnTo>
                    <a:pt x="86" y="103"/>
                  </a:lnTo>
                  <a:lnTo>
                    <a:pt x="55" y="158"/>
                  </a:lnTo>
                  <a:lnTo>
                    <a:pt x="0" y="221"/>
                  </a:lnTo>
                  <a:lnTo>
                    <a:pt x="39" y="269"/>
                  </a:lnTo>
                  <a:lnTo>
                    <a:pt x="103" y="309"/>
                  </a:lnTo>
                  <a:lnTo>
                    <a:pt x="221" y="245"/>
                  </a:lnTo>
                  <a:lnTo>
                    <a:pt x="284" y="206"/>
                  </a:lnTo>
                  <a:lnTo>
                    <a:pt x="379" y="182"/>
                  </a:lnTo>
                  <a:lnTo>
                    <a:pt x="442" y="134"/>
                  </a:lnTo>
                  <a:lnTo>
                    <a:pt x="363" y="64"/>
                  </a:lnTo>
                  <a:lnTo>
                    <a:pt x="260" y="40"/>
                  </a:lnTo>
                  <a:lnTo>
                    <a:pt x="221" y="0"/>
                  </a:lnTo>
                  <a:lnTo>
                    <a:pt x="173" y="48"/>
                  </a:lnTo>
                  <a:lnTo>
                    <a:pt x="142" y="1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Freeform 100"/>
            <p:cNvSpPr>
              <a:spLocks noChangeAspect="1"/>
            </p:cNvSpPr>
            <p:nvPr/>
          </p:nvSpPr>
          <p:spPr bwMode="auto">
            <a:xfrm>
              <a:off x="6555439" y="1771758"/>
              <a:ext cx="376264" cy="200570"/>
            </a:xfrm>
            <a:custGeom>
              <a:avLst/>
              <a:gdLst/>
              <a:ahLst/>
              <a:cxnLst>
                <a:cxn ang="0">
                  <a:pos x="198" y="32"/>
                </a:cxn>
                <a:cxn ang="0">
                  <a:pos x="110" y="79"/>
                </a:cxn>
                <a:cxn ang="0">
                  <a:pos x="110" y="120"/>
                </a:cxn>
                <a:cxn ang="0">
                  <a:pos x="8" y="127"/>
                </a:cxn>
                <a:cxn ang="0">
                  <a:pos x="0" y="166"/>
                </a:cxn>
                <a:cxn ang="0">
                  <a:pos x="167" y="199"/>
                </a:cxn>
                <a:cxn ang="0">
                  <a:pos x="40" y="230"/>
                </a:cxn>
                <a:cxn ang="0">
                  <a:pos x="16" y="254"/>
                </a:cxn>
                <a:cxn ang="0">
                  <a:pos x="103" y="300"/>
                </a:cxn>
                <a:cxn ang="0">
                  <a:pos x="182" y="341"/>
                </a:cxn>
                <a:cxn ang="0">
                  <a:pos x="292" y="341"/>
                </a:cxn>
                <a:cxn ang="0">
                  <a:pos x="482" y="333"/>
                </a:cxn>
                <a:cxn ang="0">
                  <a:pos x="601" y="309"/>
                </a:cxn>
                <a:cxn ang="0">
                  <a:pos x="570" y="230"/>
                </a:cxn>
                <a:cxn ang="0">
                  <a:pos x="640" y="214"/>
                </a:cxn>
                <a:cxn ang="0">
                  <a:pos x="561" y="166"/>
                </a:cxn>
                <a:cxn ang="0">
                  <a:pos x="513" y="72"/>
                </a:cxn>
                <a:cxn ang="0">
                  <a:pos x="537" y="17"/>
                </a:cxn>
                <a:cxn ang="0">
                  <a:pos x="443" y="0"/>
                </a:cxn>
                <a:cxn ang="0">
                  <a:pos x="419" y="103"/>
                </a:cxn>
                <a:cxn ang="0">
                  <a:pos x="371" y="48"/>
                </a:cxn>
                <a:cxn ang="0">
                  <a:pos x="332" y="17"/>
                </a:cxn>
                <a:cxn ang="0">
                  <a:pos x="301" y="72"/>
                </a:cxn>
                <a:cxn ang="0">
                  <a:pos x="268" y="8"/>
                </a:cxn>
                <a:cxn ang="0">
                  <a:pos x="198" y="32"/>
                </a:cxn>
              </a:cxnLst>
              <a:rect l="0" t="0" r="r" b="b"/>
              <a:pathLst>
                <a:path w="640" h="341">
                  <a:moveTo>
                    <a:pt x="198" y="32"/>
                  </a:moveTo>
                  <a:lnTo>
                    <a:pt x="110" y="79"/>
                  </a:lnTo>
                  <a:lnTo>
                    <a:pt x="110" y="120"/>
                  </a:lnTo>
                  <a:lnTo>
                    <a:pt x="8" y="127"/>
                  </a:lnTo>
                  <a:lnTo>
                    <a:pt x="0" y="166"/>
                  </a:lnTo>
                  <a:lnTo>
                    <a:pt x="167" y="199"/>
                  </a:lnTo>
                  <a:lnTo>
                    <a:pt x="40" y="230"/>
                  </a:lnTo>
                  <a:lnTo>
                    <a:pt x="16" y="254"/>
                  </a:lnTo>
                  <a:lnTo>
                    <a:pt x="103" y="300"/>
                  </a:lnTo>
                  <a:lnTo>
                    <a:pt x="182" y="341"/>
                  </a:lnTo>
                  <a:lnTo>
                    <a:pt x="292" y="341"/>
                  </a:lnTo>
                  <a:lnTo>
                    <a:pt x="482" y="333"/>
                  </a:lnTo>
                  <a:lnTo>
                    <a:pt x="601" y="309"/>
                  </a:lnTo>
                  <a:lnTo>
                    <a:pt x="570" y="230"/>
                  </a:lnTo>
                  <a:lnTo>
                    <a:pt x="640" y="214"/>
                  </a:lnTo>
                  <a:lnTo>
                    <a:pt x="561" y="166"/>
                  </a:lnTo>
                  <a:lnTo>
                    <a:pt x="513" y="72"/>
                  </a:lnTo>
                  <a:lnTo>
                    <a:pt x="537" y="17"/>
                  </a:lnTo>
                  <a:lnTo>
                    <a:pt x="443" y="0"/>
                  </a:lnTo>
                  <a:lnTo>
                    <a:pt x="419" y="103"/>
                  </a:lnTo>
                  <a:lnTo>
                    <a:pt x="371" y="48"/>
                  </a:lnTo>
                  <a:lnTo>
                    <a:pt x="332" y="17"/>
                  </a:lnTo>
                  <a:lnTo>
                    <a:pt x="301" y="72"/>
                  </a:lnTo>
                  <a:lnTo>
                    <a:pt x="268" y="8"/>
                  </a:lnTo>
                  <a:lnTo>
                    <a:pt x="198" y="3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Freeform 101"/>
            <p:cNvSpPr>
              <a:spLocks noChangeAspect="1"/>
            </p:cNvSpPr>
            <p:nvPr/>
          </p:nvSpPr>
          <p:spPr bwMode="auto">
            <a:xfrm>
              <a:off x="6854341" y="1734484"/>
              <a:ext cx="52747" cy="26624"/>
            </a:xfrm>
            <a:custGeom>
              <a:avLst/>
              <a:gdLst/>
              <a:ahLst/>
              <a:cxnLst>
                <a:cxn ang="0">
                  <a:pos x="45" y="45"/>
                </a:cxn>
                <a:cxn ang="0">
                  <a:pos x="45" y="45"/>
                </a:cxn>
                <a:cxn ang="0">
                  <a:pos x="54" y="44"/>
                </a:cxn>
                <a:cxn ang="0">
                  <a:pos x="63" y="42"/>
                </a:cxn>
                <a:cxn ang="0">
                  <a:pos x="70" y="40"/>
                </a:cxn>
                <a:cxn ang="0">
                  <a:pos x="77" y="37"/>
                </a:cxn>
                <a:cxn ang="0">
                  <a:pos x="82" y="35"/>
                </a:cxn>
                <a:cxn ang="0">
                  <a:pos x="87" y="31"/>
                </a:cxn>
                <a:cxn ang="0">
                  <a:pos x="89" y="26"/>
                </a:cxn>
                <a:cxn ang="0">
                  <a:pos x="90" y="22"/>
                </a:cxn>
                <a:cxn ang="0">
                  <a:pos x="90" y="22"/>
                </a:cxn>
                <a:cxn ang="0">
                  <a:pos x="89" y="17"/>
                </a:cxn>
                <a:cxn ang="0">
                  <a:pos x="87" y="14"/>
                </a:cxn>
                <a:cxn ang="0">
                  <a:pos x="82" y="10"/>
                </a:cxn>
                <a:cxn ang="0">
                  <a:pos x="77" y="6"/>
                </a:cxn>
                <a:cxn ang="0">
                  <a:pos x="70" y="4"/>
                </a:cxn>
                <a:cxn ang="0">
                  <a:pos x="63" y="1"/>
                </a:cxn>
                <a:cxn ang="0">
                  <a:pos x="54" y="0"/>
                </a:cxn>
                <a:cxn ang="0">
                  <a:pos x="45" y="0"/>
                </a:cxn>
                <a:cxn ang="0">
                  <a:pos x="45" y="0"/>
                </a:cxn>
                <a:cxn ang="0">
                  <a:pos x="36" y="0"/>
                </a:cxn>
                <a:cxn ang="0">
                  <a:pos x="28" y="1"/>
                </a:cxn>
                <a:cxn ang="0">
                  <a:pos x="20" y="4"/>
                </a:cxn>
                <a:cxn ang="0">
                  <a:pos x="14" y="6"/>
                </a:cxn>
                <a:cxn ang="0">
                  <a:pos x="8" y="10"/>
                </a:cxn>
                <a:cxn ang="0">
                  <a:pos x="4" y="14"/>
                </a:cxn>
                <a:cxn ang="0">
                  <a:pos x="1" y="17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1" y="26"/>
                </a:cxn>
                <a:cxn ang="0">
                  <a:pos x="4" y="31"/>
                </a:cxn>
                <a:cxn ang="0">
                  <a:pos x="8" y="35"/>
                </a:cxn>
                <a:cxn ang="0">
                  <a:pos x="14" y="37"/>
                </a:cxn>
                <a:cxn ang="0">
                  <a:pos x="20" y="40"/>
                </a:cxn>
                <a:cxn ang="0">
                  <a:pos x="28" y="42"/>
                </a:cxn>
                <a:cxn ang="0">
                  <a:pos x="36" y="44"/>
                </a:cxn>
                <a:cxn ang="0">
                  <a:pos x="45" y="45"/>
                </a:cxn>
                <a:cxn ang="0">
                  <a:pos x="45" y="45"/>
                </a:cxn>
              </a:cxnLst>
              <a:rect l="0" t="0" r="r" b="b"/>
              <a:pathLst>
                <a:path w="90" h="45">
                  <a:moveTo>
                    <a:pt x="45" y="45"/>
                  </a:moveTo>
                  <a:lnTo>
                    <a:pt x="45" y="45"/>
                  </a:lnTo>
                  <a:lnTo>
                    <a:pt x="54" y="44"/>
                  </a:lnTo>
                  <a:lnTo>
                    <a:pt x="63" y="42"/>
                  </a:lnTo>
                  <a:lnTo>
                    <a:pt x="70" y="40"/>
                  </a:lnTo>
                  <a:lnTo>
                    <a:pt x="77" y="37"/>
                  </a:lnTo>
                  <a:lnTo>
                    <a:pt x="82" y="35"/>
                  </a:lnTo>
                  <a:lnTo>
                    <a:pt x="87" y="31"/>
                  </a:lnTo>
                  <a:lnTo>
                    <a:pt x="89" y="26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89" y="17"/>
                  </a:lnTo>
                  <a:lnTo>
                    <a:pt x="87" y="14"/>
                  </a:lnTo>
                  <a:lnTo>
                    <a:pt x="82" y="10"/>
                  </a:lnTo>
                  <a:lnTo>
                    <a:pt x="77" y="6"/>
                  </a:lnTo>
                  <a:lnTo>
                    <a:pt x="70" y="4"/>
                  </a:lnTo>
                  <a:lnTo>
                    <a:pt x="63" y="1"/>
                  </a:lnTo>
                  <a:lnTo>
                    <a:pt x="5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36" y="0"/>
                  </a:lnTo>
                  <a:lnTo>
                    <a:pt x="28" y="1"/>
                  </a:lnTo>
                  <a:lnTo>
                    <a:pt x="20" y="4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4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1" y="26"/>
                  </a:lnTo>
                  <a:lnTo>
                    <a:pt x="4" y="31"/>
                  </a:lnTo>
                  <a:lnTo>
                    <a:pt x="8" y="35"/>
                  </a:lnTo>
                  <a:lnTo>
                    <a:pt x="14" y="37"/>
                  </a:lnTo>
                  <a:lnTo>
                    <a:pt x="20" y="40"/>
                  </a:lnTo>
                  <a:lnTo>
                    <a:pt x="28" y="42"/>
                  </a:lnTo>
                  <a:lnTo>
                    <a:pt x="36" y="44"/>
                  </a:lnTo>
                  <a:lnTo>
                    <a:pt x="45" y="45"/>
                  </a:lnTo>
                  <a:lnTo>
                    <a:pt x="45" y="4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Freeform 102"/>
            <p:cNvSpPr>
              <a:spLocks noChangeAspect="1"/>
            </p:cNvSpPr>
            <p:nvPr/>
          </p:nvSpPr>
          <p:spPr bwMode="auto">
            <a:xfrm>
              <a:off x="6529066" y="1551664"/>
              <a:ext cx="156484" cy="99398"/>
            </a:xfrm>
            <a:custGeom>
              <a:avLst/>
              <a:gdLst/>
              <a:ahLst/>
              <a:cxnLst>
                <a:cxn ang="0">
                  <a:pos x="269" y="0"/>
                </a:cxn>
                <a:cxn ang="0">
                  <a:pos x="197" y="23"/>
                </a:cxn>
                <a:cxn ang="0">
                  <a:pos x="94" y="71"/>
                </a:cxn>
                <a:cxn ang="0">
                  <a:pos x="8" y="95"/>
                </a:cxn>
                <a:cxn ang="0">
                  <a:pos x="0" y="150"/>
                </a:cxn>
                <a:cxn ang="0">
                  <a:pos x="118" y="167"/>
                </a:cxn>
                <a:cxn ang="0">
                  <a:pos x="197" y="87"/>
                </a:cxn>
                <a:cxn ang="0">
                  <a:pos x="269" y="87"/>
                </a:cxn>
                <a:cxn ang="0">
                  <a:pos x="269" y="0"/>
                </a:cxn>
              </a:cxnLst>
              <a:rect l="0" t="0" r="r" b="b"/>
              <a:pathLst>
                <a:path w="269" h="167">
                  <a:moveTo>
                    <a:pt x="269" y="0"/>
                  </a:moveTo>
                  <a:lnTo>
                    <a:pt x="197" y="23"/>
                  </a:lnTo>
                  <a:lnTo>
                    <a:pt x="94" y="71"/>
                  </a:lnTo>
                  <a:lnTo>
                    <a:pt x="8" y="95"/>
                  </a:lnTo>
                  <a:lnTo>
                    <a:pt x="0" y="150"/>
                  </a:lnTo>
                  <a:lnTo>
                    <a:pt x="118" y="167"/>
                  </a:lnTo>
                  <a:lnTo>
                    <a:pt x="197" y="87"/>
                  </a:lnTo>
                  <a:lnTo>
                    <a:pt x="269" y="87"/>
                  </a:lnTo>
                  <a:lnTo>
                    <a:pt x="269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Freeform 103"/>
            <p:cNvSpPr>
              <a:spLocks noChangeAspect="1"/>
            </p:cNvSpPr>
            <p:nvPr/>
          </p:nvSpPr>
          <p:spPr bwMode="auto">
            <a:xfrm>
              <a:off x="6625769" y="1642186"/>
              <a:ext cx="26374" cy="47924"/>
            </a:xfrm>
            <a:custGeom>
              <a:avLst/>
              <a:gdLst/>
              <a:ahLst/>
              <a:cxnLst>
                <a:cxn ang="0">
                  <a:pos x="23" y="79"/>
                </a:cxn>
                <a:cxn ang="0">
                  <a:pos x="23" y="79"/>
                </a:cxn>
                <a:cxn ang="0">
                  <a:pos x="18" y="78"/>
                </a:cxn>
                <a:cxn ang="0">
                  <a:pos x="14" y="75"/>
                </a:cxn>
                <a:cxn ang="0">
                  <a:pos x="10" y="72"/>
                </a:cxn>
                <a:cxn ang="0">
                  <a:pos x="6" y="68"/>
                </a:cxn>
                <a:cxn ang="0">
                  <a:pos x="4" y="62"/>
                </a:cxn>
                <a:cxn ang="0">
                  <a:pos x="1" y="55"/>
                </a:cxn>
                <a:cxn ang="0">
                  <a:pos x="0" y="48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31"/>
                </a:cxn>
                <a:cxn ang="0">
                  <a:pos x="1" y="24"/>
                </a:cxn>
                <a:cxn ang="0">
                  <a:pos x="4" y="18"/>
                </a:cxn>
                <a:cxn ang="0">
                  <a:pos x="6" y="13"/>
                </a:cxn>
                <a:cxn ang="0">
                  <a:pos x="10" y="8"/>
                </a:cxn>
                <a:cxn ang="0">
                  <a:pos x="14" y="4"/>
                </a:cxn>
                <a:cxn ang="0">
                  <a:pos x="18" y="1"/>
                </a:cxn>
                <a:cxn ang="0">
                  <a:pos x="23" y="0"/>
                </a:cxn>
                <a:cxn ang="0">
                  <a:pos x="23" y="0"/>
                </a:cxn>
                <a:cxn ang="0">
                  <a:pos x="26" y="1"/>
                </a:cxn>
                <a:cxn ang="0">
                  <a:pos x="32" y="4"/>
                </a:cxn>
                <a:cxn ang="0">
                  <a:pos x="35" y="8"/>
                </a:cxn>
                <a:cxn ang="0">
                  <a:pos x="38" y="13"/>
                </a:cxn>
                <a:cxn ang="0">
                  <a:pos x="40" y="18"/>
                </a:cxn>
                <a:cxn ang="0">
                  <a:pos x="43" y="24"/>
                </a:cxn>
                <a:cxn ang="0">
                  <a:pos x="44" y="31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8"/>
                </a:cxn>
                <a:cxn ang="0">
                  <a:pos x="43" y="55"/>
                </a:cxn>
                <a:cxn ang="0">
                  <a:pos x="40" y="62"/>
                </a:cxn>
                <a:cxn ang="0">
                  <a:pos x="38" y="68"/>
                </a:cxn>
                <a:cxn ang="0">
                  <a:pos x="35" y="72"/>
                </a:cxn>
                <a:cxn ang="0">
                  <a:pos x="32" y="75"/>
                </a:cxn>
                <a:cxn ang="0">
                  <a:pos x="26" y="78"/>
                </a:cxn>
                <a:cxn ang="0">
                  <a:pos x="23" y="79"/>
                </a:cxn>
                <a:cxn ang="0">
                  <a:pos x="23" y="79"/>
                </a:cxn>
              </a:cxnLst>
              <a:rect l="0" t="0" r="r" b="b"/>
              <a:pathLst>
                <a:path w="44" h="79">
                  <a:moveTo>
                    <a:pt x="23" y="79"/>
                  </a:moveTo>
                  <a:lnTo>
                    <a:pt x="23" y="79"/>
                  </a:lnTo>
                  <a:lnTo>
                    <a:pt x="18" y="78"/>
                  </a:lnTo>
                  <a:lnTo>
                    <a:pt x="14" y="75"/>
                  </a:lnTo>
                  <a:lnTo>
                    <a:pt x="10" y="72"/>
                  </a:lnTo>
                  <a:lnTo>
                    <a:pt x="6" y="68"/>
                  </a:lnTo>
                  <a:lnTo>
                    <a:pt x="4" y="62"/>
                  </a:lnTo>
                  <a:lnTo>
                    <a:pt x="1" y="55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4" y="18"/>
                  </a:lnTo>
                  <a:lnTo>
                    <a:pt x="6" y="13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18" y="1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6" y="1"/>
                  </a:lnTo>
                  <a:lnTo>
                    <a:pt x="32" y="4"/>
                  </a:lnTo>
                  <a:lnTo>
                    <a:pt x="35" y="8"/>
                  </a:lnTo>
                  <a:lnTo>
                    <a:pt x="38" y="13"/>
                  </a:lnTo>
                  <a:lnTo>
                    <a:pt x="40" y="18"/>
                  </a:lnTo>
                  <a:lnTo>
                    <a:pt x="43" y="24"/>
                  </a:lnTo>
                  <a:lnTo>
                    <a:pt x="44" y="31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8"/>
                  </a:lnTo>
                  <a:lnTo>
                    <a:pt x="43" y="55"/>
                  </a:lnTo>
                  <a:lnTo>
                    <a:pt x="40" y="62"/>
                  </a:lnTo>
                  <a:lnTo>
                    <a:pt x="38" y="68"/>
                  </a:lnTo>
                  <a:lnTo>
                    <a:pt x="35" y="72"/>
                  </a:lnTo>
                  <a:lnTo>
                    <a:pt x="32" y="75"/>
                  </a:lnTo>
                  <a:lnTo>
                    <a:pt x="26" y="78"/>
                  </a:lnTo>
                  <a:lnTo>
                    <a:pt x="23" y="79"/>
                  </a:lnTo>
                  <a:lnTo>
                    <a:pt x="23" y="7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Freeform 104"/>
            <p:cNvSpPr>
              <a:spLocks noChangeAspect="1"/>
            </p:cNvSpPr>
            <p:nvPr/>
          </p:nvSpPr>
          <p:spPr bwMode="auto">
            <a:xfrm>
              <a:off x="6680275" y="1597812"/>
              <a:ext cx="242638" cy="117147"/>
            </a:xfrm>
            <a:custGeom>
              <a:avLst/>
              <a:gdLst/>
              <a:ahLst/>
              <a:cxnLst>
                <a:cxn ang="0">
                  <a:pos x="143" y="64"/>
                </a:cxn>
                <a:cxn ang="0">
                  <a:pos x="103" y="103"/>
                </a:cxn>
                <a:cxn ang="0">
                  <a:pos x="16" y="103"/>
                </a:cxn>
                <a:cxn ang="0">
                  <a:pos x="0" y="174"/>
                </a:cxn>
                <a:cxn ang="0">
                  <a:pos x="95" y="198"/>
                </a:cxn>
                <a:cxn ang="0">
                  <a:pos x="175" y="182"/>
                </a:cxn>
                <a:cxn ang="0">
                  <a:pos x="245" y="158"/>
                </a:cxn>
                <a:cxn ang="0">
                  <a:pos x="333" y="143"/>
                </a:cxn>
                <a:cxn ang="0">
                  <a:pos x="412" y="165"/>
                </a:cxn>
                <a:cxn ang="0">
                  <a:pos x="372" y="79"/>
                </a:cxn>
                <a:cxn ang="0">
                  <a:pos x="285" y="55"/>
                </a:cxn>
                <a:cxn ang="0">
                  <a:pos x="269" y="0"/>
                </a:cxn>
                <a:cxn ang="0">
                  <a:pos x="198" y="8"/>
                </a:cxn>
                <a:cxn ang="0">
                  <a:pos x="190" y="55"/>
                </a:cxn>
                <a:cxn ang="0">
                  <a:pos x="143" y="64"/>
                </a:cxn>
              </a:cxnLst>
              <a:rect l="0" t="0" r="r" b="b"/>
              <a:pathLst>
                <a:path w="412" h="198">
                  <a:moveTo>
                    <a:pt x="143" y="64"/>
                  </a:moveTo>
                  <a:lnTo>
                    <a:pt x="103" y="103"/>
                  </a:lnTo>
                  <a:lnTo>
                    <a:pt x="16" y="103"/>
                  </a:lnTo>
                  <a:lnTo>
                    <a:pt x="0" y="174"/>
                  </a:lnTo>
                  <a:lnTo>
                    <a:pt x="95" y="198"/>
                  </a:lnTo>
                  <a:lnTo>
                    <a:pt x="175" y="182"/>
                  </a:lnTo>
                  <a:lnTo>
                    <a:pt x="245" y="158"/>
                  </a:lnTo>
                  <a:lnTo>
                    <a:pt x="333" y="143"/>
                  </a:lnTo>
                  <a:lnTo>
                    <a:pt x="412" y="165"/>
                  </a:lnTo>
                  <a:lnTo>
                    <a:pt x="372" y="79"/>
                  </a:lnTo>
                  <a:lnTo>
                    <a:pt x="285" y="55"/>
                  </a:lnTo>
                  <a:lnTo>
                    <a:pt x="269" y="0"/>
                  </a:lnTo>
                  <a:lnTo>
                    <a:pt x="198" y="8"/>
                  </a:lnTo>
                  <a:lnTo>
                    <a:pt x="190" y="55"/>
                  </a:lnTo>
                  <a:lnTo>
                    <a:pt x="143" y="6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5" name="Freeform 105"/>
            <p:cNvSpPr>
              <a:spLocks noChangeAspect="1"/>
            </p:cNvSpPr>
            <p:nvPr/>
          </p:nvSpPr>
          <p:spPr bwMode="auto">
            <a:xfrm>
              <a:off x="6759396" y="1532139"/>
              <a:ext cx="73846" cy="56799"/>
            </a:xfrm>
            <a:custGeom>
              <a:avLst/>
              <a:gdLst/>
              <a:ahLst/>
              <a:cxnLst>
                <a:cxn ang="0">
                  <a:pos x="79" y="8"/>
                </a:cxn>
                <a:cxn ang="0">
                  <a:pos x="24" y="8"/>
                </a:cxn>
                <a:cxn ang="0">
                  <a:pos x="0" y="55"/>
                </a:cxn>
                <a:cxn ang="0">
                  <a:pos x="0" y="96"/>
                </a:cxn>
                <a:cxn ang="0">
                  <a:pos x="56" y="64"/>
                </a:cxn>
                <a:cxn ang="0">
                  <a:pos x="120" y="48"/>
                </a:cxn>
                <a:cxn ang="0">
                  <a:pos x="127" y="0"/>
                </a:cxn>
                <a:cxn ang="0">
                  <a:pos x="79" y="8"/>
                </a:cxn>
              </a:cxnLst>
              <a:rect l="0" t="0" r="r" b="b"/>
              <a:pathLst>
                <a:path w="127" h="96">
                  <a:moveTo>
                    <a:pt x="79" y="8"/>
                  </a:moveTo>
                  <a:lnTo>
                    <a:pt x="24" y="8"/>
                  </a:lnTo>
                  <a:lnTo>
                    <a:pt x="0" y="55"/>
                  </a:lnTo>
                  <a:lnTo>
                    <a:pt x="0" y="96"/>
                  </a:lnTo>
                  <a:lnTo>
                    <a:pt x="56" y="64"/>
                  </a:lnTo>
                  <a:lnTo>
                    <a:pt x="120" y="48"/>
                  </a:lnTo>
                  <a:lnTo>
                    <a:pt x="127" y="0"/>
                  </a:lnTo>
                  <a:lnTo>
                    <a:pt x="79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106"/>
            <p:cNvSpPr>
              <a:spLocks noChangeAspect="1"/>
            </p:cNvSpPr>
            <p:nvPr/>
          </p:nvSpPr>
          <p:spPr bwMode="auto">
            <a:xfrm>
              <a:off x="6755879" y="1468241"/>
              <a:ext cx="91429" cy="46149"/>
            </a:xfrm>
            <a:custGeom>
              <a:avLst/>
              <a:gdLst/>
              <a:ahLst/>
              <a:cxnLst>
                <a:cxn ang="0">
                  <a:pos x="39" y="24"/>
                </a:cxn>
                <a:cxn ang="0">
                  <a:pos x="79" y="0"/>
                </a:cxn>
                <a:cxn ang="0">
                  <a:pos x="134" y="7"/>
                </a:cxn>
                <a:cxn ang="0">
                  <a:pos x="158" y="47"/>
                </a:cxn>
                <a:cxn ang="0">
                  <a:pos x="86" y="71"/>
                </a:cxn>
                <a:cxn ang="0">
                  <a:pos x="0" y="79"/>
                </a:cxn>
                <a:cxn ang="0">
                  <a:pos x="39" y="24"/>
                </a:cxn>
              </a:cxnLst>
              <a:rect l="0" t="0" r="r" b="b"/>
              <a:pathLst>
                <a:path w="158" h="79">
                  <a:moveTo>
                    <a:pt x="39" y="24"/>
                  </a:moveTo>
                  <a:lnTo>
                    <a:pt x="79" y="0"/>
                  </a:lnTo>
                  <a:lnTo>
                    <a:pt x="134" y="7"/>
                  </a:lnTo>
                  <a:lnTo>
                    <a:pt x="158" y="47"/>
                  </a:lnTo>
                  <a:lnTo>
                    <a:pt x="86" y="71"/>
                  </a:lnTo>
                  <a:lnTo>
                    <a:pt x="0" y="79"/>
                  </a:lnTo>
                  <a:lnTo>
                    <a:pt x="39" y="2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Freeform 107"/>
            <p:cNvSpPr>
              <a:spLocks noChangeAspect="1"/>
            </p:cNvSpPr>
            <p:nvPr/>
          </p:nvSpPr>
          <p:spPr bwMode="auto">
            <a:xfrm>
              <a:off x="6935220" y="1468241"/>
              <a:ext cx="124835" cy="83423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96" y="7"/>
                </a:cxn>
                <a:cxn ang="0">
                  <a:pos x="151" y="24"/>
                </a:cxn>
                <a:cxn ang="0">
                  <a:pos x="199" y="79"/>
                </a:cxn>
                <a:cxn ang="0">
                  <a:pos x="214" y="127"/>
                </a:cxn>
                <a:cxn ang="0">
                  <a:pos x="120" y="142"/>
                </a:cxn>
                <a:cxn ang="0">
                  <a:pos x="96" y="95"/>
                </a:cxn>
                <a:cxn ang="0">
                  <a:pos x="41" y="86"/>
                </a:cxn>
                <a:cxn ang="0">
                  <a:pos x="0" y="31"/>
                </a:cxn>
                <a:cxn ang="0">
                  <a:pos x="41" y="0"/>
                </a:cxn>
              </a:cxnLst>
              <a:rect l="0" t="0" r="r" b="b"/>
              <a:pathLst>
                <a:path w="214" h="142">
                  <a:moveTo>
                    <a:pt x="41" y="0"/>
                  </a:moveTo>
                  <a:lnTo>
                    <a:pt x="96" y="7"/>
                  </a:lnTo>
                  <a:lnTo>
                    <a:pt x="151" y="24"/>
                  </a:lnTo>
                  <a:lnTo>
                    <a:pt x="199" y="79"/>
                  </a:lnTo>
                  <a:lnTo>
                    <a:pt x="214" y="127"/>
                  </a:lnTo>
                  <a:lnTo>
                    <a:pt x="120" y="142"/>
                  </a:lnTo>
                  <a:lnTo>
                    <a:pt x="96" y="95"/>
                  </a:lnTo>
                  <a:lnTo>
                    <a:pt x="41" y="86"/>
                  </a:lnTo>
                  <a:lnTo>
                    <a:pt x="0" y="31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Freeform 108"/>
            <p:cNvSpPr>
              <a:spLocks noChangeAspect="1"/>
            </p:cNvSpPr>
            <p:nvPr/>
          </p:nvSpPr>
          <p:spPr bwMode="auto">
            <a:xfrm>
              <a:off x="6935220" y="1729159"/>
              <a:ext cx="121319" cy="126022"/>
            </a:xfrm>
            <a:custGeom>
              <a:avLst/>
              <a:gdLst/>
              <a:ahLst/>
              <a:cxnLst>
                <a:cxn ang="0">
                  <a:pos x="72" y="15"/>
                </a:cxn>
                <a:cxn ang="0">
                  <a:pos x="88" y="63"/>
                </a:cxn>
                <a:cxn ang="0">
                  <a:pos x="80" y="118"/>
                </a:cxn>
                <a:cxn ang="0">
                  <a:pos x="9" y="78"/>
                </a:cxn>
                <a:cxn ang="0">
                  <a:pos x="0" y="126"/>
                </a:cxn>
                <a:cxn ang="0">
                  <a:pos x="64" y="166"/>
                </a:cxn>
                <a:cxn ang="0">
                  <a:pos x="96" y="205"/>
                </a:cxn>
                <a:cxn ang="0">
                  <a:pos x="167" y="212"/>
                </a:cxn>
                <a:cxn ang="0">
                  <a:pos x="206" y="142"/>
                </a:cxn>
                <a:cxn ang="0">
                  <a:pos x="182" y="87"/>
                </a:cxn>
                <a:cxn ang="0">
                  <a:pos x="191" y="0"/>
                </a:cxn>
                <a:cxn ang="0">
                  <a:pos x="72" y="15"/>
                </a:cxn>
              </a:cxnLst>
              <a:rect l="0" t="0" r="r" b="b"/>
              <a:pathLst>
                <a:path w="206" h="212">
                  <a:moveTo>
                    <a:pt x="72" y="15"/>
                  </a:moveTo>
                  <a:lnTo>
                    <a:pt x="88" y="63"/>
                  </a:lnTo>
                  <a:lnTo>
                    <a:pt x="80" y="118"/>
                  </a:lnTo>
                  <a:lnTo>
                    <a:pt x="9" y="78"/>
                  </a:lnTo>
                  <a:lnTo>
                    <a:pt x="0" y="126"/>
                  </a:lnTo>
                  <a:lnTo>
                    <a:pt x="64" y="166"/>
                  </a:lnTo>
                  <a:lnTo>
                    <a:pt x="96" y="205"/>
                  </a:lnTo>
                  <a:lnTo>
                    <a:pt x="167" y="212"/>
                  </a:lnTo>
                  <a:lnTo>
                    <a:pt x="206" y="142"/>
                  </a:lnTo>
                  <a:lnTo>
                    <a:pt x="182" y="87"/>
                  </a:lnTo>
                  <a:lnTo>
                    <a:pt x="191" y="0"/>
                  </a:lnTo>
                  <a:lnTo>
                    <a:pt x="72" y="1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Freeform 109"/>
            <p:cNvSpPr>
              <a:spLocks noChangeAspect="1"/>
            </p:cNvSpPr>
            <p:nvPr/>
          </p:nvSpPr>
          <p:spPr bwMode="auto">
            <a:xfrm>
              <a:off x="6963352" y="1915530"/>
              <a:ext cx="73846" cy="56799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16" y="33"/>
                </a:cxn>
                <a:cxn ang="0">
                  <a:pos x="0" y="88"/>
                </a:cxn>
                <a:cxn ang="0">
                  <a:pos x="79" y="96"/>
                </a:cxn>
                <a:cxn ang="0">
                  <a:pos x="127" y="64"/>
                </a:cxn>
                <a:cxn ang="0">
                  <a:pos x="64" y="0"/>
                </a:cxn>
              </a:cxnLst>
              <a:rect l="0" t="0" r="r" b="b"/>
              <a:pathLst>
                <a:path w="127" h="96">
                  <a:moveTo>
                    <a:pt x="64" y="0"/>
                  </a:moveTo>
                  <a:lnTo>
                    <a:pt x="16" y="33"/>
                  </a:lnTo>
                  <a:lnTo>
                    <a:pt x="0" y="88"/>
                  </a:lnTo>
                  <a:lnTo>
                    <a:pt x="79" y="96"/>
                  </a:lnTo>
                  <a:lnTo>
                    <a:pt x="127" y="6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Freeform 110"/>
            <p:cNvSpPr>
              <a:spLocks noChangeAspect="1"/>
            </p:cNvSpPr>
            <p:nvPr/>
          </p:nvSpPr>
          <p:spPr bwMode="auto">
            <a:xfrm>
              <a:off x="7093462" y="1723834"/>
              <a:ext cx="124835" cy="99398"/>
            </a:xfrm>
            <a:custGeom>
              <a:avLst/>
              <a:gdLst/>
              <a:ahLst/>
              <a:cxnLst>
                <a:cxn ang="0">
                  <a:pos x="0" y="166"/>
                </a:cxn>
                <a:cxn ang="0">
                  <a:pos x="8" y="96"/>
                </a:cxn>
                <a:cxn ang="0">
                  <a:pos x="32" y="32"/>
                </a:cxn>
                <a:cxn ang="0">
                  <a:pos x="102" y="0"/>
                </a:cxn>
                <a:cxn ang="0">
                  <a:pos x="166" y="9"/>
                </a:cxn>
                <a:cxn ang="0">
                  <a:pos x="214" y="24"/>
                </a:cxn>
                <a:cxn ang="0">
                  <a:pos x="174" y="72"/>
                </a:cxn>
                <a:cxn ang="0">
                  <a:pos x="111" y="119"/>
                </a:cxn>
                <a:cxn ang="0">
                  <a:pos x="63" y="119"/>
                </a:cxn>
                <a:cxn ang="0">
                  <a:pos x="47" y="166"/>
                </a:cxn>
                <a:cxn ang="0">
                  <a:pos x="0" y="166"/>
                </a:cxn>
              </a:cxnLst>
              <a:rect l="0" t="0" r="r" b="b"/>
              <a:pathLst>
                <a:path w="214" h="166">
                  <a:moveTo>
                    <a:pt x="0" y="166"/>
                  </a:moveTo>
                  <a:lnTo>
                    <a:pt x="8" y="96"/>
                  </a:lnTo>
                  <a:lnTo>
                    <a:pt x="32" y="32"/>
                  </a:lnTo>
                  <a:lnTo>
                    <a:pt x="102" y="0"/>
                  </a:lnTo>
                  <a:lnTo>
                    <a:pt x="166" y="9"/>
                  </a:lnTo>
                  <a:lnTo>
                    <a:pt x="214" y="24"/>
                  </a:lnTo>
                  <a:lnTo>
                    <a:pt x="174" y="72"/>
                  </a:lnTo>
                  <a:lnTo>
                    <a:pt x="111" y="119"/>
                  </a:lnTo>
                  <a:lnTo>
                    <a:pt x="63" y="119"/>
                  </a:lnTo>
                  <a:lnTo>
                    <a:pt x="47" y="166"/>
                  </a:lnTo>
                  <a:lnTo>
                    <a:pt x="0" y="16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Freeform 111"/>
            <p:cNvSpPr>
              <a:spLocks noChangeAspect="1"/>
            </p:cNvSpPr>
            <p:nvPr/>
          </p:nvSpPr>
          <p:spPr bwMode="auto">
            <a:xfrm>
              <a:off x="7227089" y="1734484"/>
              <a:ext cx="597803" cy="541362"/>
            </a:xfrm>
            <a:custGeom>
              <a:avLst/>
              <a:gdLst/>
              <a:ahLst/>
              <a:cxnLst>
                <a:cxn ang="0">
                  <a:pos x="151" y="0"/>
                </a:cxn>
                <a:cxn ang="0">
                  <a:pos x="55" y="32"/>
                </a:cxn>
                <a:cxn ang="0">
                  <a:pos x="0" y="127"/>
                </a:cxn>
                <a:cxn ang="0">
                  <a:pos x="7" y="214"/>
                </a:cxn>
                <a:cxn ang="0">
                  <a:pos x="79" y="245"/>
                </a:cxn>
                <a:cxn ang="0">
                  <a:pos x="48" y="277"/>
                </a:cxn>
                <a:cxn ang="0">
                  <a:pos x="63" y="308"/>
                </a:cxn>
                <a:cxn ang="0">
                  <a:pos x="213" y="284"/>
                </a:cxn>
                <a:cxn ang="0">
                  <a:pos x="309" y="332"/>
                </a:cxn>
                <a:cxn ang="0">
                  <a:pos x="379" y="284"/>
                </a:cxn>
                <a:cxn ang="0">
                  <a:pos x="466" y="363"/>
                </a:cxn>
                <a:cxn ang="0">
                  <a:pos x="458" y="419"/>
                </a:cxn>
                <a:cxn ang="0">
                  <a:pos x="537" y="419"/>
                </a:cxn>
                <a:cxn ang="0">
                  <a:pos x="585" y="459"/>
                </a:cxn>
                <a:cxn ang="0">
                  <a:pos x="592" y="545"/>
                </a:cxn>
                <a:cxn ang="0">
                  <a:pos x="506" y="641"/>
                </a:cxn>
                <a:cxn ang="0">
                  <a:pos x="364" y="672"/>
                </a:cxn>
                <a:cxn ang="0">
                  <a:pos x="331" y="720"/>
                </a:cxn>
                <a:cxn ang="0">
                  <a:pos x="388" y="775"/>
                </a:cxn>
                <a:cxn ang="0">
                  <a:pos x="506" y="744"/>
                </a:cxn>
                <a:cxn ang="0">
                  <a:pos x="624" y="838"/>
                </a:cxn>
                <a:cxn ang="0">
                  <a:pos x="782" y="917"/>
                </a:cxn>
                <a:cxn ang="0">
                  <a:pos x="727" y="790"/>
                </a:cxn>
                <a:cxn ang="0">
                  <a:pos x="837" y="862"/>
                </a:cxn>
                <a:cxn ang="0">
                  <a:pos x="870" y="783"/>
                </a:cxn>
                <a:cxn ang="0">
                  <a:pos x="846" y="687"/>
                </a:cxn>
                <a:cxn ang="0">
                  <a:pos x="767" y="672"/>
                </a:cxn>
                <a:cxn ang="0">
                  <a:pos x="774" y="577"/>
                </a:cxn>
                <a:cxn ang="0">
                  <a:pos x="813" y="569"/>
                </a:cxn>
                <a:cxn ang="0">
                  <a:pos x="940" y="696"/>
                </a:cxn>
                <a:cxn ang="0">
                  <a:pos x="988" y="617"/>
                </a:cxn>
                <a:cxn ang="0">
                  <a:pos x="1019" y="562"/>
                </a:cxn>
                <a:cxn ang="0">
                  <a:pos x="940" y="507"/>
                </a:cxn>
                <a:cxn ang="0">
                  <a:pos x="854" y="483"/>
                </a:cxn>
                <a:cxn ang="0">
                  <a:pos x="791" y="396"/>
                </a:cxn>
                <a:cxn ang="0">
                  <a:pos x="837" y="341"/>
                </a:cxn>
                <a:cxn ang="0">
                  <a:pos x="798" y="269"/>
                </a:cxn>
                <a:cxn ang="0">
                  <a:pos x="672" y="214"/>
                </a:cxn>
                <a:cxn ang="0">
                  <a:pos x="592" y="174"/>
                </a:cxn>
                <a:cxn ang="0">
                  <a:pos x="530" y="71"/>
                </a:cxn>
                <a:cxn ang="0">
                  <a:pos x="371" y="87"/>
                </a:cxn>
                <a:cxn ang="0">
                  <a:pos x="324" y="150"/>
                </a:cxn>
                <a:cxn ang="0">
                  <a:pos x="348" y="8"/>
                </a:cxn>
                <a:cxn ang="0">
                  <a:pos x="237" y="0"/>
                </a:cxn>
                <a:cxn ang="0">
                  <a:pos x="182" y="71"/>
                </a:cxn>
                <a:cxn ang="0">
                  <a:pos x="174" y="127"/>
                </a:cxn>
                <a:cxn ang="0">
                  <a:pos x="119" y="119"/>
                </a:cxn>
                <a:cxn ang="0">
                  <a:pos x="151" y="0"/>
                </a:cxn>
              </a:cxnLst>
              <a:rect l="0" t="0" r="r" b="b"/>
              <a:pathLst>
                <a:path w="1019" h="917">
                  <a:moveTo>
                    <a:pt x="151" y="0"/>
                  </a:moveTo>
                  <a:lnTo>
                    <a:pt x="55" y="32"/>
                  </a:lnTo>
                  <a:lnTo>
                    <a:pt x="0" y="127"/>
                  </a:lnTo>
                  <a:lnTo>
                    <a:pt x="7" y="214"/>
                  </a:lnTo>
                  <a:lnTo>
                    <a:pt x="79" y="245"/>
                  </a:lnTo>
                  <a:lnTo>
                    <a:pt x="48" y="277"/>
                  </a:lnTo>
                  <a:lnTo>
                    <a:pt x="63" y="308"/>
                  </a:lnTo>
                  <a:lnTo>
                    <a:pt x="213" y="284"/>
                  </a:lnTo>
                  <a:lnTo>
                    <a:pt x="309" y="332"/>
                  </a:lnTo>
                  <a:lnTo>
                    <a:pt x="379" y="284"/>
                  </a:lnTo>
                  <a:lnTo>
                    <a:pt x="466" y="363"/>
                  </a:lnTo>
                  <a:lnTo>
                    <a:pt x="458" y="419"/>
                  </a:lnTo>
                  <a:lnTo>
                    <a:pt x="537" y="419"/>
                  </a:lnTo>
                  <a:lnTo>
                    <a:pt x="585" y="459"/>
                  </a:lnTo>
                  <a:lnTo>
                    <a:pt x="592" y="545"/>
                  </a:lnTo>
                  <a:lnTo>
                    <a:pt x="506" y="641"/>
                  </a:lnTo>
                  <a:lnTo>
                    <a:pt x="364" y="672"/>
                  </a:lnTo>
                  <a:lnTo>
                    <a:pt x="331" y="720"/>
                  </a:lnTo>
                  <a:lnTo>
                    <a:pt x="388" y="775"/>
                  </a:lnTo>
                  <a:lnTo>
                    <a:pt x="506" y="744"/>
                  </a:lnTo>
                  <a:lnTo>
                    <a:pt x="624" y="838"/>
                  </a:lnTo>
                  <a:lnTo>
                    <a:pt x="782" y="917"/>
                  </a:lnTo>
                  <a:lnTo>
                    <a:pt x="727" y="790"/>
                  </a:lnTo>
                  <a:lnTo>
                    <a:pt x="837" y="862"/>
                  </a:lnTo>
                  <a:lnTo>
                    <a:pt x="870" y="783"/>
                  </a:lnTo>
                  <a:lnTo>
                    <a:pt x="846" y="687"/>
                  </a:lnTo>
                  <a:lnTo>
                    <a:pt x="767" y="672"/>
                  </a:lnTo>
                  <a:lnTo>
                    <a:pt x="774" y="577"/>
                  </a:lnTo>
                  <a:lnTo>
                    <a:pt x="813" y="569"/>
                  </a:lnTo>
                  <a:lnTo>
                    <a:pt x="940" y="696"/>
                  </a:lnTo>
                  <a:lnTo>
                    <a:pt x="988" y="617"/>
                  </a:lnTo>
                  <a:lnTo>
                    <a:pt x="1019" y="562"/>
                  </a:lnTo>
                  <a:lnTo>
                    <a:pt x="940" y="507"/>
                  </a:lnTo>
                  <a:lnTo>
                    <a:pt x="854" y="483"/>
                  </a:lnTo>
                  <a:lnTo>
                    <a:pt x="791" y="396"/>
                  </a:lnTo>
                  <a:lnTo>
                    <a:pt x="837" y="341"/>
                  </a:lnTo>
                  <a:lnTo>
                    <a:pt x="798" y="269"/>
                  </a:lnTo>
                  <a:lnTo>
                    <a:pt x="672" y="214"/>
                  </a:lnTo>
                  <a:lnTo>
                    <a:pt x="592" y="174"/>
                  </a:lnTo>
                  <a:lnTo>
                    <a:pt x="530" y="71"/>
                  </a:lnTo>
                  <a:lnTo>
                    <a:pt x="371" y="87"/>
                  </a:lnTo>
                  <a:lnTo>
                    <a:pt x="324" y="150"/>
                  </a:lnTo>
                  <a:lnTo>
                    <a:pt x="348" y="8"/>
                  </a:lnTo>
                  <a:lnTo>
                    <a:pt x="237" y="0"/>
                  </a:lnTo>
                  <a:lnTo>
                    <a:pt x="182" y="71"/>
                  </a:lnTo>
                  <a:lnTo>
                    <a:pt x="174" y="127"/>
                  </a:lnTo>
                  <a:lnTo>
                    <a:pt x="119" y="119"/>
                  </a:lnTo>
                  <a:lnTo>
                    <a:pt x="15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Freeform 112"/>
            <p:cNvSpPr>
              <a:spLocks noChangeAspect="1"/>
            </p:cNvSpPr>
            <p:nvPr/>
          </p:nvSpPr>
          <p:spPr bwMode="auto">
            <a:xfrm>
              <a:off x="7452144" y="2016702"/>
              <a:ext cx="45714" cy="55024"/>
            </a:xfrm>
            <a:custGeom>
              <a:avLst/>
              <a:gdLst/>
              <a:ahLst/>
              <a:cxnLst>
                <a:cxn ang="0">
                  <a:pos x="7" y="93"/>
                </a:cxn>
                <a:cxn ang="0">
                  <a:pos x="7" y="93"/>
                </a:cxn>
                <a:cxn ang="0">
                  <a:pos x="5" y="93"/>
                </a:cxn>
                <a:cxn ang="0">
                  <a:pos x="2" y="92"/>
                </a:cxn>
                <a:cxn ang="0">
                  <a:pos x="1" y="90"/>
                </a:cxn>
                <a:cxn ang="0">
                  <a:pos x="0" y="88"/>
                </a:cxn>
                <a:cxn ang="0">
                  <a:pos x="0" y="82"/>
                </a:cxn>
                <a:cxn ang="0">
                  <a:pos x="2" y="74"/>
                </a:cxn>
                <a:cxn ang="0">
                  <a:pos x="8" y="56"/>
                </a:cxn>
                <a:cxn ang="0">
                  <a:pos x="11" y="48"/>
                </a:cxn>
                <a:cxn ang="0">
                  <a:pos x="11" y="39"/>
                </a:cxn>
                <a:cxn ang="0">
                  <a:pos x="11" y="39"/>
                </a:cxn>
                <a:cxn ang="0">
                  <a:pos x="12" y="31"/>
                </a:cxn>
                <a:cxn ang="0">
                  <a:pos x="13" y="24"/>
                </a:cxn>
                <a:cxn ang="0">
                  <a:pos x="17" y="17"/>
                </a:cxn>
                <a:cxn ang="0">
                  <a:pos x="21" y="11"/>
                </a:cxn>
                <a:cxn ang="0">
                  <a:pos x="26" y="6"/>
                </a:cxn>
                <a:cxn ang="0">
                  <a:pos x="32" y="2"/>
                </a:cxn>
                <a:cxn ang="0">
                  <a:pos x="38" y="1"/>
                </a:cxn>
                <a:cxn ang="0">
                  <a:pos x="45" y="0"/>
                </a:cxn>
                <a:cxn ang="0">
                  <a:pos x="45" y="0"/>
                </a:cxn>
                <a:cxn ang="0">
                  <a:pos x="51" y="1"/>
                </a:cxn>
                <a:cxn ang="0">
                  <a:pos x="57" y="2"/>
                </a:cxn>
                <a:cxn ang="0">
                  <a:pos x="64" y="6"/>
                </a:cxn>
                <a:cxn ang="0">
                  <a:pos x="69" y="11"/>
                </a:cxn>
                <a:cxn ang="0">
                  <a:pos x="72" y="17"/>
                </a:cxn>
                <a:cxn ang="0">
                  <a:pos x="76" y="24"/>
                </a:cxn>
                <a:cxn ang="0">
                  <a:pos x="77" y="31"/>
                </a:cxn>
                <a:cxn ang="0">
                  <a:pos x="79" y="39"/>
                </a:cxn>
                <a:cxn ang="0">
                  <a:pos x="79" y="39"/>
                </a:cxn>
                <a:cxn ang="0">
                  <a:pos x="77" y="43"/>
                </a:cxn>
                <a:cxn ang="0">
                  <a:pos x="76" y="48"/>
                </a:cxn>
                <a:cxn ang="0">
                  <a:pos x="70" y="56"/>
                </a:cxn>
                <a:cxn ang="0">
                  <a:pos x="61" y="65"/>
                </a:cxn>
                <a:cxn ang="0">
                  <a:pos x="50" y="74"/>
                </a:cxn>
                <a:cxn ang="0">
                  <a:pos x="37" y="82"/>
                </a:cxn>
                <a:cxn ang="0">
                  <a:pos x="26" y="88"/>
                </a:cxn>
                <a:cxn ang="0">
                  <a:pos x="16" y="92"/>
                </a:cxn>
                <a:cxn ang="0">
                  <a:pos x="7" y="93"/>
                </a:cxn>
                <a:cxn ang="0">
                  <a:pos x="7" y="93"/>
                </a:cxn>
              </a:cxnLst>
              <a:rect l="0" t="0" r="r" b="b"/>
              <a:pathLst>
                <a:path w="79" h="93">
                  <a:moveTo>
                    <a:pt x="7" y="93"/>
                  </a:moveTo>
                  <a:lnTo>
                    <a:pt x="7" y="93"/>
                  </a:lnTo>
                  <a:lnTo>
                    <a:pt x="5" y="93"/>
                  </a:lnTo>
                  <a:lnTo>
                    <a:pt x="2" y="92"/>
                  </a:lnTo>
                  <a:lnTo>
                    <a:pt x="1" y="90"/>
                  </a:lnTo>
                  <a:lnTo>
                    <a:pt x="0" y="88"/>
                  </a:lnTo>
                  <a:lnTo>
                    <a:pt x="0" y="82"/>
                  </a:lnTo>
                  <a:lnTo>
                    <a:pt x="2" y="74"/>
                  </a:lnTo>
                  <a:lnTo>
                    <a:pt x="8" y="56"/>
                  </a:lnTo>
                  <a:lnTo>
                    <a:pt x="11" y="48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2" y="31"/>
                  </a:lnTo>
                  <a:lnTo>
                    <a:pt x="13" y="24"/>
                  </a:lnTo>
                  <a:lnTo>
                    <a:pt x="17" y="17"/>
                  </a:lnTo>
                  <a:lnTo>
                    <a:pt x="21" y="11"/>
                  </a:lnTo>
                  <a:lnTo>
                    <a:pt x="26" y="6"/>
                  </a:lnTo>
                  <a:lnTo>
                    <a:pt x="32" y="2"/>
                  </a:lnTo>
                  <a:lnTo>
                    <a:pt x="38" y="1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51" y="1"/>
                  </a:lnTo>
                  <a:lnTo>
                    <a:pt x="57" y="2"/>
                  </a:lnTo>
                  <a:lnTo>
                    <a:pt x="64" y="6"/>
                  </a:lnTo>
                  <a:lnTo>
                    <a:pt x="69" y="11"/>
                  </a:lnTo>
                  <a:lnTo>
                    <a:pt x="72" y="17"/>
                  </a:lnTo>
                  <a:lnTo>
                    <a:pt x="76" y="24"/>
                  </a:lnTo>
                  <a:lnTo>
                    <a:pt x="77" y="31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77" y="43"/>
                  </a:lnTo>
                  <a:lnTo>
                    <a:pt x="76" y="48"/>
                  </a:lnTo>
                  <a:lnTo>
                    <a:pt x="70" y="56"/>
                  </a:lnTo>
                  <a:lnTo>
                    <a:pt x="61" y="65"/>
                  </a:lnTo>
                  <a:lnTo>
                    <a:pt x="50" y="74"/>
                  </a:lnTo>
                  <a:lnTo>
                    <a:pt x="37" y="82"/>
                  </a:lnTo>
                  <a:lnTo>
                    <a:pt x="26" y="88"/>
                  </a:lnTo>
                  <a:lnTo>
                    <a:pt x="16" y="92"/>
                  </a:lnTo>
                  <a:lnTo>
                    <a:pt x="7" y="93"/>
                  </a:lnTo>
                  <a:lnTo>
                    <a:pt x="7" y="9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Freeform 113"/>
            <p:cNvSpPr>
              <a:spLocks noChangeAspect="1"/>
            </p:cNvSpPr>
            <p:nvPr/>
          </p:nvSpPr>
          <p:spPr bwMode="auto">
            <a:xfrm>
              <a:off x="7424012" y="1942154"/>
              <a:ext cx="24615" cy="51474"/>
            </a:xfrm>
            <a:custGeom>
              <a:avLst/>
              <a:gdLst/>
              <a:ahLst/>
              <a:cxnLst>
                <a:cxn ang="0">
                  <a:pos x="21" y="89"/>
                </a:cxn>
                <a:cxn ang="0">
                  <a:pos x="21" y="89"/>
                </a:cxn>
                <a:cxn ang="0">
                  <a:pos x="17" y="88"/>
                </a:cxn>
                <a:cxn ang="0">
                  <a:pos x="12" y="85"/>
                </a:cxn>
                <a:cxn ang="0">
                  <a:pos x="9" y="81"/>
                </a:cxn>
                <a:cxn ang="0">
                  <a:pos x="6" y="76"/>
                </a:cxn>
                <a:cxn ang="0">
                  <a:pos x="4" y="69"/>
                </a:cxn>
                <a:cxn ang="0">
                  <a:pos x="1" y="61"/>
                </a:cxn>
                <a:cxn ang="0">
                  <a:pos x="0" y="54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0" y="35"/>
                </a:cxn>
                <a:cxn ang="0">
                  <a:pos x="1" y="27"/>
                </a:cxn>
                <a:cxn ang="0">
                  <a:pos x="4" y="20"/>
                </a:cxn>
                <a:cxn ang="0">
                  <a:pos x="6" y="12"/>
                </a:cxn>
                <a:cxn ang="0">
                  <a:pos x="9" y="7"/>
                </a:cxn>
                <a:cxn ang="0">
                  <a:pos x="12" y="4"/>
                </a:cxn>
                <a:cxn ang="0">
                  <a:pos x="17" y="1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26" y="1"/>
                </a:cxn>
                <a:cxn ang="0">
                  <a:pos x="30" y="4"/>
                </a:cxn>
                <a:cxn ang="0">
                  <a:pos x="34" y="7"/>
                </a:cxn>
                <a:cxn ang="0">
                  <a:pos x="37" y="12"/>
                </a:cxn>
                <a:cxn ang="0">
                  <a:pos x="40" y="20"/>
                </a:cxn>
                <a:cxn ang="0">
                  <a:pos x="42" y="27"/>
                </a:cxn>
                <a:cxn ang="0">
                  <a:pos x="44" y="35"/>
                </a:cxn>
                <a:cxn ang="0">
                  <a:pos x="44" y="45"/>
                </a:cxn>
                <a:cxn ang="0">
                  <a:pos x="44" y="45"/>
                </a:cxn>
                <a:cxn ang="0">
                  <a:pos x="44" y="54"/>
                </a:cxn>
                <a:cxn ang="0">
                  <a:pos x="42" y="61"/>
                </a:cxn>
                <a:cxn ang="0">
                  <a:pos x="40" y="69"/>
                </a:cxn>
                <a:cxn ang="0">
                  <a:pos x="37" y="76"/>
                </a:cxn>
                <a:cxn ang="0">
                  <a:pos x="34" y="81"/>
                </a:cxn>
                <a:cxn ang="0">
                  <a:pos x="30" y="85"/>
                </a:cxn>
                <a:cxn ang="0">
                  <a:pos x="26" y="88"/>
                </a:cxn>
                <a:cxn ang="0">
                  <a:pos x="21" y="89"/>
                </a:cxn>
                <a:cxn ang="0">
                  <a:pos x="21" y="89"/>
                </a:cxn>
              </a:cxnLst>
              <a:rect l="0" t="0" r="r" b="b"/>
              <a:pathLst>
                <a:path w="44" h="89">
                  <a:moveTo>
                    <a:pt x="21" y="89"/>
                  </a:moveTo>
                  <a:lnTo>
                    <a:pt x="21" y="89"/>
                  </a:lnTo>
                  <a:lnTo>
                    <a:pt x="17" y="88"/>
                  </a:lnTo>
                  <a:lnTo>
                    <a:pt x="12" y="85"/>
                  </a:lnTo>
                  <a:lnTo>
                    <a:pt x="9" y="81"/>
                  </a:lnTo>
                  <a:lnTo>
                    <a:pt x="6" y="76"/>
                  </a:lnTo>
                  <a:lnTo>
                    <a:pt x="4" y="69"/>
                  </a:lnTo>
                  <a:lnTo>
                    <a:pt x="1" y="61"/>
                  </a:lnTo>
                  <a:lnTo>
                    <a:pt x="0" y="54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35"/>
                  </a:lnTo>
                  <a:lnTo>
                    <a:pt x="1" y="27"/>
                  </a:lnTo>
                  <a:lnTo>
                    <a:pt x="4" y="20"/>
                  </a:lnTo>
                  <a:lnTo>
                    <a:pt x="6" y="12"/>
                  </a:lnTo>
                  <a:lnTo>
                    <a:pt x="9" y="7"/>
                  </a:lnTo>
                  <a:lnTo>
                    <a:pt x="12" y="4"/>
                  </a:lnTo>
                  <a:lnTo>
                    <a:pt x="17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6" y="1"/>
                  </a:lnTo>
                  <a:lnTo>
                    <a:pt x="30" y="4"/>
                  </a:lnTo>
                  <a:lnTo>
                    <a:pt x="34" y="7"/>
                  </a:lnTo>
                  <a:lnTo>
                    <a:pt x="37" y="12"/>
                  </a:lnTo>
                  <a:lnTo>
                    <a:pt x="40" y="20"/>
                  </a:lnTo>
                  <a:lnTo>
                    <a:pt x="42" y="27"/>
                  </a:lnTo>
                  <a:lnTo>
                    <a:pt x="44" y="35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54"/>
                  </a:lnTo>
                  <a:lnTo>
                    <a:pt x="42" y="61"/>
                  </a:lnTo>
                  <a:lnTo>
                    <a:pt x="40" y="69"/>
                  </a:lnTo>
                  <a:lnTo>
                    <a:pt x="37" y="76"/>
                  </a:lnTo>
                  <a:lnTo>
                    <a:pt x="34" y="81"/>
                  </a:lnTo>
                  <a:lnTo>
                    <a:pt x="30" y="85"/>
                  </a:lnTo>
                  <a:lnTo>
                    <a:pt x="26" y="88"/>
                  </a:lnTo>
                  <a:lnTo>
                    <a:pt x="21" y="89"/>
                  </a:lnTo>
                  <a:lnTo>
                    <a:pt x="21" y="8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Freeform 114"/>
            <p:cNvSpPr>
              <a:spLocks noChangeAspect="1"/>
            </p:cNvSpPr>
            <p:nvPr/>
          </p:nvSpPr>
          <p:spPr bwMode="auto">
            <a:xfrm>
              <a:off x="7218297" y="2140949"/>
              <a:ext cx="107253" cy="94073"/>
            </a:xfrm>
            <a:custGeom>
              <a:avLst/>
              <a:gdLst/>
              <a:ahLst/>
              <a:cxnLst>
                <a:cxn ang="0">
                  <a:pos x="78" y="0"/>
                </a:cxn>
                <a:cxn ang="0">
                  <a:pos x="157" y="24"/>
                </a:cxn>
                <a:cxn ang="0">
                  <a:pos x="181" y="72"/>
                </a:cxn>
                <a:cxn ang="0">
                  <a:pos x="118" y="96"/>
                </a:cxn>
                <a:cxn ang="0">
                  <a:pos x="46" y="159"/>
                </a:cxn>
                <a:cxn ang="0">
                  <a:pos x="0" y="96"/>
                </a:cxn>
                <a:cxn ang="0">
                  <a:pos x="7" y="33"/>
                </a:cxn>
                <a:cxn ang="0">
                  <a:pos x="78" y="0"/>
                </a:cxn>
              </a:cxnLst>
              <a:rect l="0" t="0" r="r" b="b"/>
              <a:pathLst>
                <a:path w="181" h="159">
                  <a:moveTo>
                    <a:pt x="78" y="0"/>
                  </a:moveTo>
                  <a:lnTo>
                    <a:pt x="157" y="24"/>
                  </a:lnTo>
                  <a:lnTo>
                    <a:pt x="181" y="72"/>
                  </a:lnTo>
                  <a:lnTo>
                    <a:pt x="118" y="96"/>
                  </a:lnTo>
                  <a:lnTo>
                    <a:pt x="46" y="159"/>
                  </a:lnTo>
                  <a:lnTo>
                    <a:pt x="0" y="96"/>
                  </a:lnTo>
                  <a:lnTo>
                    <a:pt x="7" y="33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Freeform 115"/>
            <p:cNvSpPr>
              <a:spLocks noChangeAspect="1"/>
            </p:cNvSpPr>
            <p:nvPr/>
          </p:nvSpPr>
          <p:spPr bwMode="auto">
            <a:xfrm>
              <a:off x="6940495" y="1597812"/>
              <a:ext cx="130110" cy="85198"/>
            </a:xfrm>
            <a:custGeom>
              <a:avLst/>
              <a:gdLst/>
              <a:ahLst/>
              <a:cxnLst>
                <a:cxn ang="0">
                  <a:pos x="94" y="55"/>
                </a:cxn>
                <a:cxn ang="0">
                  <a:pos x="158" y="16"/>
                </a:cxn>
                <a:cxn ang="0">
                  <a:pos x="221" y="24"/>
                </a:cxn>
                <a:cxn ang="0">
                  <a:pos x="214" y="119"/>
                </a:cxn>
                <a:cxn ang="0">
                  <a:pos x="79" y="143"/>
                </a:cxn>
                <a:cxn ang="0">
                  <a:pos x="39" y="95"/>
                </a:cxn>
                <a:cxn ang="0">
                  <a:pos x="0" y="31"/>
                </a:cxn>
                <a:cxn ang="0">
                  <a:pos x="32" y="0"/>
                </a:cxn>
                <a:cxn ang="0">
                  <a:pos x="71" y="47"/>
                </a:cxn>
                <a:cxn ang="0">
                  <a:pos x="94" y="55"/>
                </a:cxn>
              </a:cxnLst>
              <a:rect l="0" t="0" r="r" b="b"/>
              <a:pathLst>
                <a:path w="221" h="143">
                  <a:moveTo>
                    <a:pt x="94" y="55"/>
                  </a:moveTo>
                  <a:lnTo>
                    <a:pt x="158" y="16"/>
                  </a:lnTo>
                  <a:lnTo>
                    <a:pt x="221" y="24"/>
                  </a:lnTo>
                  <a:lnTo>
                    <a:pt x="214" y="119"/>
                  </a:lnTo>
                  <a:lnTo>
                    <a:pt x="79" y="143"/>
                  </a:lnTo>
                  <a:lnTo>
                    <a:pt x="39" y="95"/>
                  </a:lnTo>
                  <a:lnTo>
                    <a:pt x="0" y="31"/>
                  </a:lnTo>
                  <a:lnTo>
                    <a:pt x="32" y="0"/>
                  </a:lnTo>
                  <a:lnTo>
                    <a:pt x="71" y="47"/>
                  </a:lnTo>
                  <a:lnTo>
                    <a:pt x="94" y="5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Freeform 116"/>
            <p:cNvSpPr>
              <a:spLocks noChangeAspect="1"/>
            </p:cNvSpPr>
            <p:nvPr/>
          </p:nvSpPr>
          <p:spPr bwMode="auto">
            <a:xfrm>
              <a:off x="6940495" y="1597812"/>
              <a:ext cx="130110" cy="85198"/>
            </a:xfrm>
            <a:custGeom>
              <a:avLst/>
              <a:gdLst/>
              <a:ahLst/>
              <a:cxnLst>
                <a:cxn ang="0">
                  <a:pos x="94" y="55"/>
                </a:cxn>
                <a:cxn ang="0">
                  <a:pos x="158" y="16"/>
                </a:cxn>
                <a:cxn ang="0">
                  <a:pos x="221" y="24"/>
                </a:cxn>
                <a:cxn ang="0">
                  <a:pos x="214" y="119"/>
                </a:cxn>
                <a:cxn ang="0">
                  <a:pos x="79" y="143"/>
                </a:cxn>
                <a:cxn ang="0">
                  <a:pos x="39" y="95"/>
                </a:cxn>
                <a:cxn ang="0">
                  <a:pos x="0" y="31"/>
                </a:cxn>
                <a:cxn ang="0">
                  <a:pos x="32" y="0"/>
                </a:cxn>
                <a:cxn ang="0">
                  <a:pos x="71" y="47"/>
                </a:cxn>
              </a:cxnLst>
              <a:rect l="0" t="0" r="r" b="b"/>
              <a:pathLst>
                <a:path w="221" h="143">
                  <a:moveTo>
                    <a:pt x="94" y="55"/>
                  </a:moveTo>
                  <a:lnTo>
                    <a:pt x="158" y="16"/>
                  </a:lnTo>
                  <a:lnTo>
                    <a:pt x="221" y="24"/>
                  </a:lnTo>
                  <a:lnTo>
                    <a:pt x="214" y="119"/>
                  </a:lnTo>
                  <a:lnTo>
                    <a:pt x="79" y="143"/>
                  </a:lnTo>
                  <a:lnTo>
                    <a:pt x="39" y="95"/>
                  </a:lnTo>
                  <a:lnTo>
                    <a:pt x="0" y="31"/>
                  </a:lnTo>
                  <a:lnTo>
                    <a:pt x="32" y="0"/>
                  </a:lnTo>
                  <a:lnTo>
                    <a:pt x="71" y="47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7" name="Freeform 117"/>
            <p:cNvSpPr>
              <a:spLocks noChangeAspect="1"/>
            </p:cNvSpPr>
            <p:nvPr/>
          </p:nvSpPr>
          <p:spPr bwMode="auto">
            <a:xfrm>
              <a:off x="7107528" y="1482440"/>
              <a:ext cx="65055" cy="69223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0" y="79"/>
                </a:cxn>
                <a:cxn ang="0">
                  <a:pos x="40" y="118"/>
                </a:cxn>
                <a:cxn ang="0">
                  <a:pos x="88" y="110"/>
                </a:cxn>
                <a:cxn ang="0">
                  <a:pos x="112" y="55"/>
                </a:cxn>
                <a:cxn ang="0">
                  <a:pos x="72" y="0"/>
                </a:cxn>
                <a:cxn ang="0">
                  <a:pos x="0" y="23"/>
                </a:cxn>
              </a:cxnLst>
              <a:rect l="0" t="0" r="r" b="b"/>
              <a:pathLst>
                <a:path w="112" h="118">
                  <a:moveTo>
                    <a:pt x="0" y="23"/>
                  </a:moveTo>
                  <a:lnTo>
                    <a:pt x="0" y="79"/>
                  </a:lnTo>
                  <a:lnTo>
                    <a:pt x="40" y="118"/>
                  </a:lnTo>
                  <a:lnTo>
                    <a:pt x="88" y="110"/>
                  </a:lnTo>
                  <a:lnTo>
                    <a:pt x="112" y="55"/>
                  </a:lnTo>
                  <a:lnTo>
                    <a:pt x="72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8" name="Freeform 118"/>
            <p:cNvSpPr>
              <a:spLocks noChangeAspect="1"/>
            </p:cNvSpPr>
            <p:nvPr/>
          </p:nvSpPr>
          <p:spPr bwMode="auto">
            <a:xfrm>
              <a:off x="7093462" y="1411442"/>
              <a:ext cx="45714" cy="37274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0" y="64"/>
                </a:cxn>
                <a:cxn ang="0">
                  <a:pos x="63" y="64"/>
                </a:cxn>
                <a:cxn ang="0">
                  <a:pos x="78" y="17"/>
                </a:cxn>
                <a:cxn ang="0">
                  <a:pos x="8" y="0"/>
                </a:cxn>
              </a:cxnLst>
              <a:rect l="0" t="0" r="r" b="b"/>
              <a:pathLst>
                <a:path w="78" h="64">
                  <a:moveTo>
                    <a:pt x="8" y="0"/>
                  </a:moveTo>
                  <a:lnTo>
                    <a:pt x="0" y="64"/>
                  </a:lnTo>
                  <a:lnTo>
                    <a:pt x="63" y="64"/>
                  </a:lnTo>
                  <a:lnTo>
                    <a:pt x="78" y="17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9" name="Freeform 119"/>
            <p:cNvSpPr>
              <a:spLocks noChangeAspect="1"/>
            </p:cNvSpPr>
            <p:nvPr/>
          </p:nvSpPr>
          <p:spPr bwMode="auto">
            <a:xfrm>
              <a:off x="7190165" y="1351094"/>
              <a:ext cx="152967" cy="163296"/>
            </a:xfrm>
            <a:custGeom>
              <a:avLst/>
              <a:gdLst/>
              <a:ahLst/>
              <a:cxnLst>
                <a:cxn ang="0">
                  <a:pos x="87" y="0"/>
                </a:cxn>
                <a:cxn ang="0">
                  <a:pos x="48" y="55"/>
                </a:cxn>
                <a:cxn ang="0">
                  <a:pos x="0" y="110"/>
                </a:cxn>
                <a:cxn ang="0">
                  <a:pos x="8" y="173"/>
                </a:cxn>
                <a:cxn ang="0">
                  <a:pos x="63" y="173"/>
                </a:cxn>
                <a:cxn ang="0">
                  <a:pos x="55" y="213"/>
                </a:cxn>
                <a:cxn ang="0">
                  <a:pos x="70" y="259"/>
                </a:cxn>
                <a:cxn ang="0">
                  <a:pos x="214" y="276"/>
                </a:cxn>
                <a:cxn ang="0">
                  <a:pos x="252" y="221"/>
                </a:cxn>
                <a:cxn ang="0">
                  <a:pos x="260" y="134"/>
                </a:cxn>
                <a:cxn ang="0">
                  <a:pos x="205" y="62"/>
                </a:cxn>
                <a:cxn ang="0">
                  <a:pos x="87" y="0"/>
                </a:cxn>
              </a:cxnLst>
              <a:rect l="0" t="0" r="r" b="b"/>
              <a:pathLst>
                <a:path w="260" h="276">
                  <a:moveTo>
                    <a:pt x="87" y="0"/>
                  </a:moveTo>
                  <a:lnTo>
                    <a:pt x="48" y="55"/>
                  </a:lnTo>
                  <a:lnTo>
                    <a:pt x="0" y="110"/>
                  </a:lnTo>
                  <a:lnTo>
                    <a:pt x="8" y="173"/>
                  </a:lnTo>
                  <a:lnTo>
                    <a:pt x="63" y="173"/>
                  </a:lnTo>
                  <a:lnTo>
                    <a:pt x="55" y="213"/>
                  </a:lnTo>
                  <a:lnTo>
                    <a:pt x="70" y="259"/>
                  </a:lnTo>
                  <a:lnTo>
                    <a:pt x="214" y="276"/>
                  </a:lnTo>
                  <a:lnTo>
                    <a:pt x="252" y="221"/>
                  </a:lnTo>
                  <a:lnTo>
                    <a:pt x="260" y="134"/>
                  </a:lnTo>
                  <a:lnTo>
                    <a:pt x="205" y="62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Freeform 120"/>
            <p:cNvSpPr>
              <a:spLocks noChangeAspect="1"/>
            </p:cNvSpPr>
            <p:nvPr/>
          </p:nvSpPr>
          <p:spPr bwMode="auto">
            <a:xfrm>
              <a:off x="7278078" y="1257021"/>
              <a:ext cx="654067" cy="374516"/>
            </a:xfrm>
            <a:custGeom>
              <a:avLst/>
              <a:gdLst/>
              <a:ahLst/>
              <a:cxnLst>
                <a:cxn ang="0">
                  <a:pos x="88" y="118"/>
                </a:cxn>
                <a:cxn ang="0">
                  <a:pos x="111" y="166"/>
                </a:cxn>
                <a:cxn ang="0">
                  <a:pos x="151" y="214"/>
                </a:cxn>
                <a:cxn ang="0">
                  <a:pos x="190" y="229"/>
                </a:cxn>
                <a:cxn ang="0">
                  <a:pos x="269" y="253"/>
                </a:cxn>
                <a:cxn ang="0">
                  <a:pos x="341" y="221"/>
                </a:cxn>
                <a:cxn ang="0">
                  <a:pos x="436" y="197"/>
                </a:cxn>
                <a:cxn ang="0">
                  <a:pos x="468" y="182"/>
                </a:cxn>
                <a:cxn ang="0">
                  <a:pos x="468" y="238"/>
                </a:cxn>
                <a:cxn ang="0">
                  <a:pos x="365" y="260"/>
                </a:cxn>
                <a:cxn ang="0">
                  <a:pos x="302" y="293"/>
                </a:cxn>
                <a:cxn ang="0">
                  <a:pos x="357" y="317"/>
                </a:cxn>
                <a:cxn ang="0">
                  <a:pos x="254" y="317"/>
                </a:cxn>
                <a:cxn ang="0">
                  <a:pos x="206" y="284"/>
                </a:cxn>
                <a:cxn ang="0">
                  <a:pos x="199" y="348"/>
                </a:cxn>
                <a:cxn ang="0">
                  <a:pos x="238" y="403"/>
                </a:cxn>
                <a:cxn ang="0">
                  <a:pos x="190" y="442"/>
                </a:cxn>
                <a:cxn ang="0">
                  <a:pos x="151" y="474"/>
                </a:cxn>
                <a:cxn ang="0">
                  <a:pos x="103" y="506"/>
                </a:cxn>
                <a:cxn ang="0">
                  <a:pos x="80" y="545"/>
                </a:cxn>
                <a:cxn ang="0">
                  <a:pos x="0" y="530"/>
                </a:cxn>
                <a:cxn ang="0">
                  <a:pos x="41" y="601"/>
                </a:cxn>
                <a:cxn ang="0">
                  <a:pos x="262" y="632"/>
                </a:cxn>
                <a:cxn ang="0">
                  <a:pos x="388" y="608"/>
                </a:cxn>
                <a:cxn ang="0">
                  <a:pos x="444" y="545"/>
                </a:cxn>
                <a:cxn ang="0">
                  <a:pos x="396" y="483"/>
                </a:cxn>
                <a:cxn ang="0">
                  <a:pos x="444" y="466"/>
                </a:cxn>
                <a:cxn ang="0">
                  <a:pos x="499" y="451"/>
                </a:cxn>
                <a:cxn ang="0">
                  <a:pos x="578" y="372"/>
                </a:cxn>
                <a:cxn ang="0">
                  <a:pos x="602" y="332"/>
                </a:cxn>
                <a:cxn ang="0">
                  <a:pos x="665" y="293"/>
                </a:cxn>
                <a:cxn ang="0">
                  <a:pos x="751" y="317"/>
                </a:cxn>
                <a:cxn ang="0">
                  <a:pos x="909" y="182"/>
                </a:cxn>
                <a:cxn ang="0">
                  <a:pos x="878" y="126"/>
                </a:cxn>
                <a:cxn ang="0">
                  <a:pos x="1020" y="103"/>
                </a:cxn>
                <a:cxn ang="0">
                  <a:pos x="1115" y="63"/>
                </a:cxn>
                <a:cxn ang="0">
                  <a:pos x="1060" y="8"/>
                </a:cxn>
                <a:cxn ang="0">
                  <a:pos x="965" y="8"/>
                </a:cxn>
                <a:cxn ang="0">
                  <a:pos x="727" y="0"/>
                </a:cxn>
                <a:cxn ang="0">
                  <a:pos x="650" y="63"/>
                </a:cxn>
                <a:cxn ang="0">
                  <a:pos x="578" y="0"/>
                </a:cxn>
                <a:cxn ang="0">
                  <a:pos x="570" y="32"/>
                </a:cxn>
                <a:cxn ang="0">
                  <a:pos x="436" y="24"/>
                </a:cxn>
                <a:cxn ang="0">
                  <a:pos x="372" y="95"/>
                </a:cxn>
                <a:cxn ang="0">
                  <a:pos x="309" y="95"/>
                </a:cxn>
                <a:cxn ang="0">
                  <a:pos x="278" y="56"/>
                </a:cxn>
                <a:cxn ang="0">
                  <a:pos x="206" y="71"/>
                </a:cxn>
                <a:cxn ang="0">
                  <a:pos x="190" y="103"/>
                </a:cxn>
                <a:cxn ang="0">
                  <a:pos x="88" y="118"/>
                </a:cxn>
              </a:cxnLst>
              <a:rect l="0" t="0" r="r" b="b"/>
              <a:pathLst>
                <a:path w="1115" h="632">
                  <a:moveTo>
                    <a:pt x="88" y="118"/>
                  </a:moveTo>
                  <a:lnTo>
                    <a:pt x="111" y="166"/>
                  </a:lnTo>
                  <a:lnTo>
                    <a:pt x="151" y="214"/>
                  </a:lnTo>
                  <a:lnTo>
                    <a:pt x="190" y="229"/>
                  </a:lnTo>
                  <a:lnTo>
                    <a:pt x="269" y="253"/>
                  </a:lnTo>
                  <a:lnTo>
                    <a:pt x="341" y="221"/>
                  </a:lnTo>
                  <a:lnTo>
                    <a:pt x="436" y="197"/>
                  </a:lnTo>
                  <a:lnTo>
                    <a:pt x="468" y="182"/>
                  </a:lnTo>
                  <a:lnTo>
                    <a:pt x="468" y="238"/>
                  </a:lnTo>
                  <a:lnTo>
                    <a:pt x="365" y="260"/>
                  </a:lnTo>
                  <a:lnTo>
                    <a:pt x="302" y="293"/>
                  </a:lnTo>
                  <a:lnTo>
                    <a:pt x="357" y="317"/>
                  </a:lnTo>
                  <a:lnTo>
                    <a:pt x="254" y="317"/>
                  </a:lnTo>
                  <a:lnTo>
                    <a:pt x="206" y="284"/>
                  </a:lnTo>
                  <a:lnTo>
                    <a:pt x="199" y="348"/>
                  </a:lnTo>
                  <a:lnTo>
                    <a:pt x="238" y="403"/>
                  </a:lnTo>
                  <a:lnTo>
                    <a:pt x="190" y="442"/>
                  </a:lnTo>
                  <a:lnTo>
                    <a:pt x="151" y="474"/>
                  </a:lnTo>
                  <a:lnTo>
                    <a:pt x="103" y="506"/>
                  </a:lnTo>
                  <a:lnTo>
                    <a:pt x="80" y="545"/>
                  </a:lnTo>
                  <a:lnTo>
                    <a:pt x="0" y="530"/>
                  </a:lnTo>
                  <a:lnTo>
                    <a:pt x="41" y="601"/>
                  </a:lnTo>
                  <a:lnTo>
                    <a:pt x="262" y="632"/>
                  </a:lnTo>
                  <a:lnTo>
                    <a:pt x="388" y="608"/>
                  </a:lnTo>
                  <a:lnTo>
                    <a:pt x="444" y="545"/>
                  </a:lnTo>
                  <a:lnTo>
                    <a:pt x="396" y="483"/>
                  </a:lnTo>
                  <a:lnTo>
                    <a:pt x="444" y="466"/>
                  </a:lnTo>
                  <a:lnTo>
                    <a:pt x="499" y="451"/>
                  </a:lnTo>
                  <a:lnTo>
                    <a:pt x="578" y="372"/>
                  </a:lnTo>
                  <a:lnTo>
                    <a:pt x="602" y="332"/>
                  </a:lnTo>
                  <a:lnTo>
                    <a:pt x="665" y="293"/>
                  </a:lnTo>
                  <a:lnTo>
                    <a:pt x="751" y="317"/>
                  </a:lnTo>
                  <a:lnTo>
                    <a:pt x="909" y="182"/>
                  </a:lnTo>
                  <a:lnTo>
                    <a:pt x="878" y="126"/>
                  </a:lnTo>
                  <a:lnTo>
                    <a:pt x="1020" y="103"/>
                  </a:lnTo>
                  <a:lnTo>
                    <a:pt x="1115" y="63"/>
                  </a:lnTo>
                  <a:lnTo>
                    <a:pt x="1060" y="8"/>
                  </a:lnTo>
                  <a:lnTo>
                    <a:pt x="965" y="8"/>
                  </a:lnTo>
                  <a:lnTo>
                    <a:pt x="727" y="0"/>
                  </a:lnTo>
                  <a:lnTo>
                    <a:pt x="650" y="63"/>
                  </a:lnTo>
                  <a:lnTo>
                    <a:pt x="578" y="0"/>
                  </a:lnTo>
                  <a:lnTo>
                    <a:pt x="570" y="32"/>
                  </a:lnTo>
                  <a:lnTo>
                    <a:pt x="436" y="24"/>
                  </a:lnTo>
                  <a:lnTo>
                    <a:pt x="372" y="95"/>
                  </a:lnTo>
                  <a:lnTo>
                    <a:pt x="309" y="95"/>
                  </a:lnTo>
                  <a:lnTo>
                    <a:pt x="278" y="56"/>
                  </a:lnTo>
                  <a:lnTo>
                    <a:pt x="206" y="71"/>
                  </a:lnTo>
                  <a:lnTo>
                    <a:pt x="190" y="103"/>
                  </a:lnTo>
                  <a:lnTo>
                    <a:pt x="88" y="11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121"/>
            <p:cNvSpPr>
              <a:spLocks noChangeAspect="1"/>
            </p:cNvSpPr>
            <p:nvPr/>
          </p:nvSpPr>
          <p:spPr bwMode="auto">
            <a:xfrm>
              <a:off x="7167308" y="1574738"/>
              <a:ext cx="297143" cy="134897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0" y="55"/>
                </a:cxn>
                <a:cxn ang="0">
                  <a:pos x="40" y="110"/>
                </a:cxn>
                <a:cxn ang="0">
                  <a:pos x="110" y="189"/>
                </a:cxn>
                <a:cxn ang="0">
                  <a:pos x="182" y="221"/>
                </a:cxn>
                <a:cxn ang="0">
                  <a:pos x="388" y="197"/>
                </a:cxn>
                <a:cxn ang="0">
                  <a:pos x="506" y="228"/>
                </a:cxn>
                <a:cxn ang="0">
                  <a:pos x="491" y="142"/>
                </a:cxn>
                <a:cxn ang="0">
                  <a:pos x="324" y="134"/>
                </a:cxn>
                <a:cxn ang="0">
                  <a:pos x="174" y="94"/>
                </a:cxn>
                <a:cxn ang="0">
                  <a:pos x="151" y="7"/>
                </a:cxn>
                <a:cxn ang="0">
                  <a:pos x="64" y="0"/>
                </a:cxn>
              </a:cxnLst>
              <a:rect l="0" t="0" r="r" b="b"/>
              <a:pathLst>
                <a:path w="506" h="228">
                  <a:moveTo>
                    <a:pt x="64" y="0"/>
                  </a:moveTo>
                  <a:lnTo>
                    <a:pt x="0" y="55"/>
                  </a:lnTo>
                  <a:lnTo>
                    <a:pt x="40" y="110"/>
                  </a:lnTo>
                  <a:lnTo>
                    <a:pt x="110" y="189"/>
                  </a:lnTo>
                  <a:lnTo>
                    <a:pt x="182" y="221"/>
                  </a:lnTo>
                  <a:lnTo>
                    <a:pt x="388" y="197"/>
                  </a:lnTo>
                  <a:lnTo>
                    <a:pt x="506" y="228"/>
                  </a:lnTo>
                  <a:lnTo>
                    <a:pt x="491" y="142"/>
                  </a:lnTo>
                  <a:lnTo>
                    <a:pt x="324" y="134"/>
                  </a:lnTo>
                  <a:lnTo>
                    <a:pt x="174" y="94"/>
                  </a:lnTo>
                  <a:lnTo>
                    <a:pt x="151" y="7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Freeform 122"/>
            <p:cNvSpPr>
              <a:spLocks noChangeAspect="1"/>
            </p:cNvSpPr>
            <p:nvPr/>
          </p:nvSpPr>
          <p:spPr bwMode="auto">
            <a:xfrm>
              <a:off x="7102253" y="1654611"/>
              <a:ext cx="59780" cy="40824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0" y="48"/>
                </a:cxn>
                <a:cxn ang="0">
                  <a:pos x="56" y="70"/>
                </a:cxn>
                <a:cxn ang="0">
                  <a:pos x="103" y="48"/>
                </a:cxn>
                <a:cxn ang="0">
                  <a:pos x="96" y="8"/>
                </a:cxn>
                <a:cxn ang="0">
                  <a:pos x="41" y="0"/>
                </a:cxn>
              </a:cxnLst>
              <a:rect l="0" t="0" r="r" b="b"/>
              <a:pathLst>
                <a:path w="103" h="70">
                  <a:moveTo>
                    <a:pt x="41" y="0"/>
                  </a:moveTo>
                  <a:lnTo>
                    <a:pt x="0" y="48"/>
                  </a:lnTo>
                  <a:lnTo>
                    <a:pt x="56" y="70"/>
                  </a:lnTo>
                  <a:lnTo>
                    <a:pt x="103" y="48"/>
                  </a:lnTo>
                  <a:lnTo>
                    <a:pt x="96" y="8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3" name="Freeform 123"/>
            <p:cNvSpPr>
              <a:spLocks noChangeAspect="1"/>
            </p:cNvSpPr>
            <p:nvPr/>
          </p:nvSpPr>
          <p:spPr bwMode="auto">
            <a:xfrm>
              <a:off x="7671924" y="1214422"/>
              <a:ext cx="1329232" cy="1137747"/>
            </a:xfrm>
            <a:custGeom>
              <a:avLst/>
              <a:gdLst/>
              <a:ahLst/>
              <a:cxnLst>
                <a:cxn ang="0">
                  <a:pos x="436" y="261"/>
                </a:cxn>
                <a:cxn ang="0">
                  <a:pos x="293" y="388"/>
                </a:cxn>
                <a:cxn ang="0">
                  <a:pos x="96" y="489"/>
                </a:cxn>
                <a:cxn ang="0">
                  <a:pos x="9" y="554"/>
                </a:cxn>
                <a:cxn ang="0">
                  <a:pos x="206" y="592"/>
                </a:cxn>
                <a:cxn ang="0">
                  <a:pos x="64" y="616"/>
                </a:cxn>
                <a:cxn ang="0">
                  <a:pos x="451" y="695"/>
                </a:cxn>
                <a:cxn ang="0">
                  <a:pos x="570" y="901"/>
                </a:cxn>
                <a:cxn ang="0">
                  <a:pos x="602" y="1082"/>
                </a:cxn>
                <a:cxn ang="0">
                  <a:pos x="692" y="1121"/>
                </a:cxn>
                <a:cxn ang="0">
                  <a:pos x="720" y="1194"/>
                </a:cxn>
                <a:cxn ang="0">
                  <a:pos x="617" y="1336"/>
                </a:cxn>
                <a:cxn ang="0">
                  <a:pos x="633" y="1549"/>
                </a:cxn>
                <a:cxn ang="0">
                  <a:pos x="760" y="1842"/>
                </a:cxn>
                <a:cxn ang="0">
                  <a:pos x="878" y="1921"/>
                </a:cxn>
                <a:cxn ang="0">
                  <a:pos x="1028" y="1707"/>
                </a:cxn>
                <a:cxn ang="0">
                  <a:pos x="1091" y="1533"/>
                </a:cxn>
                <a:cxn ang="0">
                  <a:pos x="1367" y="1470"/>
                </a:cxn>
                <a:cxn ang="0">
                  <a:pos x="1613" y="1343"/>
                </a:cxn>
                <a:cxn ang="0">
                  <a:pos x="1834" y="1161"/>
                </a:cxn>
                <a:cxn ang="0">
                  <a:pos x="1660" y="1122"/>
                </a:cxn>
                <a:cxn ang="0">
                  <a:pos x="1731" y="1051"/>
                </a:cxn>
                <a:cxn ang="0">
                  <a:pos x="1858" y="1130"/>
                </a:cxn>
                <a:cxn ang="0">
                  <a:pos x="1849" y="1004"/>
                </a:cxn>
                <a:cxn ang="0">
                  <a:pos x="1770" y="916"/>
                </a:cxn>
                <a:cxn ang="0">
                  <a:pos x="1858" y="940"/>
                </a:cxn>
                <a:cxn ang="0">
                  <a:pos x="1945" y="885"/>
                </a:cxn>
                <a:cxn ang="0">
                  <a:pos x="1976" y="846"/>
                </a:cxn>
                <a:cxn ang="0">
                  <a:pos x="2040" y="751"/>
                </a:cxn>
                <a:cxn ang="0">
                  <a:pos x="1961" y="664"/>
                </a:cxn>
                <a:cxn ang="0">
                  <a:pos x="2032" y="616"/>
                </a:cxn>
                <a:cxn ang="0">
                  <a:pos x="1890" y="530"/>
                </a:cxn>
                <a:cxn ang="0">
                  <a:pos x="1993" y="403"/>
                </a:cxn>
                <a:cxn ang="0">
                  <a:pos x="1952" y="331"/>
                </a:cxn>
                <a:cxn ang="0">
                  <a:pos x="2055" y="300"/>
                </a:cxn>
                <a:cxn ang="0">
                  <a:pos x="2269" y="197"/>
                </a:cxn>
                <a:cxn ang="0">
                  <a:pos x="1969" y="213"/>
                </a:cxn>
                <a:cxn ang="0">
                  <a:pos x="1897" y="158"/>
                </a:cxn>
                <a:cxn ang="0">
                  <a:pos x="1748" y="142"/>
                </a:cxn>
                <a:cxn ang="0">
                  <a:pos x="1636" y="119"/>
                </a:cxn>
                <a:cxn ang="0">
                  <a:pos x="1890" y="71"/>
                </a:cxn>
                <a:cxn ang="0">
                  <a:pos x="1487" y="63"/>
                </a:cxn>
                <a:cxn ang="0">
                  <a:pos x="1305" y="7"/>
                </a:cxn>
                <a:cxn ang="0">
                  <a:pos x="1076" y="47"/>
                </a:cxn>
                <a:cxn ang="0">
                  <a:pos x="1052" y="182"/>
                </a:cxn>
                <a:cxn ang="0">
                  <a:pos x="957" y="127"/>
                </a:cxn>
                <a:cxn ang="0">
                  <a:pos x="894" y="206"/>
                </a:cxn>
                <a:cxn ang="0">
                  <a:pos x="815" y="142"/>
                </a:cxn>
                <a:cxn ang="0">
                  <a:pos x="760" y="174"/>
                </a:cxn>
                <a:cxn ang="0">
                  <a:pos x="578" y="158"/>
                </a:cxn>
                <a:cxn ang="0">
                  <a:pos x="475" y="206"/>
                </a:cxn>
              </a:cxnLst>
              <a:rect l="0" t="0" r="r" b="b"/>
              <a:pathLst>
                <a:path w="2269" h="1921">
                  <a:moveTo>
                    <a:pt x="475" y="206"/>
                  </a:moveTo>
                  <a:lnTo>
                    <a:pt x="436" y="261"/>
                  </a:lnTo>
                  <a:lnTo>
                    <a:pt x="301" y="292"/>
                  </a:lnTo>
                  <a:lnTo>
                    <a:pt x="293" y="388"/>
                  </a:lnTo>
                  <a:lnTo>
                    <a:pt x="190" y="419"/>
                  </a:lnTo>
                  <a:lnTo>
                    <a:pt x="96" y="489"/>
                  </a:lnTo>
                  <a:lnTo>
                    <a:pt x="0" y="522"/>
                  </a:lnTo>
                  <a:lnTo>
                    <a:pt x="9" y="554"/>
                  </a:lnTo>
                  <a:lnTo>
                    <a:pt x="175" y="545"/>
                  </a:lnTo>
                  <a:lnTo>
                    <a:pt x="206" y="592"/>
                  </a:lnTo>
                  <a:lnTo>
                    <a:pt x="135" y="609"/>
                  </a:lnTo>
                  <a:lnTo>
                    <a:pt x="64" y="616"/>
                  </a:lnTo>
                  <a:lnTo>
                    <a:pt x="175" y="695"/>
                  </a:lnTo>
                  <a:lnTo>
                    <a:pt x="451" y="695"/>
                  </a:lnTo>
                  <a:lnTo>
                    <a:pt x="522" y="775"/>
                  </a:lnTo>
                  <a:lnTo>
                    <a:pt x="570" y="901"/>
                  </a:lnTo>
                  <a:lnTo>
                    <a:pt x="594" y="1027"/>
                  </a:lnTo>
                  <a:lnTo>
                    <a:pt x="602" y="1082"/>
                  </a:lnTo>
                  <a:lnTo>
                    <a:pt x="664" y="1051"/>
                  </a:lnTo>
                  <a:lnTo>
                    <a:pt x="692" y="1121"/>
                  </a:lnTo>
                  <a:lnTo>
                    <a:pt x="610" y="1149"/>
                  </a:lnTo>
                  <a:lnTo>
                    <a:pt x="720" y="1194"/>
                  </a:lnTo>
                  <a:lnTo>
                    <a:pt x="704" y="1288"/>
                  </a:lnTo>
                  <a:lnTo>
                    <a:pt x="617" y="1336"/>
                  </a:lnTo>
                  <a:lnTo>
                    <a:pt x="594" y="1407"/>
                  </a:lnTo>
                  <a:lnTo>
                    <a:pt x="633" y="1549"/>
                  </a:lnTo>
                  <a:lnTo>
                    <a:pt x="688" y="1700"/>
                  </a:lnTo>
                  <a:lnTo>
                    <a:pt x="760" y="1842"/>
                  </a:lnTo>
                  <a:lnTo>
                    <a:pt x="839" y="1857"/>
                  </a:lnTo>
                  <a:lnTo>
                    <a:pt x="878" y="1921"/>
                  </a:lnTo>
                  <a:lnTo>
                    <a:pt x="949" y="1905"/>
                  </a:lnTo>
                  <a:lnTo>
                    <a:pt x="1028" y="1707"/>
                  </a:lnTo>
                  <a:lnTo>
                    <a:pt x="1084" y="1636"/>
                  </a:lnTo>
                  <a:lnTo>
                    <a:pt x="1091" y="1533"/>
                  </a:lnTo>
                  <a:lnTo>
                    <a:pt x="1226" y="1502"/>
                  </a:lnTo>
                  <a:lnTo>
                    <a:pt x="1367" y="1470"/>
                  </a:lnTo>
                  <a:lnTo>
                    <a:pt x="1439" y="1328"/>
                  </a:lnTo>
                  <a:lnTo>
                    <a:pt x="1613" y="1343"/>
                  </a:lnTo>
                  <a:lnTo>
                    <a:pt x="1763" y="1240"/>
                  </a:lnTo>
                  <a:lnTo>
                    <a:pt x="1834" y="1161"/>
                  </a:lnTo>
                  <a:lnTo>
                    <a:pt x="1755" y="1139"/>
                  </a:lnTo>
                  <a:lnTo>
                    <a:pt x="1660" y="1122"/>
                  </a:lnTo>
                  <a:lnTo>
                    <a:pt x="1676" y="1067"/>
                  </a:lnTo>
                  <a:lnTo>
                    <a:pt x="1731" y="1051"/>
                  </a:lnTo>
                  <a:lnTo>
                    <a:pt x="1794" y="1098"/>
                  </a:lnTo>
                  <a:lnTo>
                    <a:pt x="1858" y="1130"/>
                  </a:lnTo>
                  <a:lnTo>
                    <a:pt x="1890" y="1082"/>
                  </a:lnTo>
                  <a:lnTo>
                    <a:pt x="1849" y="1004"/>
                  </a:lnTo>
                  <a:lnTo>
                    <a:pt x="1763" y="972"/>
                  </a:lnTo>
                  <a:lnTo>
                    <a:pt x="1770" y="916"/>
                  </a:lnTo>
                  <a:lnTo>
                    <a:pt x="1834" y="916"/>
                  </a:lnTo>
                  <a:lnTo>
                    <a:pt x="1858" y="940"/>
                  </a:lnTo>
                  <a:lnTo>
                    <a:pt x="1882" y="901"/>
                  </a:lnTo>
                  <a:lnTo>
                    <a:pt x="1945" y="885"/>
                  </a:lnTo>
                  <a:lnTo>
                    <a:pt x="1921" y="846"/>
                  </a:lnTo>
                  <a:lnTo>
                    <a:pt x="1976" y="846"/>
                  </a:lnTo>
                  <a:lnTo>
                    <a:pt x="2024" y="798"/>
                  </a:lnTo>
                  <a:lnTo>
                    <a:pt x="2040" y="751"/>
                  </a:lnTo>
                  <a:lnTo>
                    <a:pt x="1969" y="719"/>
                  </a:lnTo>
                  <a:lnTo>
                    <a:pt x="1961" y="664"/>
                  </a:lnTo>
                  <a:lnTo>
                    <a:pt x="1993" y="624"/>
                  </a:lnTo>
                  <a:lnTo>
                    <a:pt x="2032" y="616"/>
                  </a:lnTo>
                  <a:lnTo>
                    <a:pt x="2024" y="545"/>
                  </a:lnTo>
                  <a:lnTo>
                    <a:pt x="1890" y="530"/>
                  </a:lnTo>
                  <a:lnTo>
                    <a:pt x="1921" y="451"/>
                  </a:lnTo>
                  <a:lnTo>
                    <a:pt x="1993" y="403"/>
                  </a:lnTo>
                  <a:lnTo>
                    <a:pt x="2032" y="371"/>
                  </a:lnTo>
                  <a:lnTo>
                    <a:pt x="1952" y="331"/>
                  </a:lnTo>
                  <a:lnTo>
                    <a:pt x="2008" y="309"/>
                  </a:lnTo>
                  <a:lnTo>
                    <a:pt x="2055" y="300"/>
                  </a:lnTo>
                  <a:lnTo>
                    <a:pt x="2166" y="268"/>
                  </a:lnTo>
                  <a:lnTo>
                    <a:pt x="2269" y="197"/>
                  </a:lnTo>
                  <a:lnTo>
                    <a:pt x="2072" y="182"/>
                  </a:lnTo>
                  <a:lnTo>
                    <a:pt x="1969" y="213"/>
                  </a:lnTo>
                  <a:lnTo>
                    <a:pt x="1827" y="285"/>
                  </a:lnTo>
                  <a:lnTo>
                    <a:pt x="1897" y="158"/>
                  </a:lnTo>
                  <a:lnTo>
                    <a:pt x="1739" y="213"/>
                  </a:lnTo>
                  <a:lnTo>
                    <a:pt x="1748" y="142"/>
                  </a:lnTo>
                  <a:lnTo>
                    <a:pt x="1487" y="166"/>
                  </a:lnTo>
                  <a:lnTo>
                    <a:pt x="1636" y="119"/>
                  </a:lnTo>
                  <a:lnTo>
                    <a:pt x="1827" y="86"/>
                  </a:lnTo>
                  <a:lnTo>
                    <a:pt x="1890" y="71"/>
                  </a:lnTo>
                  <a:lnTo>
                    <a:pt x="1763" y="24"/>
                  </a:lnTo>
                  <a:lnTo>
                    <a:pt x="1487" y="63"/>
                  </a:lnTo>
                  <a:lnTo>
                    <a:pt x="1636" y="0"/>
                  </a:lnTo>
                  <a:lnTo>
                    <a:pt x="1305" y="7"/>
                  </a:lnTo>
                  <a:lnTo>
                    <a:pt x="1210" y="95"/>
                  </a:lnTo>
                  <a:lnTo>
                    <a:pt x="1076" y="47"/>
                  </a:lnTo>
                  <a:lnTo>
                    <a:pt x="1076" y="110"/>
                  </a:lnTo>
                  <a:lnTo>
                    <a:pt x="1052" y="182"/>
                  </a:lnTo>
                  <a:lnTo>
                    <a:pt x="1005" y="127"/>
                  </a:lnTo>
                  <a:lnTo>
                    <a:pt x="957" y="127"/>
                  </a:lnTo>
                  <a:lnTo>
                    <a:pt x="894" y="127"/>
                  </a:lnTo>
                  <a:lnTo>
                    <a:pt x="894" y="206"/>
                  </a:lnTo>
                  <a:lnTo>
                    <a:pt x="823" y="206"/>
                  </a:lnTo>
                  <a:lnTo>
                    <a:pt x="815" y="142"/>
                  </a:lnTo>
                  <a:lnTo>
                    <a:pt x="743" y="134"/>
                  </a:lnTo>
                  <a:lnTo>
                    <a:pt x="760" y="174"/>
                  </a:lnTo>
                  <a:lnTo>
                    <a:pt x="633" y="127"/>
                  </a:lnTo>
                  <a:lnTo>
                    <a:pt x="578" y="158"/>
                  </a:lnTo>
                  <a:lnTo>
                    <a:pt x="530" y="158"/>
                  </a:lnTo>
                  <a:lnTo>
                    <a:pt x="475" y="20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Freeform 124"/>
            <p:cNvSpPr>
              <a:spLocks noChangeAspect="1"/>
            </p:cNvSpPr>
            <p:nvPr/>
          </p:nvSpPr>
          <p:spPr bwMode="auto">
            <a:xfrm>
              <a:off x="512992" y="1894559"/>
              <a:ext cx="42198" cy="51474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87"/>
                </a:cxn>
                <a:cxn ang="0">
                  <a:pos x="72" y="32"/>
                </a:cxn>
                <a:cxn ang="0">
                  <a:pos x="24" y="0"/>
                </a:cxn>
              </a:cxnLst>
              <a:rect l="0" t="0" r="r" b="b"/>
              <a:pathLst>
                <a:path w="72" h="87">
                  <a:moveTo>
                    <a:pt x="24" y="0"/>
                  </a:moveTo>
                  <a:lnTo>
                    <a:pt x="0" y="87"/>
                  </a:lnTo>
                  <a:lnTo>
                    <a:pt x="72" y="3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5" name="Freeform 125"/>
            <p:cNvSpPr>
              <a:spLocks noChangeAspect="1"/>
            </p:cNvSpPr>
            <p:nvPr/>
          </p:nvSpPr>
          <p:spPr bwMode="auto">
            <a:xfrm>
              <a:off x="3690139" y="4202002"/>
              <a:ext cx="235605" cy="182820"/>
            </a:xfrm>
            <a:custGeom>
              <a:avLst/>
              <a:gdLst/>
              <a:ahLst/>
              <a:cxnLst>
                <a:cxn ang="0">
                  <a:pos x="294" y="141"/>
                </a:cxn>
                <a:cxn ang="0">
                  <a:pos x="263" y="133"/>
                </a:cxn>
                <a:cxn ang="0">
                  <a:pos x="239" y="164"/>
                </a:cxn>
                <a:cxn ang="0">
                  <a:pos x="211" y="212"/>
                </a:cxn>
                <a:cxn ang="0">
                  <a:pos x="200" y="260"/>
                </a:cxn>
                <a:cxn ang="0">
                  <a:pos x="191" y="298"/>
                </a:cxn>
                <a:cxn ang="0">
                  <a:pos x="136" y="307"/>
                </a:cxn>
                <a:cxn ang="0">
                  <a:pos x="104" y="280"/>
                </a:cxn>
                <a:cxn ang="0">
                  <a:pos x="89" y="303"/>
                </a:cxn>
                <a:cxn ang="0">
                  <a:pos x="25" y="298"/>
                </a:cxn>
                <a:cxn ang="0">
                  <a:pos x="0" y="281"/>
                </a:cxn>
                <a:cxn ang="0">
                  <a:pos x="20" y="253"/>
                </a:cxn>
                <a:cxn ang="0">
                  <a:pos x="31" y="209"/>
                </a:cxn>
                <a:cxn ang="0">
                  <a:pos x="88" y="213"/>
                </a:cxn>
                <a:cxn ang="0">
                  <a:pos x="111" y="165"/>
                </a:cxn>
                <a:cxn ang="0">
                  <a:pos x="155" y="134"/>
                </a:cxn>
                <a:cxn ang="0">
                  <a:pos x="193" y="115"/>
                </a:cxn>
                <a:cxn ang="0">
                  <a:pos x="206" y="60"/>
                </a:cxn>
                <a:cxn ang="0">
                  <a:pos x="241" y="40"/>
                </a:cxn>
                <a:cxn ang="0">
                  <a:pos x="250" y="0"/>
                </a:cxn>
                <a:cxn ang="0">
                  <a:pos x="305" y="27"/>
                </a:cxn>
                <a:cxn ang="0">
                  <a:pos x="337" y="40"/>
                </a:cxn>
                <a:cxn ang="0">
                  <a:pos x="392" y="51"/>
                </a:cxn>
                <a:cxn ang="0">
                  <a:pos x="403" y="99"/>
                </a:cxn>
                <a:cxn ang="0">
                  <a:pos x="360" y="134"/>
                </a:cxn>
                <a:cxn ang="0">
                  <a:pos x="320" y="162"/>
                </a:cxn>
                <a:cxn ang="0">
                  <a:pos x="294" y="141"/>
                </a:cxn>
              </a:cxnLst>
              <a:rect l="0" t="0" r="r" b="b"/>
              <a:pathLst>
                <a:path w="403" h="307">
                  <a:moveTo>
                    <a:pt x="294" y="141"/>
                  </a:moveTo>
                  <a:lnTo>
                    <a:pt x="263" y="133"/>
                  </a:lnTo>
                  <a:lnTo>
                    <a:pt x="239" y="164"/>
                  </a:lnTo>
                  <a:lnTo>
                    <a:pt x="211" y="212"/>
                  </a:lnTo>
                  <a:lnTo>
                    <a:pt x="200" y="260"/>
                  </a:lnTo>
                  <a:lnTo>
                    <a:pt x="191" y="298"/>
                  </a:lnTo>
                  <a:lnTo>
                    <a:pt x="136" y="307"/>
                  </a:lnTo>
                  <a:lnTo>
                    <a:pt x="104" y="280"/>
                  </a:lnTo>
                  <a:lnTo>
                    <a:pt x="89" y="303"/>
                  </a:lnTo>
                  <a:lnTo>
                    <a:pt x="25" y="298"/>
                  </a:lnTo>
                  <a:lnTo>
                    <a:pt x="0" y="281"/>
                  </a:lnTo>
                  <a:lnTo>
                    <a:pt x="20" y="253"/>
                  </a:lnTo>
                  <a:lnTo>
                    <a:pt x="31" y="209"/>
                  </a:lnTo>
                  <a:lnTo>
                    <a:pt x="88" y="213"/>
                  </a:lnTo>
                  <a:lnTo>
                    <a:pt x="111" y="165"/>
                  </a:lnTo>
                  <a:lnTo>
                    <a:pt x="155" y="134"/>
                  </a:lnTo>
                  <a:lnTo>
                    <a:pt x="193" y="115"/>
                  </a:lnTo>
                  <a:lnTo>
                    <a:pt x="206" y="60"/>
                  </a:lnTo>
                  <a:lnTo>
                    <a:pt x="241" y="40"/>
                  </a:lnTo>
                  <a:lnTo>
                    <a:pt x="250" y="0"/>
                  </a:lnTo>
                  <a:lnTo>
                    <a:pt x="305" y="27"/>
                  </a:lnTo>
                  <a:lnTo>
                    <a:pt x="337" y="40"/>
                  </a:lnTo>
                  <a:lnTo>
                    <a:pt x="392" y="51"/>
                  </a:lnTo>
                  <a:lnTo>
                    <a:pt x="403" y="99"/>
                  </a:lnTo>
                  <a:lnTo>
                    <a:pt x="360" y="134"/>
                  </a:lnTo>
                  <a:lnTo>
                    <a:pt x="320" y="162"/>
                  </a:lnTo>
                  <a:lnTo>
                    <a:pt x="294" y="14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6" name="Freeform 126"/>
            <p:cNvSpPr>
              <a:spLocks noChangeAspect="1"/>
            </p:cNvSpPr>
            <p:nvPr/>
          </p:nvSpPr>
          <p:spPr bwMode="auto">
            <a:xfrm>
              <a:off x="984201" y="4383047"/>
              <a:ext cx="42198" cy="21299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71" y="0"/>
                </a:cxn>
                <a:cxn ang="0">
                  <a:pos x="59" y="33"/>
                </a:cxn>
                <a:cxn ang="0">
                  <a:pos x="11" y="36"/>
                </a:cxn>
                <a:cxn ang="0">
                  <a:pos x="0" y="23"/>
                </a:cxn>
                <a:cxn ang="0">
                  <a:pos x="6" y="5"/>
                </a:cxn>
              </a:cxnLst>
              <a:rect l="0" t="0" r="r" b="b"/>
              <a:pathLst>
                <a:path w="71" h="36">
                  <a:moveTo>
                    <a:pt x="6" y="5"/>
                  </a:moveTo>
                  <a:lnTo>
                    <a:pt x="71" y="0"/>
                  </a:lnTo>
                  <a:lnTo>
                    <a:pt x="59" y="33"/>
                  </a:lnTo>
                  <a:lnTo>
                    <a:pt x="11" y="36"/>
                  </a:lnTo>
                  <a:lnTo>
                    <a:pt x="0" y="23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7" name="Freeform 127"/>
            <p:cNvSpPr>
              <a:spLocks noChangeAspect="1"/>
            </p:cNvSpPr>
            <p:nvPr/>
          </p:nvSpPr>
          <p:spPr bwMode="auto">
            <a:xfrm>
              <a:off x="2621126" y="2652465"/>
              <a:ext cx="1513848" cy="1127097"/>
            </a:xfrm>
            <a:custGeom>
              <a:avLst/>
              <a:gdLst/>
              <a:ahLst/>
              <a:cxnLst>
                <a:cxn ang="0">
                  <a:pos x="1969" y="918"/>
                </a:cxn>
                <a:cxn ang="0">
                  <a:pos x="2099" y="926"/>
                </a:cxn>
                <a:cxn ang="0">
                  <a:pos x="2123" y="1016"/>
                </a:cxn>
                <a:cxn ang="0">
                  <a:pos x="2131" y="1198"/>
                </a:cxn>
                <a:cxn ang="0">
                  <a:pos x="2201" y="1364"/>
                </a:cxn>
                <a:cxn ang="0">
                  <a:pos x="2186" y="1546"/>
                </a:cxn>
                <a:cxn ang="0">
                  <a:pos x="2103" y="1677"/>
                </a:cxn>
                <a:cxn ang="0">
                  <a:pos x="2028" y="1739"/>
                </a:cxn>
                <a:cxn ang="0">
                  <a:pos x="1882" y="1800"/>
                </a:cxn>
                <a:cxn ang="0">
                  <a:pos x="1708" y="1906"/>
                </a:cxn>
                <a:cxn ang="0">
                  <a:pos x="1641" y="1883"/>
                </a:cxn>
                <a:cxn ang="0">
                  <a:pos x="1455" y="1759"/>
                </a:cxn>
                <a:cxn ang="0">
                  <a:pos x="1356" y="1862"/>
                </a:cxn>
                <a:cxn ang="0">
                  <a:pos x="1237" y="1831"/>
                </a:cxn>
                <a:cxn ang="0">
                  <a:pos x="1150" y="1700"/>
                </a:cxn>
                <a:cxn ang="0">
                  <a:pos x="1205" y="1597"/>
                </a:cxn>
                <a:cxn ang="0">
                  <a:pos x="1123" y="1527"/>
                </a:cxn>
                <a:cxn ang="0">
                  <a:pos x="968" y="1452"/>
                </a:cxn>
                <a:cxn ang="0">
                  <a:pos x="814" y="1518"/>
                </a:cxn>
                <a:cxn ang="0">
                  <a:pos x="697" y="1522"/>
                </a:cxn>
                <a:cxn ang="0">
                  <a:pos x="515" y="1471"/>
                </a:cxn>
                <a:cxn ang="0">
                  <a:pos x="447" y="1429"/>
                </a:cxn>
                <a:cxn ang="0">
                  <a:pos x="317" y="1349"/>
                </a:cxn>
                <a:cxn ang="0">
                  <a:pos x="215" y="1226"/>
                </a:cxn>
                <a:cxn ang="0">
                  <a:pos x="55" y="1230"/>
                </a:cxn>
                <a:cxn ang="0">
                  <a:pos x="44" y="1091"/>
                </a:cxn>
                <a:cxn ang="0">
                  <a:pos x="55" y="977"/>
                </a:cxn>
                <a:cxn ang="0">
                  <a:pos x="9" y="879"/>
                </a:cxn>
                <a:cxn ang="0">
                  <a:pos x="131" y="872"/>
                </a:cxn>
                <a:cxn ang="0">
                  <a:pos x="222" y="800"/>
                </a:cxn>
                <a:cxn ang="0">
                  <a:pos x="226" y="643"/>
                </a:cxn>
                <a:cxn ang="0">
                  <a:pos x="348" y="575"/>
                </a:cxn>
                <a:cxn ang="0">
                  <a:pos x="455" y="504"/>
                </a:cxn>
                <a:cxn ang="0">
                  <a:pos x="534" y="369"/>
                </a:cxn>
                <a:cxn ang="0">
                  <a:pos x="598" y="348"/>
                </a:cxn>
                <a:cxn ang="0">
                  <a:pos x="712" y="510"/>
                </a:cxn>
                <a:cxn ang="0">
                  <a:pos x="913" y="570"/>
                </a:cxn>
                <a:cxn ang="0">
                  <a:pos x="1229" y="677"/>
                </a:cxn>
                <a:cxn ang="0">
                  <a:pos x="1419" y="708"/>
                </a:cxn>
                <a:cxn ang="0">
                  <a:pos x="1617" y="633"/>
                </a:cxn>
                <a:cxn ang="0">
                  <a:pos x="1684" y="546"/>
                </a:cxn>
                <a:cxn ang="0">
                  <a:pos x="1834" y="431"/>
                </a:cxn>
                <a:cxn ang="0">
                  <a:pos x="1804" y="357"/>
                </a:cxn>
                <a:cxn ang="0">
                  <a:pos x="1752" y="248"/>
                </a:cxn>
                <a:cxn ang="0">
                  <a:pos x="1858" y="246"/>
                </a:cxn>
                <a:cxn ang="0">
                  <a:pos x="1873" y="48"/>
                </a:cxn>
                <a:cxn ang="0">
                  <a:pos x="2138" y="55"/>
                </a:cxn>
                <a:cxn ang="0">
                  <a:pos x="2225" y="190"/>
                </a:cxn>
                <a:cxn ang="0">
                  <a:pos x="2376" y="282"/>
                </a:cxn>
                <a:cxn ang="0">
                  <a:pos x="2478" y="341"/>
                </a:cxn>
                <a:cxn ang="0">
                  <a:pos x="2581" y="388"/>
                </a:cxn>
                <a:cxn ang="0">
                  <a:pos x="2502" y="519"/>
                </a:cxn>
                <a:cxn ang="0">
                  <a:pos x="2526" y="626"/>
                </a:cxn>
                <a:cxn ang="0">
                  <a:pos x="2435" y="677"/>
                </a:cxn>
                <a:cxn ang="0">
                  <a:pos x="2304" y="712"/>
                </a:cxn>
                <a:cxn ang="0">
                  <a:pos x="2182" y="850"/>
                </a:cxn>
                <a:cxn ang="0">
                  <a:pos x="2099" y="767"/>
                </a:cxn>
                <a:cxn ang="0">
                  <a:pos x="2032" y="823"/>
                </a:cxn>
              </a:cxnLst>
              <a:rect l="0" t="0" r="r" b="b"/>
              <a:pathLst>
                <a:path w="2581" h="1906">
                  <a:moveTo>
                    <a:pt x="2032" y="823"/>
                  </a:moveTo>
                  <a:lnTo>
                    <a:pt x="1965" y="870"/>
                  </a:lnTo>
                  <a:lnTo>
                    <a:pt x="1969" y="918"/>
                  </a:lnTo>
                  <a:lnTo>
                    <a:pt x="2016" y="957"/>
                  </a:lnTo>
                  <a:lnTo>
                    <a:pt x="2063" y="961"/>
                  </a:lnTo>
                  <a:lnTo>
                    <a:pt x="2099" y="926"/>
                  </a:lnTo>
                  <a:lnTo>
                    <a:pt x="2166" y="933"/>
                  </a:lnTo>
                  <a:lnTo>
                    <a:pt x="2182" y="997"/>
                  </a:lnTo>
                  <a:lnTo>
                    <a:pt x="2123" y="1016"/>
                  </a:lnTo>
                  <a:lnTo>
                    <a:pt x="2072" y="1060"/>
                  </a:lnTo>
                  <a:lnTo>
                    <a:pt x="2091" y="1119"/>
                  </a:lnTo>
                  <a:lnTo>
                    <a:pt x="2131" y="1198"/>
                  </a:lnTo>
                  <a:lnTo>
                    <a:pt x="2190" y="1257"/>
                  </a:lnTo>
                  <a:lnTo>
                    <a:pt x="2190" y="1309"/>
                  </a:lnTo>
                  <a:lnTo>
                    <a:pt x="2201" y="1364"/>
                  </a:lnTo>
                  <a:lnTo>
                    <a:pt x="2225" y="1494"/>
                  </a:lnTo>
                  <a:lnTo>
                    <a:pt x="2193" y="1502"/>
                  </a:lnTo>
                  <a:lnTo>
                    <a:pt x="2186" y="1546"/>
                  </a:lnTo>
                  <a:lnTo>
                    <a:pt x="2142" y="1586"/>
                  </a:lnTo>
                  <a:lnTo>
                    <a:pt x="2146" y="1645"/>
                  </a:lnTo>
                  <a:lnTo>
                    <a:pt x="2103" y="1677"/>
                  </a:lnTo>
                  <a:lnTo>
                    <a:pt x="2072" y="1680"/>
                  </a:lnTo>
                  <a:lnTo>
                    <a:pt x="2063" y="1728"/>
                  </a:lnTo>
                  <a:lnTo>
                    <a:pt x="2028" y="1739"/>
                  </a:lnTo>
                  <a:lnTo>
                    <a:pt x="2020" y="1783"/>
                  </a:lnTo>
                  <a:lnTo>
                    <a:pt x="1941" y="1807"/>
                  </a:lnTo>
                  <a:lnTo>
                    <a:pt x="1882" y="1800"/>
                  </a:lnTo>
                  <a:lnTo>
                    <a:pt x="1811" y="1822"/>
                  </a:lnTo>
                  <a:lnTo>
                    <a:pt x="1739" y="1877"/>
                  </a:lnTo>
                  <a:lnTo>
                    <a:pt x="1708" y="1906"/>
                  </a:lnTo>
                  <a:lnTo>
                    <a:pt x="1688" y="1842"/>
                  </a:lnTo>
                  <a:lnTo>
                    <a:pt x="1660" y="1827"/>
                  </a:lnTo>
                  <a:lnTo>
                    <a:pt x="1641" y="1883"/>
                  </a:lnTo>
                  <a:lnTo>
                    <a:pt x="1573" y="1783"/>
                  </a:lnTo>
                  <a:lnTo>
                    <a:pt x="1502" y="1759"/>
                  </a:lnTo>
                  <a:lnTo>
                    <a:pt x="1455" y="1759"/>
                  </a:lnTo>
                  <a:lnTo>
                    <a:pt x="1384" y="1800"/>
                  </a:lnTo>
                  <a:lnTo>
                    <a:pt x="1349" y="1815"/>
                  </a:lnTo>
                  <a:lnTo>
                    <a:pt x="1356" y="1862"/>
                  </a:lnTo>
                  <a:lnTo>
                    <a:pt x="1293" y="1870"/>
                  </a:lnTo>
                  <a:lnTo>
                    <a:pt x="1281" y="1839"/>
                  </a:lnTo>
                  <a:lnTo>
                    <a:pt x="1237" y="1831"/>
                  </a:lnTo>
                  <a:lnTo>
                    <a:pt x="1225" y="1756"/>
                  </a:lnTo>
                  <a:lnTo>
                    <a:pt x="1202" y="1708"/>
                  </a:lnTo>
                  <a:lnTo>
                    <a:pt x="1150" y="1700"/>
                  </a:lnTo>
                  <a:lnTo>
                    <a:pt x="1154" y="1660"/>
                  </a:lnTo>
                  <a:lnTo>
                    <a:pt x="1187" y="1636"/>
                  </a:lnTo>
                  <a:lnTo>
                    <a:pt x="1205" y="1597"/>
                  </a:lnTo>
                  <a:lnTo>
                    <a:pt x="1187" y="1546"/>
                  </a:lnTo>
                  <a:lnTo>
                    <a:pt x="1174" y="1518"/>
                  </a:lnTo>
                  <a:lnTo>
                    <a:pt x="1123" y="1527"/>
                  </a:lnTo>
                  <a:lnTo>
                    <a:pt x="1092" y="1479"/>
                  </a:lnTo>
                  <a:lnTo>
                    <a:pt x="1040" y="1452"/>
                  </a:lnTo>
                  <a:lnTo>
                    <a:pt x="968" y="1452"/>
                  </a:lnTo>
                  <a:lnTo>
                    <a:pt x="913" y="1482"/>
                  </a:lnTo>
                  <a:lnTo>
                    <a:pt x="889" y="1517"/>
                  </a:lnTo>
                  <a:lnTo>
                    <a:pt x="814" y="1518"/>
                  </a:lnTo>
                  <a:lnTo>
                    <a:pt x="763" y="1494"/>
                  </a:lnTo>
                  <a:lnTo>
                    <a:pt x="740" y="1538"/>
                  </a:lnTo>
                  <a:lnTo>
                    <a:pt x="697" y="1522"/>
                  </a:lnTo>
                  <a:lnTo>
                    <a:pt x="595" y="1515"/>
                  </a:lnTo>
                  <a:lnTo>
                    <a:pt x="550" y="1491"/>
                  </a:lnTo>
                  <a:lnTo>
                    <a:pt x="515" y="1471"/>
                  </a:lnTo>
                  <a:lnTo>
                    <a:pt x="510" y="1419"/>
                  </a:lnTo>
                  <a:lnTo>
                    <a:pt x="495" y="1452"/>
                  </a:lnTo>
                  <a:lnTo>
                    <a:pt x="447" y="1429"/>
                  </a:lnTo>
                  <a:lnTo>
                    <a:pt x="408" y="1390"/>
                  </a:lnTo>
                  <a:lnTo>
                    <a:pt x="357" y="1388"/>
                  </a:lnTo>
                  <a:lnTo>
                    <a:pt x="317" y="1349"/>
                  </a:lnTo>
                  <a:lnTo>
                    <a:pt x="249" y="1336"/>
                  </a:lnTo>
                  <a:lnTo>
                    <a:pt x="249" y="1253"/>
                  </a:lnTo>
                  <a:lnTo>
                    <a:pt x="215" y="1226"/>
                  </a:lnTo>
                  <a:lnTo>
                    <a:pt x="162" y="1222"/>
                  </a:lnTo>
                  <a:lnTo>
                    <a:pt x="99" y="1261"/>
                  </a:lnTo>
                  <a:lnTo>
                    <a:pt x="55" y="1230"/>
                  </a:lnTo>
                  <a:lnTo>
                    <a:pt x="60" y="1167"/>
                  </a:lnTo>
                  <a:lnTo>
                    <a:pt x="37" y="1135"/>
                  </a:lnTo>
                  <a:lnTo>
                    <a:pt x="44" y="1091"/>
                  </a:lnTo>
                  <a:lnTo>
                    <a:pt x="44" y="1091"/>
                  </a:lnTo>
                  <a:lnTo>
                    <a:pt x="55" y="1017"/>
                  </a:lnTo>
                  <a:lnTo>
                    <a:pt x="55" y="977"/>
                  </a:lnTo>
                  <a:lnTo>
                    <a:pt x="48" y="982"/>
                  </a:lnTo>
                  <a:lnTo>
                    <a:pt x="0" y="951"/>
                  </a:lnTo>
                  <a:lnTo>
                    <a:pt x="9" y="879"/>
                  </a:lnTo>
                  <a:lnTo>
                    <a:pt x="44" y="852"/>
                  </a:lnTo>
                  <a:lnTo>
                    <a:pt x="111" y="896"/>
                  </a:lnTo>
                  <a:lnTo>
                    <a:pt x="131" y="872"/>
                  </a:lnTo>
                  <a:lnTo>
                    <a:pt x="127" y="844"/>
                  </a:lnTo>
                  <a:lnTo>
                    <a:pt x="206" y="829"/>
                  </a:lnTo>
                  <a:lnTo>
                    <a:pt x="222" y="800"/>
                  </a:lnTo>
                  <a:lnTo>
                    <a:pt x="258" y="785"/>
                  </a:lnTo>
                  <a:lnTo>
                    <a:pt x="261" y="658"/>
                  </a:lnTo>
                  <a:lnTo>
                    <a:pt x="226" y="643"/>
                  </a:lnTo>
                  <a:lnTo>
                    <a:pt x="241" y="610"/>
                  </a:lnTo>
                  <a:lnTo>
                    <a:pt x="333" y="599"/>
                  </a:lnTo>
                  <a:lnTo>
                    <a:pt x="348" y="575"/>
                  </a:lnTo>
                  <a:lnTo>
                    <a:pt x="352" y="513"/>
                  </a:lnTo>
                  <a:lnTo>
                    <a:pt x="399" y="489"/>
                  </a:lnTo>
                  <a:lnTo>
                    <a:pt x="455" y="504"/>
                  </a:lnTo>
                  <a:lnTo>
                    <a:pt x="475" y="402"/>
                  </a:lnTo>
                  <a:lnTo>
                    <a:pt x="499" y="378"/>
                  </a:lnTo>
                  <a:lnTo>
                    <a:pt x="534" y="369"/>
                  </a:lnTo>
                  <a:lnTo>
                    <a:pt x="546" y="334"/>
                  </a:lnTo>
                  <a:lnTo>
                    <a:pt x="574" y="314"/>
                  </a:lnTo>
                  <a:lnTo>
                    <a:pt x="598" y="348"/>
                  </a:lnTo>
                  <a:lnTo>
                    <a:pt x="664" y="384"/>
                  </a:lnTo>
                  <a:lnTo>
                    <a:pt x="681" y="436"/>
                  </a:lnTo>
                  <a:lnTo>
                    <a:pt x="712" y="510"/>
                  </a:lnTo>
                  <a:lnTo>
                    <a:pt x="815" y="530"/>
                  </a:lnTo>
                  <a:lnTo>
                    <a:pt x="861" y="543"/>
                  </a:lnTo>
                  <a:lnTo>
                    <a:pt x="913" y="570"/>
                  </a:lnTo>
                  <a:lnTo>
                    <a:pt x="946" y="626"/>
                  </a:lnTo>
                  <a:lnTo>
                    <a:pt x="977" y="657"/>
                  </a:lnTo>
                  <a:lnTo>
                    <a:pt x="1229" y="677"/>
                  </a:lnTo>
                  <a:lnTo>
                    <a:pt x="1285" y="692"/>
                  </a:lnTo>
                  <a:lnTo>
                    <a:pt x="1352" y="729"/>
                  </a:lnTo>
                  <a:lnTo>
                    <a:pt x="1419" y="708"/>
                  </a:lnTo>
                  <a:lnTo>
                    <a:pt x="1455" y="681"/>
                  </a:lnTo>
                  <a:lnTo>
                    <a:pt x="1546" y="692"/>
                  </a:lnTo>
                  <a:lnTo>
                    <a:pt x="1617" y="633"/>
                  </a:lnTo>
                  <a:lnTo>
                    <a:pt x="1625" y="578"/>
                  </a:lnTo>
                  <a:lnTo>
                    <a:pt x="1621" y="526"/>
                  </a:lnTo>
                  <a:lnTo>
                    <a:pt x="1684" y="546"/>
                  </a:lnTo>
                  <a:lnTo>
                    <a:pt x="1728" y="503"/>
                  </a:lnTo>
                  <a:lnTo>
                    <a:pt x="1767" y="471"/>
                  </a:lnTo>
                  <a:lnTo>
                    <a:pt x="1834" y="431"/>
                  </a:lnTo>
                  <a:lnTo>
                    <a:pt x="1914" y="396"/>
                  </a:lnTo>
                  <a:lnTo>
                    <a:pt x="1877" y="348"/>
                  </a:lnTo>
                  <a:lnTo>
                    <a:pt x="1804" y="357"/>
                  </a:lnTo>
                  <a:lnTo>
                    <a:pt x="1767" y="367"/>
                  </a:lnTo>
                  <a:lnTo>
                    <a:pt x="1757" y="348"/>
                  </a:lnTo>
                  <a:lnTo>
                    <a:pt x="1752" y="248"/>
                  </a:lnTo>
                  <a:lnTo>
                    <a:pt x="1763" y="210"/>
                  </a:lnTo>
                  <a:lnTo>
                    <a:pt x="1798" y="246"/>
                  </a:lnTo>
                  <a:lnTo>
                    <a:pt x="1858" y="246"/>
                  </a:lnTo>
                  <a:lnTo>
                    <a:pt x="1870" y="158"/>
                  </a:lnTo>
                  <a:lnTo>
                    <a:pt x="1905" y="127"/>
                  </a:lnTo>
                  <a:lnTo>
                    <a:pt x="1873" y="48"/>
                  </a:lnTo>
                  <a:lnTo>
                    <a:pt x="1897" y="0"/>
                  </a:lnTo>
                  <a:lnTo>
                    <a:pt x="2091" y="5"/>
                  </a:lnTo>
                  <a:lnTo>
                    <a:pt x="2138" y="55"/>
                  </a:lnTo>
                  <a:lnTo>
                    <a:pt x="2182" y="96"/>
                  </a:lnTo>
                  <a:lnTo>
                    <a:pt x="2214" y="135"/>
                  </a:lnTo>
                  <a:lnTo>
                    <a:pt x="2225" y="190"/>
                  </a:lnTo>
                  <a:lnTo>
                    <a:pt x="2261" y="234"/>
                  </a:lnTo>
                  <a:lnTo>
                    <a:pt x="2340" y="250"/>
                  </a:lnTo>
                  <a:lnTo>
                    <a:pt x="2376" y="282"/>
                  </a:lnTo>
                  <a:lnTo>
                    <a:pt x="2414" y="309"/>
                  </a:lnTo>
                  <a:lnTo>
                    <a:pt x="2431" y="337"/>
                  </a:lnTo>
                  <a:lnTo>
                    <a:pt x="2478" y="341"/>
                  </a:lnTo>
                  <a:lnTo>
                    <a:pt x="2558" y="325"/>
                  </a:lnTo>
                  <a:lnTo>
                    <a:pt x="2573" y="348"/>
                  </a:lnTo>
                  <a:lnTo>
                    <a:pt x="2581" y="388"/>
                  </a:lnTo>
                  <a:lnTo>
                    <a:pt x="2549" y="412"/>
                  </a:lnTo>
                  <a:lnTo>
                    <a:pt x="2545" y="526"/>
                  </a:lnTo>
                  <a:lnTo>
                    <a:pt x="2502" y="519"/>
                  </a:lnTo>
                  <a:lnTo>
                    <a:pt x="2478" y="565"/>
                  </a:lnTo>
                  <a:lnTo>
                    <a:pt x="2482" y="617"/>
                  </a:lnTo>
                  <a:lnTo>
                    <a:pt x="2526" y="626"/>
                  </a:lnTo>
                  <a:lnTo>
                    <a:pt x="2524" y="626"/>
                  </a:lnTo>
                  <a:lnTo>
                    <a:pt x="2478" y="661"/>
                  </a:lnTo>
                  <a:lnTo>
                    <a:pt x="2435" y="677"/>
                  </a:lnTo>
                  <a:lnTo>
                    <a:pt x="2387" y="729"/>
                  </a:lnTo>
                  <a:lnTo>
                    <a:pt x="2344" y="729"/>
                  </a:lnTo>
                  <a:lnTo>
                    <a:pt x="2304" y="712"/>
                  </a:lnTo>
                  <a:lnTo>
                    <a:pt x="2280" y="788"/>
                  </a:lnTo>
                  <a:lnTo>
                    <a:pt x="2237" y="815"/>
                  </a:lnTo>
                  <a:lnTo>
                    <a:pt x="2182" y="850"/>
                  </a:lnTo>
                  <a:lnTo>
                    <a:pt x="2114" y="874"/>
                  </a:lnTo>
                  <a:lnTo>
                    <a:pt x="2111" y="819"/>
                  </a:lnTo>
                  <a:lnTo>
                    <a:pt x="2099" y="767"/>
                  </a:lnTo>
                  <a:lnTo>
                    <a:pt x="2079" y="764"/>
                  </a:lnTo>
                  <a:lnTo>
                    <a:pt x="2052" y="788"/>
                  </a:lnTo>
                  <a:lnTo>
                    <a:pt x="2032" y="82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8" name="Freeform 128"/>
            <p:cNvSpPr>
              <a:spLocks noChangeAspect="1"/>
            </p:cNvSpPr>
            <p:nvPr/>
          </p:nvSpPr>
          <p:spPr bwMode="auto">
            <a:xfrm>
              <a:off x="2621126" y="2652465"/>
              <a:ext cx="1513848" cy="1127097"/>
            </a:xfrm>
            <a:custGeom>
              <a:avLst/>
              <a:gdLst/>
              <a:ahLst/>
              <a:cxnLst>
                <a:cxn ang="0">
                  <a:pos x="1969" y="918"/>
                </a:cxn>
                <a:cxn ang="0">
                  <a:pos x="2099" y="926"/>
                </a:cxn>
                <a:cxn ang="0">
                  <a:pos x="2123" y="1016"/>
                </a:cxn>
                <a:cxn ang="0">
                  <a:pos x="2131" y="1198"/>
                </a:cxn>
                <a:cxn ang="0">
                  <a:pos x="2201" y="1364"/>
                </a:cxn>
                <a:cxn ang="0">
                  <a:pos x="2186" y="1546"/>
                </a:cxn>
                <a:cxn ang="0">
                  <a:pos x="2103" y="1677"/>
                </a:cxn>
                <a:cxn ang="0">
                  <a:pos x="2028" y="1739"/>
                </a:cxn>
                <a:cxn ang="0">
                  <a:pos x="1882" y="1800"/>
                </a:cxn>
                <a:cxn ang="0">
                  <a:pos x="1708" y="1906"/>
                </a:cxn>
                <a:cxn ang="0">
                  <a:pos x="1641" y="1883"/>
                </a:cxn>
                <a:cxn ang="0">
                  <a:pos x="1455" y="1759"/>
                </a:cxn>
                <a:cxn ang="0">
                  <a:pos x="1356" y="1862"/>
                </a:cxn>
                <a:cxn ang="0">
                  <a:pos x="1237" y="1831"/>
                </a:cxn>
                <a:cxn ang="0">
                  <a:pos x="1150" y="1700"/>
                </a:cxn>
                <a:cxn ang="0">
                  <a:pos x="1205" y="1597"/>
                </a:cxn>
                <a:cxn ang="0">
                  <a:pos x="1123" y="1527"/>
                </a:cxn>
                <a:cxn ang="0">
                  <a:pos x="968" y="1452"/>
                </a:cxn>
                <a:cxn ang="0">
                  <a:pos x="814" y="1518"/>
                </a:cxn>
                <a:cxn ang="0">
                  <a:pos x="697" y="1522"/>
                </a:cxn>
                <a:cxn ang="0">
                  <a:pos x="515" y="1471"/>
                </a:cxn>
                <a:cxn ang="0">
                  <a:pos x="447" y="1429"/>
                </a:cxn>
                <a:cxn ang="0">
                  <a:pos x="317" y="1349"/>
                </a:cxn>
                <a:cxn ang="0">
                  <a:pos x="215" y="1226"/>
                </a:cxn>
                <a:cxn ang="0">
                  <a:pos x="55" y="1230"/>
                </a:cxn>
                <a:cxn ang="0">
                  <a:pos x="44" y="1091"/>
                </a:cxn>
                <a:cxn ang="0">
                  <a:pos x="55" y="977"/>
                </a:cxn>
                <a:cxn ang="0">
                  <a:pos x="9" y="879"/>
                </a:cxn>
                <a:cxn ang="0">
                  <a:pos x="131" y="872"/>
                </a:cxn>
                <a:cxn ang="0">
                  <a:pos x="222" y="800"/>
                </a:cxn>
                <a:cxn ang="0">
                  <a:pos x="226" y="643"/>
                </a:cxn>
                <a:cxn ang="0">
                  <a:pos x="348" y="575"/>
                </a:cxn>
                <a:cxn ang="0">
                  <a:pos x="455" y="504"/>
                </a:cxn>
                <a:cxn ang="0">
                  <a:pos x="534" y="369"/>
                </a:cxn>
                <a:cxn ang="0">
                  <a:pos x="598" y="348"/>
                </a:cxn>
                <a:cxn ang="0">
                  <a:pos x="712" y="510"/>
                </a:cxn>
                <a:cxn ang="0">
                  <a:pos x="913" y="570"/>
                </a:cxn>
                <a:cxn ang="0">
                  <a:pos x="1229" y="677"/>
                </a:cxn>
                <a:cxn ang="0">
                  <a:pos x="1419" y="708"/>
                </a:cxn>
                <a:cxn ang="0">
                  <a:pos x="1617" y="633"/>
                </a:cxn>
                <a:cxn ang="0">
                  <a:pos x="1684" y="546"/>
                </a:cxn>
                <a:cxn ang="0">
                  <a:pos x="1834" y="431"/>
                </a:cxn>
                <a:cxn ang="0">
                  <a:pos x="1804" y="357"/>
                </a:cxn>
                <a:cxn ang="0">
                  <a:pos x="1752" y="248"/>
                </a:cxn>
                <a:cxn ang="0">
                  <a:pos x="1858" y="246"/>
                </a:cxn>
                <a:cxn ang="0">
                  <a:pos x="1873" y="48"/>
                </a:cxn>
                <a:cxn ang="0">
                  <a:pos x="2138" y="55"/>
                </a:cxn>
                <a:cxn ang="0">
                  <a:pos x="2225" y="190"/>
                </a:cxn>
                <a:cxn ang="0">
                  <a:pos x="2376" y="282"/>
                </a:cxn>
                <a:cxn ang="0">
                  <a:pos x="2478" y="341"/>
                </a:cxn>
                <a:cxn ang="0">
                  <a:pos x="2581" y="388"/>
                </a:cxn>
                <a:cxn ang="0">
                  <a:pos x="2502" y="519"/>
                </a:cxn>
                <a:cxn ang="0">
                  <a:pos x="2526" y="626"/>
                </a:cxn>
                <a:cxn ang="0">
                  <a:pos x="2435" y="677"/>
                </a:cxn>
                <a:cxn ang="0">
                  <a:pos x="2304" y="712"/>
                </a:cxn>
                <a:cxn ang="0">
                  <a:pos x="2182" y="850"/>
                </a:cxn>
                <a:cxn ang="0">
                  <a:pos x="2099" y="767"/>
                </a:cxn>
                <a:cxn ang="0">
                  <a:pos x="2032" y="823"/>
                </a:cxn>
              </a:cxnLst>
              <a:rect l="0" t="0" r="r" b="b"/>
              <a:pathLst>
                <a:path w="2581" h="1906">
                  <a:moveTo>
                    <a:pt x="2032" y="823"/>
                  </a:moveTo>
                  <a:lnTo>
                    <a:pt x="1965" y="870"/>
                  </a:lnTo>
                  <a:lnTo>
                    <a:pt x="1969" y="918"/>
                  </a:lnTo>
                  <a:lnTo>
                    <a:pt x="2016" y="957"/>
                  </a:lnTo>
                  <a:lnTo>
                    <a:pt x="2063" y="961"/>
                  </a:lnTo>
                  <a:lnTo>
                    <a:pt x="2099" y="926"/>
                  </a:lnTo>
                  <a:lnTo>
                    <a:pt x="2166" y="933"/>
                  </a:lnTo>
                  <a:lnTo>
                    <a:pt x="2182" y="997"/>
                  </a:lnTo>
                  <a:lnTo>
                    <a:pt x="2123" y="1016"/>
                  </a:lnTo>
                  <a:lnTo>
                    <a:pt x="2072" y="1060"/>
                  </a:lnTo>
                  <a:lnTo>
                    <a:pt x="2091" y="1119"/>
                  </a:lnTo>
                  <a:lnTo>
                    <a:pt x="2131" y="1198"/>
                  </a:lnTo>
                  <a:lnTo>
                    <a:pt x="2190" y="1257"/>
                  </a:lnTo>
                  <a:lnTo>
                    <a:pt x="2190" y="1309"/>
                  </a:lnTo>
                  <a:lnTo>
                    <a:pt x="2201" y="1364"/>
                  </a:lnTo>
                  <a:lnTo>
                    <a:pt x="2225" y="1494"/>
                  </a:lnTo>
                  <a:lnTo>
                    <a:pt x="2193" y="1502"/>
                  </a:lnTo>
                  <a:lnTo>
                    <a:pt x="2186" y="1546"/>
                  </a:lnTo>
                  <a:lnTo>
                    <a:pt x="2142" y="1586"/>
                  </a:lnTo>
                  <a:lnTo>
                    <a:pt x="2146" y="1645"/>
                  </a:lnTo>
                  <a:lnTo>
                    <a:pt x="2103" y="1677"/>
                  </a:lnTo>
                  <a:lnTo>
                    <a:pt x="2072" y="1680"/>
                  </a:lnTo>
                  <a:lnTo>
                    <a:pt x="2063" y="1728"/>
                  </a:lnTo>
                  <a:lnTo>
                    <a:pt x="2028" y="1739"/>
                  </a:lnTo>
                  <a:lnTo>
                    <a:pt x="2020" y="1783"/>
                  </a:lnTo>
                  <a:lnTo>
                    <a:pt x="1941" y="1807"/>
                  </a:lnTo>
                  <a:lnTo>
                    <a:pt x="1882" y="1800"/>
                  </a:lnTo>
                  <a:lnTo>
                    <a:pt x="1811" y="1822"/>
                  </a:lnTo>
                  <a:lnTo>
                    <a:pt x="1739" y="1877"/>
                  </a:lnTo>
                  <a:lnTo>
                    <a:pt x="1708" y="1906"/>
                  </a:lnTo>
                  <a:lnTo>
                    <a:pt x="1688" y="1842"/>
                  </a:lnTo>
                  <a:lnTo>
                    <a:pt x="1660" y="1827"/>
                  </a:lnTo>
                  <a:lnTo>
                    <a:pt x="1641" y="1883"/>
                  </a:lnTo>
                  <a:lnTo>
                    <a:pt x="1573" y="1783"/>
                  </a:lnTo>
                  <a:lnTo>
                    <a:pt x="1502" y="1759"/>
                  </a:lnTo>
                  <a:lnTo>
                    <a:pt x="1455" y="1759"/>
                  </a:lnTo>
                  <a:lnTo>
                    <a:pt x="1384" y="1800"/>
                  </a:lnTo>
                  <a:lnTo>
                    <a:pt x="1349" y="1815"/>
                  </a:lnTo>
                  <a:lnTo>
                    <a:pt x="1356" y="1862"/>
                  </a:lnTo>
                  <a:lnTo>
                    <a:pt x="1293" y="1870"/>
                  </a:lnTo>
                  <a:lnTo>
                    <a:pt x="1281" y="1839"/>
                  </a:lnTo>
                  <a:lnTo>
                    <a:pt x="1237" y="1831"/>
                  </a:lnTo>
                  <a:lnTo>
                    <a:pt x="1225" y="1756"/>
                  </a:lnTo>
                  <a:lnTo>
                    <a:pt x="1202" y="1708"/>
                  </a:lnTo>
                  <a:lnTo>
                    <a:pt x="1150" y="1700"/>
                  </a:lnTo>
                  <a:lnTo>
                    <a:pt x="1154" y="1660"/>
                  </a:lnTo>
                  <a:lnTo>
                    <a:pt x="1187" y="1636"/>
                  </a:lnTo>
                  <a:lnTo>
                    <a:pt x="1205" y="1597"/>
                  </a:lnTo>
                  <a:lnTo>
                    <a:pt x="1187" y="1546"/>
                  </a:lnTo>
                  <a:lnTo>
                    <a:pt x="1174" y="1518"/>
                  </a:lnTo>
                  <a:lnTo>
                    <a:pt x="1123" y="1527"/>
                  </a:lnTo>
                  <a:lnTo>
                    <a:pt x="1092" y="1479"/>
                  </a:lnTo>
                  <a:lnTo>
                    <a:pt x="1040" y="1452"/>
                  </a:lnTo>
                  <a:lnTo>
                    <a:pt x="968" y="1452"/>
                  </a:lnTo>
                  <a:lnTo>
                    <a:pt x="913" y="1482"/>
                  </a:lnTo>
                  <a:lnTo>
                    <a:pt x="889" y="1517"/>
                  </a:lnTo>
                  <a:lnTo>
                    <a:pt x="814" y="1518"/>
                  </a:lnTo>
                  <a:lnTo>
                    <a:pt x="763" y="1494"/>
                  </a:lnTo>
                  <a:lnTo>
                    <a:pt x="740" y="1538"/>
                  </a:lnTo>
                  <a:lnTo>
                    <a:pt x="697" y="1522"/>
                  </a:lnTo>
                  <a:lnTo>
                    <a:pt x="595" y="1515"/>
                  </a:lnTo>
                  <a:lnTo>
                    <a:pt x="550" y="1491"/>
                  </a:lnTo>
                  <a:lnTo>
                    <a:pt x="515" y="1471"/>
                  </a:lnTo>
                  <a:lnTo>
                    <a:pt x="510" y="1419"/>
                  </a:lnTo>
                  <a:lnTo>
                    <a:pt x="495" y="1452"/>
                  </a:lnTo>
                  <a:lnTo>
                    <a:pt x="447" y="1429"/>
                  </a:lnTo>
                  <a:lnTo>
                    <a:pt x="408" y="1390"/>
                  </a:lnTo>
                  <a:lnTo>
                    <a:pt x="357" y="1388"/>
                  </a:lnTo>
                  <a:lnTo>
                    <a:pt x="317" y="1349"/>
                  </a:lnTo>
                  <a:lnTo>
                    <a:pt x="249" y="1336"/>
                  </a:lnTo>
                  <a:lnTo>
                    <a:pt x="249" y="1253"/>
                  </a:lnTo>
                  <a:lnTo>
                    <a:pt x="215" y="1226"/>
                  </a:lnTo>
                  <a:lnTo>
                    <a:pt x="162" y="1222"/>
                  </a:lnTo>
                  <a:lnTo>
                    <a:pt x="99" y="1261"/>
                  </a:lnTo>
                  <a:lnTo>
                    <a:pt x="55" y="1230"/>
                  </a:lnTo>
                  <a:lnTo>
                    <a:pt x="60" y="1167"/>
                  </a:lnTo>
                  <a:lnTo>
                    <a:pt x="37" y="1135"/>
                  </a:lnTo>
                  <a:lnTo>
                    <a:pt x="44" y="1091"/>
                  </a:lnTo>
                  <a:lnTo>
                    <a:pt x="44" y="1091"/>
                  </a:lnTo>
                  <a:lnTo>
                    <a:pt x="55" y="1017"/>
                  </a:lnTo>
                  <a:lnTo>
                    <a:pt x="55" y="977"/>
                  </a:lnTo>
                  <a:lnTo>
                    <a:pt x="48" y="982"/>
                  </a:lnTo>
                  <a:lnTo>
                    <a:pt x="0" y="951"/>
                  </a:lnTo>
                  <a:lnTo>
                    <a:pt x="9" y="879"/>
                  </a:lnTo>
                  <a:lnTo>
                    <a:pt x="44" y="852"/>
                  </a:lnTo>
                  <a:lnTo>
                    <a:pt x="111" y="896"/>
                  </a:lnTo>
                  <a:lnTo>
                    <a:pt x="131" y="872"/>
                  </a:lnTo>
                  <a:lnTo>
                    <a:pt x="127" y="844"/>
                  </a:lnTo>
                  <a:lnTo>
                    <a:pt x="206" y="829"/>
                  </a:lnTo>
                  <a:lnTo>
                    <a:pt x="222" y="800"/>
                  </a:lnTo>
                  <a:lnTo>
                    <a:pt x="258" y="785"/>
                  </a:lnTo>
                  <a:lnTo>
                    <a:pt x="261" y="658"/>
                  </a:lnTo>
                  <a:lnTo>
                    <a:pt x="226" y="643"/>
                  </a:lnTo>
                  <a:lnTo>
                    <a:pt x="241" y="610"/>
                  </a:lnTo>
                  <a:lnTo>
                    <a:pt x="333" y="599"/>
                  </a:lnTo>
                  <a:lnTo>
                    <a:pt x="348" y="575"/>
                  </a:lnTo>
                  <a:lnTo>
                    <a:pt x="352" y="513"/>
                  </a:lnTo>
                  <a:lnTo>
                    <a:pt x="399" y="489"/>
                  </a:lnTo>
                  <a:lnTo>
                    <a:pt x="455" y="504"/>
                  </a:lnTo>
                  <a:lnTo>
                    <a:pt x="475" y="402"/>
                  </a:lnTo>
                  <a:lnTo>
                    <a:pt x="499" y="378"/>
                  </a:lnTo>
                  <a:lnTo>
                    <a:pt x="534" y="369"/>
                  </a:lnTo>
                  <a:lnTo>
                    <a:pt x="546" y="334"/>
                  </a:lnTo>
                  <a:lnTo>
                    <a:pt x="574" y="314"/>
                  </a:lnTo>
                  <a:lnTo>
                    <a:pt x="598" y="348"/>
                  </a:lnTo>
                  <a:lnTo>
                    <a:pt x="664" y="384"/>
                  </a:lnTo>
                  <a:lnTo>
                    <a:pt x="681" y="436"/>
                  </a:lnTo>
                  <a:lnTo>
                    <a:pt x="712" y="510"/>
                  </a:lnTo>
                  <a:lnTo>
                    <a:pt x="815" y="530"/>
                  </a:lnTo>
                  <a:lnTo>
                    <a:pt x="861" y="543"/>
                  </a:lnTo>
                  <a:lnTo>
                    <a:pt x="913" y="570"/>
                  </a:lnTo>
                  <a:lnTo>
                    <a:pt x="946" y="626"/>
                  </a:lnTo>
                  <a:lnTo>
                    <a:pt x="977" y="657"/>
                  </a:lnTo>
                  <a:lnTo>
                    <a:pt x="1229" y="677"/>
                  </a:lnTo>
                  <a:lnTo>
                    <a:pt x="1285" y="692"/>
                  </a:lnTo>
                  <a:lnTo>
                    <a:pt x="1352" y="729"/>
                  </a:lnTo>
                  <a:lnTo>
                    <a:pt x="1419" y="708"/>
                  </a:lnTo>
                  <a:lnTo>
                    <a:pt x="1455" y="681"/>
                  </a:lnTo>
                  <a:lnTo>
                    <a:pt x="1546" y="692"/>
                  </a:lnTo>
                  <a:lnTo>
                    <a:pt x="1617" y="633"/>
                  </a:lnTo>
                  <a:lnTo>
                    <a:pt x="1625" y="578"/>
                  </a:lnTo>
                  <a:lnTo>
                    <a:pt x="1621" y="526"/>
                  </a:lnTo>
                  <a:lnTo>
                    <a:pt x="1684" y="546"/>
                  </a:lnTo>
                  <a:lnTo>
                    <a:pt x="1728" y="503"/>
                  </a:lnTo>
                  <a:lnTo>
                    <a:pt x="1767" y="471"/>
                  </a:lnTo>
                  <a:lnTo>
                    <a:pt x="1834" y="431"/>
                  </a:lnTo>
                  <a:lnTo>
                    <a:pt x="1914" y="396"/>
                  </a:lnTo>
                  <a:lnTo>
                    <a:pt x="1877" y="348"/>
                  </a:lnTo>
                  <a:lnTo>
                    <a:pt x="1804" y="357"/>
                  </a:lnTo>
                  <a:lnTo>
                    <a:pt x="1767" y="367"/>
                  </a:lnTo>
                  <a:lnTo>
                    <a:pt x="1757" y="348"/>
                  </a:lnTo>
                  <a:lnTo>
                    <a:pt x="1752" y="248"/>
                  </a:lnTo>
                  <a:lnTo>
                    <a:pt x="1763" y="210"/>
                  </a:lnTo>
                  <a:lnTo>
                    <a:pt x="1798" y="246"/>
                  </a:lnTo>
                  <a:lnTo>
                    <a:pt x="1858" y="246"/>
                  </a:lnTo>
                  <a:lnTo>
                    <a:pt x="1870" y="158"/>
                  </a:lnTo>
                  <a:lnTo>
                    <a:pt x="1905" y="127"/>
                  </a:lnTo>
                  <a:lnTo>
                    <a:pt x="1873" y="48"/>
                  </a:lnTo>
                  <a:lnTo>
                    <a:pt x="1897" y="0"/>
                  </a:lnTo>
                  <a:lnTo>
                    <a:pt x="2091" y="5"/>
                  </a:lnTo>
                  <a:lnTo>
                    <a:pt x="2138" y="55"/>
                  </a:lnTo>
                  <a:lnTo>
                    <a:pt x="2182" y="96"/>
                  </a:lnTo>
                  <a:lnTo>
                    <a:pt x="2214" y="135"/>
                  </a:lnTo>
                  <a:lnTo>
                    <a:pt x="2225" y="190"/>
                  </a:lnTo>
                  <a:lnTo>
                    <a:pt x="2261" y="234"/>
                  </a:lnTo>
                  <a:lnTo>
                    <a:pt x="2340" y="250"/>
                  </a:lnTo>
                  <a:lnTo>
                    <a:pt x="2376" y="282"/>
                  </a:lnTo>
                  <a:lnTo>
                    <a:pt x="2414" y="309"/>
                  </a:lnTo>
                  <a:lnTo>
                    <a:pt x="2431" y="337"/>
                  </a:lnTo>
                  <a:lnTo>
                    <a:pt x="2478" y="341"/>
                  </a:lnTo>
                  <a:lnTo>
                    <a:pt x="2558" y="325"/>
                  </a:lnTo>
                  <a:lnTo>
                    <a:pt x="2573" y="348"/>
                  </a:lnTo>
                  <a:lnTo>
                    <a:pt x="2581" y="388"/>
                  </a:lnTo>
                  <a:lnTo>
                    <a:pt x="2549" y="412"/>
                  </a:lnTo>
                  <a:lnTo>
                    <a:pt x="2545" y="526"/>
                  </a:lnTo>
                  <a:lnTo>
                    <a:pt x="2502" y="519"/>
                  </a:lnTo>
                  <a:lnTo>
                    <a:pt x="2478" y="565"/>
                  </a:lnTo>
                  <a:lnTo>
                    <a:pt x="2482" y="617"/>
                  </a:lnTo>
                  <a:lnTo>
                    <a:pt x="2526" y="626"/>
                  </a:lnTo>
                  <a:lnTo>
                    <a:pt x="2524" y="626"/>
                  </a:lnTo>
                  <a:lnTo>
                    <a:pt x="2478" y="661"/>
                  </a:lnTo>
                  <a:lnTo>
                    <a:pt x="2435" y="677"/>
                  </a:lnTo>
                  <a:lnTo>
                    <a:pt x="2387" y="729"/>
                  </a:lnTo>
                  <a:lnTo>
                    <a:pt x="2344" y="729"/>
                  </a:lnTo>
                  <a:lnTo>
                    <a:pt x="2304" y="712"/>
                  </a:lnTo>
                  <a:lnTo>
                    <a:pt x="2280" y="788"/>
                  </a:lnTo>
                  <a:lnTo>
                    <a:pt x="2237" y="815"/>
                  </a:lnTo>
                  <a:lnTo>
                    <a:pt x="2182" y="850"/>
                  </a:lnTo>
                  <a:lnTo>
                    <a:pt x="2114" y="874"/>
                  </a:lnTo>
                  <a:lnTo>
                    <a:pt x="2111" y="819"/>
                  </a:lnTo>
                  <a:lnTo>
                    <a:pt x="2099" y="767"/>
                  </a:lnTo>
                  <a:lnTo>
                    <a:pt x="2079" y="764"/>
                  </a:lnTo>
                  <a:lnTo>
                    <a:pt x="2052" y="788"/>
                  </a:lnTo>
                  <a:lnTo>
                    <a:pt x="2032" y="823"/>
                  </a:lnTo>
                </a:path>
              </a:pathLst>
            </a:custGeom>
            <a:solidFill>
              <a:srgbClr val="A0AEC4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9" name="Freeform 129"/>
            <p:cNvSpPr>
              <a:spLocks noChangeAspect="1"/>
            </p:cNvSpPr>
            <p:nvPr/>
          </p:nvSpPr>
          <p:spPr bwMode="auto">
            <a:xfrm>
              <a:off x="3932776" y="3050055"/>
              <a:ext cx="128352" cy="168621"/>
            </a:xfrm>
            <a:custGeom>
              <a:avLst/>
              <a:gdLst/>
              <a:ahLst/>
              <a:cxnLst>
                <a:cxn ang="0">
                  <a:pos x="214" y="0"/>
                </a:cxn>
                <a:cxn ang="0">
                  <a:pos x="218" y="84"/>
                </a:cxn>
                <a:cxn ang="0">
                  <a:pos x="190" y="99"/>
                </a:cxn>
                <a:cxn ang="0">
                  <a:pos x="166" y="143"/>
                </a:cxn>
                <a:cxn ang="0">
                  <a:pos x="122" y="163"/>
                </a:cxn>
                <a:cxn ang="0">
                  <a:pos x="174" y="213"/>
                </a:cxn>
                <a:cxn ang="0">
                  <a:pos x="159" y="261"/>
                </a:cxn>
                <a:cxn ang="0">
                  <a:pos x="95" y="285"/>
                </a:cxn>
                <a:cxn ang="0">
                  <a:pos x="67" y="257"/>
                </a:cxn>
                <a:cxn ang="0">
                  <a:pos x="12" y="234"/>
                </a:cxn>
                <a:cxn ang="0">
                  <a:pos x="48" y="206"/>
                </a:cxn>
                <a:cxn ang="0">
                  <a:pos x="52" y="154"/>
                </a:cxn>
                <a:cxn ang="0">
                  <a:pos x="12" y="143"/>
                </a:cxn>
                <a:cxn ang="0">
                  <a:pos x="0" y="143"/>
                </a:cxn>
                <a:cxn ang="0">
                  <a:pos x="43" y="116"/>
                </a:cxn>
                <a:cxn ang="0">
                  <a:pos x="67" y="40"/>
                </a:cxn>
                <a:cxn ang="0">
                  <a:pos x="107" y="57"/>
                </a:cxn>
                <a:cxn ang="0">
                  <a:pos x="150" y="57"/>
                </a:cxn>
                <a:cxn ang="0">
                  <a:pos x="198" y="5"/>
                </a:cxn>
                <a:cxn ang="0">
                  <a:pos x="214" y="0"/>
                </a:cxn>
              </a:cxnLst>
              <a:rect l="0" t="0" r="r" b="b"/>
              <a:pathLst>
                <a:path w="218" h="285">
                  <a:moveTo>
                    <a:pt x="214" y="0"/>
                  </a:moveTo>
                  <a:lnTo>
                    <a:pt x="218" y="84"/>
                  </a:lnTo>
                  <a:lnTo>
                    <a:pt x="190" y="99"/>
                  </a:lnTo>
                  <a:lnTo>
                    <a:pt x="166" y="143"/>
                  </a:lnTo>
                  <a:lnTo>
                    <a:pt x="122" y="163"/>
                  </a:lnTo>
                  <a:lnTo>
                    <a:pt x="174" y="213"/>
                  </a:lnTo>
                  <a:lnTo>
                    <a:pt x="159" y="261"/>
                  </a:lnTo>
                  <a:lnTo>
                    <a:pt x="95" y="285"/>
                  </a:lnTo>
                  <a:lnTo>
                    <a:pt x="67" y="257"/>
                  </a:lnTo>
                  <a:lnTo>
                    <a:pt x="12" y="234"/>
                  </a:lnTo>
                  <a:lnTo>
                    <a:pt x="48" y="206"/>
                  </a:lnTo>
                  <a:lnTo>
                    <a:pt x="52" y="154"/>
                  </a:lnTo>
                  <a:lnTo>
                    <a:pt x="12" y="143"/>
                  </a:lnTo>
                  <a:lnTo>
                    <a:pt x="0" y="143"/>
                  </a:lnTo>
                  <a:lnTo>
                    <a:pt x="43" y="116"/>
                  </a:lnTo>
                  <a:lnTo>
                    <a:pt x="67" y="40"/>
                  </a:lnTo>
                  <a:lnTo>
                    <a:pt x="107" y="57"/>
                  </a:lnTo>
                  <a:lnTo>
                    <a:pt x="150" y="57"/>
                  </a:lnTo>
                  <a:lnTo>
                    <a:pt x="198" y="5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Freeform 130"/>
            <p:cNvSpPr>
              <a:spLocks noChangeAspect="1"/>
            </p:cNvSpPr>
            <p:nvPr/>
          </p:nvSpPr>
          <p:spPr bwMode="auto">
            <a:xfrm>
              <a:off x="4136733" y="4462920"/>
              <a:ext cx="31648" cy="14200"/>
            </a:xfrm>
            <a:custGeom>
              <a:avLst/>
              <a:gdLst/>
              <a:ahLst/>
              <a:cxnLst>
                <a:cxn ang="0">
                  <a:pos x="28" y="23"/>
                </a:cxn>
                <a:cxn ang="0">
                  <a:pos x="28" y="23"/>
                </a:cxn>
                <a:cxn ang="0">
                  <a:pos x="17" y="22"/>
                </a:cxn>
                <a:cxn ang="0">
                  <a:pos x="8" y="19"/>
                </a:cxn>
                <a:cxn ang="0">
                  <a:pos x="1" y="15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9"/>
                </a:cxn>
                <a:cxn ang="0">
                  <a:pos x="1" y="8"/>
                </a:cxn>
                <a:cxn ang="0">
                  <a:pos x="8" y="4"/>
                </a:cxn>
                <a:cxn ang="0">
                  <a:pos x="17" y="2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38" y="2"/>
                </a:cxn>
                <a:cxn ang="0">
                  <a:pos x="48" y="4"/>
                </a:cxn>
                <a:cxn ang="0">
                  <a:pos x="53" y="8"/>
                </a:cxn>
                <a:cxn ang="0">
                  <a:pos x="55" y="9"/>
                </a:cxn>
                <a:cxn ang="0">
                  <a:pos x="55" y="12"/>
                </a:cxn>
                <a:cxn ang="0">
                  <a:pos x="55" y="12"/>
                </a:cxn>
                <a:cxn ang="0">
                  <a:pos x="55" y="14"/>
                </a:cxn>
                <a:cxn ang="0">
                  <a:pos x="53" y="15"/>
                </a:cxn>
                <a:cxn ang="0">
                  <a:pos x="48" y="19"/>
                </a:cxn>
                <a:cxn ang="0">
                  <a:pos x="38" y="22"/>
                </a:cxn>
                <a:cxn ang="0">
                  <a:pos x="28" y="23"/>
                </a:cxn>
                <a:cxn ang="0">
                  <a:pos x="28" y="23"/>
                </a:cxn>
              </a:cxnLst>
              <a:rect l="0" t="0" r="r" b="b"/>
              <a:pathLst>
                <a:path w="55" h="23">
                  <a:moveTo>
                    <a:pt x="28" y="23"/>
                  </a:moveTo>
                  <a:lnTo>
                    <a:pt x="28" y="23"/>
                  </a:lnTo>
                  <a:lnTo>
                    <a:pt x="17" y="22"/>
                  </a:lnTo>
                  <a:lnTo>
                    <a:pt x="8" y="19"/>
                  </a:lnTo>
                  <a:lnTo>
                    <a:pt x="1" y="15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9"/>
                  </a:lnTo>
                  <a:lnTo>
                    <a:pt x="1" y="8"/>
                  </a:lnTo>
                  <a:lnTo>
                    <a:pt x="8" y="4"/>
                  </a:lnTo>
                  <a:lnTo>
                    <a:pt x="17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8" y="2"/>
                  </a:lnTo>
                  <a:lnTo>
                    <a:pt x="48" y="4"/>
                  </a:lnTo>
                  <a:lnTo>
                    <a:pt x="53" y="8"/>
                  </a:lnTo>
                  <a:lnTo>
                    <a:pt x="55" y="9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4"/>
                  </a:lnTo>
                  <a:lnTo>
                    <a:pt x="53" y="15"/>
                  </a:lnTo>
                  <a:lnTo>
                    <a:pt x="48" y="19"/>
                  </a:lnTo>
                  <a:lnTo>
                    <a:pt x="38" y="22"/>
                  </a:lnTo>
                  <a:lnTo>
                    <a:pt x="28" y="23"/>
                  </a:lnTo>
                  <a:lnTo>
                    <a:pt x="28" y="2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Freeform 131"/>
            <p:cNvSpPr>
              <a:spLocks noChangeAspect="1"/>
            </p:cNvSpPr>
            <p:nvPr/>
          </p:nvSpPr>
          <p:spPr bwMode="auto">
            <a:xfrm>
              <a:off x="3173215" y="3550593"/>
              <a:ext cx="205715" cy="539587"/>
            </a:xfrm>
            <a:custGeom>
              <a:avLst/>
              <a:gdLst/>
              <a:ahLst/>
              <a:cxnLst>
                <a:cxn ang="0">
                  <a:pos x="6" y="348"/>
                </a:cxn>
                <a:cxn ang="0">
                  <a:pos x="24" y="309"/>
                </a:cxn>
                <a:cxn ang="0">
                  <a:pos x="24" y="218"/>
                </a:cxn>
                <a:cxn ang="0">
                  <a:pos x="65" y="175"/>
                </a:cxn>
                <a:cxn ang="0">
                  <a:pos x="85" y="111"/>
                </a:cxn>
                <a:cxn ang="0">
                  <a:pos x="120" y="63"/>
                </a:cxn>
                <a:cxn ang="0">
                  <a:pos x="179" y="36"/>
                </a:cxn>
                <a:cxn ang="0">
                  <a:pos x="183" y="9"/>
                </a:cxn>
                <a:cxn ang="0">
                  <a:pos x="234" y="0"/>
                </a:cxn>
                <a:cxn ang="0">
                  <a:pos x="247" y="28"/>
                </a:cxn>
                <a:cxn ang="0">
                  <a:pos x="265" y="79"/>
                </a:cxn>
                <a:cxn ang="0">
                  <a:pos x="247" y="118"/>
                </a:cxn>
                <a:cxn ang="0">
                  <a:pos x="214" y="142"/>
                </a:cxn>
                <a:cxn ang="0">
                  <a:pos x="210" y="182"/>
                </a:cxn>
                <a:cxn ang="0">
                  <a:pos x="262" y="190"/>
                </a:cxn>
                <a:cxn ang="0">
                  <a:pos x="285" y="238"/>
                </a:cxn>
                <a:cxn ang="0">
                  <a:pos x="297" y="313"/>
                </a:cxn>
                <a:cxn ang="0">
                  <a:pos x="341" y="321"/>
                </a:cxn>
                <a:cxn ang="0">
                  <a:pos x="353" y="352"/>
                </a:cxn>
                <a:cxn ang="0">
                  <a:pos x="333" y="396"/>
                </a:cxn>
                <a:cxn ang="0">
                  <a:pos x="306" y="420"/>
                </a:cxn>
                <a:cxn ang="0">
                  <a:pos x="258" y="439"/>
                </a:cxn>
                <a:cxn ang="0">
                  <a:pos x="254" y="523"/>
                </a:cxn>
                <a:cxn ang="0">
                  <a:pos x="265" y="554"/>
                </a:cxn>
                <a:cxn ang="0">
                  <a:pos x="302" y="601"/>
                </a:cxn>
                <a:cxn ang="0">
                  <a:pos x="289" y="680"/>
                </a:cxn>
                <a:cxn ang="0">
                  <a:pos x="293" y="720"/>
                </a:cxn>
                <a:cxn ang="0">
                  <a:pos x="309" y="779"/>
                </a:cxn>
                <a:cxn ang="0">
                  <a:pos x="348" y="814"/>
                </a:cxn>
                <a:cxn ang="0">
                  <a:pos x="317" y="882"/>
                </a:cxn>
                <a:cxn ang="0">
                  <a:pos x="297" y="913"/>
                </a:cxn>
                <a:cxn ang="0">
                  <a:pos x="278" y="827"/>
                </a:cxn>
                <a:cxn ang="0">
                  <a:pos x="265" y="768"/>
                </a:cxn>
                <a:cxn ang="0">
                  <a:pos x="230" y="740"/>
                </a:cxn>
                <a:cxn ang="0">
                  <a:pos x="247" y="624"/>
                </a:cxn>
                <a:cxn ang="0">
                  <a:pos x="203" y="558"/>
                </a:cxn>
                <a:cxn ang="0">
                  <a:pos x="179" y="593"/>
                </a:cxn>
                <a:cxn ang="0">
                  <a:pos x="147" y="624"/>
                </a:cxn>
                <a:cxn ang="0">
                  <a:pos x="100" y="609"/>
                </a:cxn>
                <a:cxn ang="0">
                  <a:pos x="92" y="506"/>
                </a:cxn>
                <a:cxn ang="0">
                  <a:pos x="80" y="459"/>
                </a:cxn>
                <a:cxn ang="0">
                  <a:pos x="41" y="407"/>
                </a:cxn>
                <a:cxn ang="0">
                  <a:pos x="0" y="372"/>
                </a:cxn>
                <a:cxn ang="0">
                  <a:pos x="6" y="348"/>
                </a:cxn>
              </a:cxnLst>
              <a:rect l="0" t="0" r="r" b="b"/>
              <a:pathLst>
                <a:path w="353" h="913">
                  <a:moveTo>
                    <a:pt x="6" y="348"/>
                  </a:moveTo>
                  <a:lnTo>
                    <a:pt x="24" y="309"/>
                  </a:lnTo>
                  <a:lnTo>
                    <a:pt x="24" y="218"/>
                  </a:lnTo>
                  <a:lnTo>
                    <a:pt x="65" y="175"/>
                  </a:lnTo>
                  <a:lnTo>
                    <a:pt x="85" y="111"/>
                  </a:lnTo>
                  <a:lnTo>
                    <a:pt x="120" y="63"/>
                  </a:lnTo>
                  <a:lnTo>
                    <a:pt x="179" y="36"/>
                  </a:lnTo>
                  <a:lnTo>
                    <a:pt x="183" y="9"/>
                  </a:lnTo>
                  <a:lnTo>
                    <a:pt x="234" y="0"/>
                  </a:lnTo>
                  <a:lnTo>
                    <a:pt x="247" y="28"/>
                  </a:lnTo>
                  <a:lnTo>
                    <a:pt x="265" y="79"/>
                  </a:lnTo>
                  <a:lnTo>
                    <a:pt x="247" y="118"/>
                  </a:lnTo>
                  <a:lnTo>
                    <a:pt x="214" y="142"/>
                  </a:lnTo>
                  <a:lnTo>
                    <a:pt x="210" y="182"/>
                  </a:lnTo>
                  <a:lnTo>
                    <a:pt x="262" y="190"/>
                  </a:lnTo>
                  <a:lnTo>
                    <a:pt x="285" y="238"/>
                  </a:lnTo>
                  <a:lnTo>
                    <a:pt x="297" y="313"/>
                  </a:lnTo>
                  <a:lnTo>
                    <a:pt x="341" y="321"/>
                  </a:lnTo>
                  <a:lnTo>
                    <a:pt x="353" y="352"/>
                  </a:lnTo>
                  <a:lnTo>
                    <a:pt x="333" y="396"/>
                  </a:lnTo>
                  <a:lnTo>
                    <a:pt x="306" y="420"/>
                  </a:lnTo>
                  <a:lnTo>
                    <a:pt x="258" y="439"/>
                  </a:lnTo>
                  <a:lnTo>
                    <a:pt x="254" y="523"/>
                  </a:lnTo>
                  <a:lnTo>
                    <a:pt x="265" y="554"/>
                  </a:lnTo>
                  <a:lnTo>
                    <a:pt x="302" y="601"/>
                  </a:lnTo>
                  <a:lnTo>
                    <a:pt x="289" y="680"/>
                  </a:lnTo>
                  <a:lnTo>
                    <a:pt x="293" y="720"/>
                  </a:lnTo>
                  <a:lnTo>
                    <a:pt x="309" y="779"/>
                  </a:lnTo>
                  <a:lnTo>
                    <a:pt x="348" y="814"/>
                  </a:lnTo>
                  <a:lnTo>
                    <a:pt x="317" y="882"/>
                  </a:lnTo>
                  <a:lnTo>
                    <a:pt x="297" y="913"/>
                  </a:lnTo>
                  <a:lnTo>
                    <a:pt x="278" y="827"/>
                  </a:lnTo>
                  <a:lnTo>
                    <a:pt x="265" y="768"/>
                  </a:lnTo>
                  <a:lnTo>
                    <a:pt x="230" y="740"/>
                  </a:lnTo>
                  <a:lnTo>
                    <a:pt x="247" y="624"/>
                  </a:lnTo>
                  <a:lnTo>
                    <a:pt x="203" y="558"/>
                  </a:lnTo>
                  <a:lnTo>
                    <a:pt x="179" y="593"/>
                  </a:lnTo>
                  <a:lnTo>
                    <a:pt x="147" y="624"/>
                  </a:lnTo>
                  <a:lnTo>
                    <a:pt x="100" y="609"/>
                  </a:lnTo>
                  <a:lnTo>
                    <a:pt x="92" y="506"/>
                  </a:lnTo>
                  <a:lnTo>
                    <a:pt x="80" y="459"/>
                  </a:lnTo>
                  <a:lnTo>
                    <a:pt x="41" y="407"/>
                  </a:lnTo>
                  <a:lnTo>
                    <a:pt x="0" y="372"/>
                  </a:lnTo>
                  <a:lnTo>
                    <a:pt x="6" y="34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Freeform 132"/>
            <p:cNvSpPr>
              <a:spLocks noChangeAspect="1"/>
            </p:cNvSpPr>
            <p:nvPr/>
          </p:nvSpPr>
          <p:spPr bwMode="auto">
            <a:xfrm>
              <a:off x="3254094" y="4249925"/>
              <a:ext cx="312967" cy="346116"/>
            </a:xfrm>
            <a:custGeom>
              <a:avLst/>
              <a:gdLst/>
              <a:ahLst/>
              <a:cxnLst>
                <a:cxn ang="0">
                  <a:pos x="201" y="92"/>
                </a:cxn>
                <a:cxn ang="0">
                  <a:pos x="134" y="64"/>
                </a:cxn>
                <a:cxn ang="0">
                  <a:pos x="79" y="0"/>
                </a:cxn>
                <a:cxn ang="0">
                  <a:pos x="7" y="7"/>
                </a:cxn>
                <a:cxn ang="0">
                  <a:pos x="0" y="35"/>
                </a:cxn>
                <a:cxn ang="0">
                  <a:pos x="83" y="92"/>
                </a:cxn>
                <a:cxn ang="0">
                  <a:pos x="153" y="154"/>
                </a:cxn>
                <a:cxn ang="0">
                  <a:pos x="201" y="198"/>
                </a:cxn>
                <a:cxn ang="0">
                  <a:pos x="217" y="265"/>
                </a:cxn>
                <a:cxn ang="0">
                  <a:pos x="245" y="324"/>
                </a:cxn>
                <a:cxn ang="0">
                  <a:pos x="339" y="451"/>
                </a:cxn>
                <a:cxn ang="0">
                  <a:pos x="422" y="550"/>
                </a:cxn>
                <a:cxn ang="0">
                  <a:pos x="449" y="585"/>
                </a:cxn>
                <a:cxn ang="0">
                  <a:pos x="532" y="550"/>
                </a:cxn>
                <a:cxn ang="0">
                  <a:pos x="521" y="498"/>
                </a:cxn>
                <a:cxn ang="0">
                  <a:pos x="521" y="434"/>
                </a:cxn>
                <a:cxn ang="0">
                  <a:pos x="497" y="399"/>
                </a:cxn>
                <a:cxn ang="0">
                  <a:pos x="427" y="375"/>
                </a:cxn>
                <a:cxn ang="0">
                  <a:pos x="427" y="344"/>
                </a:cxn>
                <a:cxn ang="0">
                  <a:pos x="403" y="305"/>
                </a:cxn>
                <a:cxn ang="0">
                  <a:pos x="398" y="249"/>
                </a:cxn>
                <a:cxn ang="0">
                  <a:pos x="351" y="202"/>
                </a:cxn>
                <a:cxn ang="0">
                  <a:pos x="287" y="166"/>
                </a:cxn>
                <a:cxn ang="0">
                  <a:pos x="201" y="92"/>
                </a:cxn>
              </a:cxnLst>
              <a:rect l="0" t="0" r="r" b="b"/>
              <a:pathLst>
                <a:path w="532" h="585">
                  <a:moveTo>
                    <a:pt x="201" y="92"/>
                  </a:moveTo>
                  <a:lnTo>
                    <a:pt x="134" y="64"/>
                  </a:lnTo>
                  <a:lnTo>
                    <a:pt x="79" y="0"/>
                  </a:lnTo>
                  <a:lnTo>
                    <a:pt x="7" y="7"/>
                  </a:lnTo>
                  <a:lnTo>
                    <a:pt x="0" y="35"/>
                  </a:lnTo>
                  <a:lnTo>
                    <a:pt x="83" y="92"/>
                  </a:lnTo>
                  <a:lnTo>
                    <a:pt x="153" y="154"/>
                  </a:lnTo>
                  <a:lnTo>
                    <a:pt x="201" y="198"/>
                  </a:lnTo>
                  <a:lnTo>
                    <a:pt x="217" y="265"/>
                  </a:lnTo>
                  <a:lnTo>
                    <a:pt x="245" y="324"/>
                  </a:lnTo>
                  <a:lnTo>
                    <a:pt x="339" y="451"/>
                  </a:lnTo>
                  <a:lnTo>
                    <a:pt x="422" y="550"/>
                  </a:lnTo>
                  <a:lnTo>
                    <a:pt x="449" y="585"/>
                  </a:lnTo>
                  <a:lnTo>
                    <a:pt x="532" y="550"/>
                  </a:lnTo>
                  <a:lnTo>
                    <a:pt x="521" y="498"/>
                  </a:lnTo>
                  <a:lnTo>
                    <a:pt x="521" y="434"/>
                  </a:lnTo>
                  <a:lnTo>
                    <a:pt x="497" y="399"/>
                  </a:lnTo>
                  <a:lnTo>
                    <a:pt x="427" y="375"/>
                  </a:lnTo>
                  <a:lnTo>
                    <a:pt x="427" y="344"/>
                  </a:lnTo>
                  <a:lnTo>
                    <a:pt x="403" y="305"/>
                  </a:lnTo>
                  <a:lnTo>
                    <a:pt x="398" y="249"/>
                  </a:lnTo>
                  <a:lnTo>
                    <a:pt x="351" y="202"/>
                  </a:lnTo>
                  <a:lnTo>
                    <a:pt x="287" y="166"/>
                  </a:lnTo>
                  <a:lnTo>
                    <a:pt x="201" y="9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Freeform 133"/>
            <p:cNvSpPr>
              <a:spLocks noChangeAspect="1"/>
            </p:cNvSpPr>
            <p:nvPr/>
          </p:nvSpPr>
          <p:spPr bwMode="auto">
            <a:xfrm>
              <a:off x="3545963" y="4455820"/>
              <a:ext cx="45714" cy="44374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0" y="5"/>
                </a:cxn>
                <a:cxn ang="0">
                  <a:pos x="68" y="32"/>
                </a:cxn>
                <a:cxn ang="0">
                  <a:pos x="79" y="72"/>
                </a:cxn>
                <a:cxn ang="0">
                  <a:pos x="48" y="76"/>
                </a:cxn>
                <a:cxn ang="0">
                  <a:pos x="0" y="28"/>
                </a:cxn>
                <a:cxn ang="0">
                  <a:pos x="4" y="0"/>
                </a:cxn>
              </a:cxnLst>
              <a:rect l="0" t="0" r="r" b="b"/>
              <a:pathLst>
                <a:path w="79" h="76">
                  <a:moveTo>
                    <a:pt x="4" y="0"/>
                  </a:moveTo>
                  <a:lnTo>
                    <a:pt x="40" y="5"/>
                  </a:lnTo>
                  <a:lnTo>
                    <a:pt x="68" y="32"/>
                  </a:lnTo>
                  <a:lnTo>
                    <a:pt x="79" y="72"/>
                  </a:lnTo>
                  <a:lnTo>
                    <a:pt x="48" y="76"/>
                  </a:lnTo>
                  <a:lnTo>
                    <a:pt x="0" y="28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 134"/>
            <p:cNvSpPr>
              <a:spLocks noChangeAspect="1"/>
            </p:cNvSpPr>
            <p:nvPr/>
          </p:nvSpPr>
          <p:spPr bwMode="auto">
            <a:xfrm>
              <a:off x="3545963" y="4455820"/>
              <a:ext cx="45714" cy="44374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0" y="5"/>
                </a:cxn>
                <a:cxn ang="0">
                  <a:pos x="68" y="32"/>
                </a:cxn>
                <a:cxn ang="0">
                  <a:pos x="79" y="72"/>
                </a:cxn>
                <a:cxn ang="0">
                  <a:pos x="48" y="76"/>
                </a:cxn>
                <a:cxn ang="0">
                  <a:pos x="0" y="28"/>
                </a:cxn>
                <a:cxn ang="0">
                  <a:pos x="4" y="0"/>
                </a:cxn>
              </a:cxnLst>
              <a:rect l="0" t="0" r="r" b="b"/>
              <a:pathLst>
                <a:path w="79" h="76">
                  <a:moveTo>
                    <a:pt x="4" y="0"/>
                  </a:moveTo>
                  <a:lnTo>
                    <a:pt x="40" y="5"/>
                  </a:lnTo>
                  <a:lnTo>
                    <a:pt x="68" y="32"/>
                  </a:lnTo>
                  <a:lnTo>
                    <a:pt x="79" y="72"/>
                  </a:lnTo>
                  <a:lnTo>
                    <a:pt x="48" y="76"/>
                  </a:lnTo>
                  <a:lnTo>
                    <a:pt x="0" y="28"/>
                  </a:lnTo>
                  <a:lnTo>
                    <a:pt x="4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 135"/>
            <p:cNvSpPr>
              <a:spLocks noChangeAspect="1"/>
            </p:cNvSpPr>
            <p:nvPr/>
          </p:nvSpPr>
          <p:spPr bwMode="auto">
            <a:xfrm>
              <a:off x="3551237" y="4592492"/>
              <a:ext cx="249671" cy="83423"/>
            </a:xfrm>
            <a:custGeom>
              <a:avLst/>
              <a:gdLst/>
              <a:ahLst/>
              <a:cxnLst>
                <a:cxn ang="0">
                  <a:pos x="64" y="3"/>
                </a:cxn>
                <a:cxn ang="0">
                  <a:pos x="23" y="18"/>
                </a:cxn>
                <a:cxn ang="0">
                  <a:pos x="0" y="51"/>
                </a:cxn>
                <a:cxn ang="0">
                  <a:pos x="27" y="94"/>
                </a:cxn>
                <a:cxn ang="0">
                  <a:pos x="111" y="94"/>
                </a:cxn>
                <a:cxn ang="0">
                  <a:pos x="143" y="110"/>
                </a:cxn>
                <a:cxn ang="0">
                  <a:pos x="218" y="110"/>
                </a:cxn>
                <a:cxn ang="0">
                  <a:pos x="222" y="141"/>
                </a:cxn>
                <a:cxn ang="0">
                  <a:pos x="356" y="141"/>
                </a:cxn>
                <a:cxn ang="0">
                  <a:pos x="391" y="141"/>
                </a:cxn>
                <a:cxn ang="0">
                  <a:pos x="423" y="141"/>
                </a:cxn>
                <a:cxn ang="0">
                  <a:pos x="426" y="106"/>
                </a:cxn>
                <a:cxn ang="0">
                  <a:pos x="384" y="86"/>
                </a:cxn>
                <a:cxn ang="0">
                  <a:pos x="391" y="51"/>
                </a:cxn>
                <a:cxn ang="0">
                  <a:pos x="352" y="55"/>
                </a:cxn>
                <a:cxn ang="0">
                  <a:pos x="301" y="51"/>
                </a:cxn>
                <a:cxn ang="0">
                  <a:pos x="261" y="27"/>
                </a:cxn>
                <a:cxn ang="0">
                  <a:pos x="194" y="23"/>
                </a:cxn>
                <a:cxn ang="0">
                  <a:pos x="126" y="0"/>
                </a:cxn>
                <a:cxn ang="0">
                  <a:pos x="64" y="3"/>
                </a:cxn>
              </a:cxnLst>
              <a:rect l="0" t="0" r="r" b="b"/>
              <a:pathLst>
                <a:path w="426" h="141">
                  <a:moveTo>
                    <a:pt x="64" y="3"/>
                  </a:moveTo>
                  <a:lnTo>
                    <a:pt x="23" y="18"/>
                  </a:lnTo>
                  <a:lnTo>
                    <a:pt x="0" y="51"/>
                  </a:lnTo>
                  <a:lnTo>
                    <a:pt x="27" y="94"/>
                  </a:lnTo>
                  <a:lnTo>
                    <a:pt x="111" y="94"/>
                  </a:lnTo>
                  <a:lnTo>
                    <a:pt x="143" y="110"/>
                  </a:lnTo>
                  <a:lnTo>
                    <a:pt x="218" y="110"/>
                  </a:lnTo>
                  <a:lnTo>
                    <a:pt x="222" y="141"/>
                  </a:lnTo>
                  <a:lnTo>
                    <a:pt x="356" y="141"/>
                  </a:lnTo>
                  <a:lnTo>
                    <a:pt x="391" y="141"/>
                  </a:lnTo>
                  <a:lnTo>
                    <a:pt x="423" y="141"/>
                  </a:lnTo>
                  <a:lnTo>
                    <a:pt x="426" y="106"/>
                  </a:lnTo>
                  <a:lnTo>
                    <a:pt x="384" y="86"/>
                  </a:lnTo>
                  <a:lnTo>
                    <a:pt x="391" y="51"/>
                  </a:lnTo>
                  <a:lnTo>
                    <a:pt x="352" y="55"/>
                  </a:lnTo>
                  <a:lnTo>
                    <a:pt x="301" y="51"/>
                  </a:lnTo>
                  <a:lnTo>
                    <a:pt x="261" y="27"/>
                  </a:lnTo>
                  <a:lnTo>
                    <a:pt x="194" y="23"/>
                  </a:lnTo>
                  <a:lnTo>
                    <a:pt x="126" y="0"/>
                  </a:lnTo>
                  <a:lnTo>
                    <a:pt x="64" y="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 136"/>
            <p:cNvSpPr>
              <a:spLocks noChangeAspect="1"/>
            </p:cNvSpPr>
            <p:nvPr/>
          </p:nvSpPr>
          <p:spPr bwMode="auto">
            <a:xfrm>
              <a:off x="3816732" y="4668815"/>
              <a:ext cx="22857" cy="15975"/>
            </a:xfrm>
            <a:custGeom>
              <a:avLst/>
              <a:gdLst/>
              <a:ahLst/>
              <a:cxnLst>
                <a:cxn ang="0">
                  <a:pos x="20" y="29"/>
                </a:cxn>
                <a:cxn ang="0">
                  <a:pos x="20" y="29"/>
                </a:cxn>
                <a:cxn ang="0">
                  <a:pos x="27" y="28"/>
                </a:cxn>
                <a:cxn ang="0">
                  <a:pos x="34" y="24"/>
                </a:cxn>
                <a:cxn ang="0">
                  <a:pos x="37" y="20"/>
                </a:cxn>
                <a:cxn ang="0">
                  <a:pos x="39" y="17"/>
                </a:cxn>
                <a:cxn ang="0">
                  <a:pos x="39" y="15"/>
                </a:cxn>
                <a:cxn ang="0">
                  <a:pos x="39" y="15"/>
                </a:cxn>
                <a:cxn ang="0">
                  <a:pos x="39" y="11"/>
                </a:cxn>
                <a:cxn ang="0">
                  <a:pos x="37" y="9"/>
                </a:cxn>
                <a:cxn ang="0">
                  <a:pos x="34" y="5"/>
                </a:cxn>
                <a:cxn ang="0">
                  <a:pos x="27" y="1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12" y="1"/>
                </a:cxn>
                <a:cxn ang="0">
                  <a:pos x="6" y="5"/>
                </a:cxn>
                <a:cxn ang="0">
                  <a:pos x="1" y="9"/>
                </a:cxn>
                <a:cxn ang="0">
                  <a:pos x="0" y="11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7"/>
                </a:cxn>
                <a:cxn ang="0">
                  <a:pos x="1" y="20"/>
                </a:cxn>
                <a:cxn ang="0">
                  <a:pos x="6" y="24"/>
                </a:cxn>
                <a:cxn ang="0">
                  <a:pos x="12" y="28"/>
                </a:cxn>
                <a:cxn ang="0">
                  <a:pos x="20" y="29"/>
                </a:cxn>
                <a:cxn ang="0">
                  <a:pos x="20" y="29"/>
                </a:cxn>
              </a:cxnLst>
              <a:rect l="0" t="0" r="r" b="b"/>
              <a:pathLst>
                <a:path w="39" h="29">
                  <a:moveTo>
                    <a:pt x="20" y="29"/>
                  </a:moveTo>
                  <a:lnTo>
                    <a:pt x="20" y="29"/>
                  </a:lnTo>
                  <a:lnTo>
                    <a:pt x="27" y="28"/>
                  </a:lnTo>
                  <a:lnTo>
                    <a:pt x="34" y="24"/>
                  </a:lnTo>
                  <a:lnTo>
                    <a:pt x="37" y="20"/>
                  </a:lnTo>
                  <a:lnTo>
                    <a:pt x="39" y="17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1"/>
                  </a:lnTo>
                  <a:lnTo>
                    <a:pt x="37" y="9"/>
                  </a:lnTo>
                  <a:lnTo>
                    <a:pt x="34" y="5"/>
                  </a:lnTo>
                  <a:lnTo>
                    <a:pt x="27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2" y="1"/>
                  </a:lnTo>
                  <a:lnTo>
                    <a:pt x="6" y="5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0"/>
                  </a:lnTo>
                  <a:lnTo>
                    <a:pt x="6" y="24"/>
                  </a:lnTo>
                  <a:lnTo>
                    <a:pt x="12" y="28"/>
                  </a:lnTo>
                  <a:lnTo>
                    <a:pt x="20" y="29"/>
                  </a:lnTo>
                  <a:lnTo>
                    <a:pt x="20" y="2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 137"/>
            <p:cNvSpPr>
              <a:spLocks noChangeAspect="1"/>
            </p:cNvSpPr>
            <p:nvPr/>
          </p:nvSpPr>
          <p:spPr bwMode="auto">
            <a:xfrm>
              <a:off x="3850139" y="4668815"/>
              <a:ext cx="10549" cy="15975"/>
            </a:xfrm>
            <a:custGeom>
              <a:avLst/>
              <a:gdLst/>
              <a:ahLst/>
              <a:cxnLst>
                <a:cxn ang="0">
                  <a:pos x="7" y="29"/>
                </a:cxn>
                <a:cxn ang="0">
                  <a:pos x="7" y="29"/>
                </a:cxn>
                <a:cxn ang="0">
                  <a:pos x="5" y="28"/>
                </a:cxn>
                <a:cxn ang="0">
                  <a:pos x="2" y="24"/>
                </a:cxn>
                <a:cxn ang="0">
                  <a:pos x="0" y="20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9"/>
                </a:cxn>
                <a:cxn ang="0">
                  <a:pos x="2" y="5"/>
                </a:cxn>
                <a:cxn ang="0">
                  <a:pos x="5" y="1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4" y="5"/>
                </a:cxn>
                <a:cxn ang="0">
                  <a:pos x="16" y="9"/>
                </a:cxn>
                <a:cxn ang="0">
                  <a:pos x="16" y="15"/>
                </a:cxn>
                <a:cxn ang="0">
                  <a:pos x="16" y="15"/>
                </a:cxn>
                <a:cxn ang="0">
                  <a:pos x="16" y="20"/>
                </a:cxn>
                <a:cxn ang="0">
                  <a:pos x="14" y="24"/>
                </a:cxn>
                <a:cxn ang="0">
                  <a:pos x="11" y="28"/>
                </a:cxn>
                <a:cxn ang="0">
                  <a:pos x="7" y="29"/>
                </a:cxn>
                <a:cxn ang="0">
                  <a:pos x="7" y="29"/>
                </a:cxn>
              </a:cxnLst>
              <a:rect l="0" t="0" r="r" b="b"/>
              <a:pathLst>
                <a:path w="16" h="29">
                  <a:moveTo>
                    <a:pt x="7" y="29"/>
                  </a:moveTo>
                  <a:lnTo>
                    <a:pt x="7" y="29"/>
                  </a:lnTo>
                  <a:lnTo>
                    <a:pt x="5" y="28"/>
                  </a:lnTo>
                  <a:lnTo>
                    <a:pt x="2" y="24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9"/>
                  </a:lnTo>
                  <a:lnTo>
                    <a:pt x="2" y="5"/>
                  </a:lnTo>
                  <a:lnTo>
                    <a:pt x="5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1"/>
                  </a:lnTo>
                  <a:lnTo>
                    <a:pt x="14" y="5"/>
                  </a:lnTo>
                  <a:lnTo>
                    <a:pt x="16" y="9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20"/>
                  </a:lnTo>
                  <a:lnTo>
                    <a:pt x="14" y="24"/>
                  </a:lnTo>
                  <a:lnTo>
                    <a:pt x="11" y="28"/>
                  </a:lnTo>
                  <a:lnTo>
                    <a:pt x="7" y="29"/>
                  </a:lnTo>
                  <a:lnTo>
                    <a:pt x="7" y="2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 138"/>
            <p:cNvSpPr>
              <a:spLocks noChangeAspect="1"/>
            </p:cNvSpPr>
            <p:nvPr/>
          </p:nvSpPr>
          <p:spPr bwMode="auto">
            <a:xfrm>
              <a:off x="3880029" y="4659940"/>
              <a:ext cx="26374" cy="28399"/>
            </a:xfrm>
            <a:custGeom>
              <a:avLst/>
              <a:gdLst/>
              <a:ahLst/>
              <a:cxnLst>
                <a:cxn ang="0">
                  <a:pos x="5" y="16"/>
                </a:cxn>
                <a:cxn ang="0">
                  <a:pos x="27" y="0"/>
                </a:cxn>
                <a:cxn ang="0">
                  <a:pos x="47" y="16"/>
                </a:cxn>
                <a:cxn ang="0">
                  <a:pos x="44" y="48"/>
                </a:cxn>
                <a:cxn ang="0">
                  <a:pos x="0" y="31"/>
                </a:cxn>
                <a:cxn ang="0">
                  <a:pos x="5" y="16"/>
                </a:cxn>
              </a:cxnLst>
              <a:rect l="0" t="0" r="r" b="b"/>
              <a:pathLst>
                <a:path w="47" h="48">
                  <a:moveTo>
                    <a:pt x="5" y="16"/>
                  </a:moveTo>
                  <a:lnTo>
                    <a:pt x="27" y="0"/>
                  </a:lnTo>
                  <a:lnTo>
                    <a:pt x="47" y="16"/>
                  </a:lnTo>
                  <a:lnTo>
                    <a:pt x="44" y="48"/>
                  </a:lnTo>
                  <a:lnTo>
                    <a:pt x="0" y="31"/>
                  </a:lnTo>
                  <a:lnTo>
                    <a:pt x="5" y="1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 139"/>
            <p:cNvSpPr>
              <a:spLocks noChangeAspect="1"/>
            </p:cNvSpPr>
            <p:nvPr/>
          </p:nvSpPr>
          <p:spPr bwMode="auto">
            <a:xfrm>
              <a:off x="3916952" y="4707864"/>
              <a:ext cx="35165" cy="21299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0" y="35"/>
                </a:cxn>
                <a:cxn ang="0">
                  <a:pos x="48" y="20"/>
                </a:cxn>
                <a:cxn ang="0">
                  <a:pos x="59" y="0"/>
                </a:cxn>
                <a:cxn ang="0">
                  <a:pos x="7" y="3"/>
                </a:cxn>
              </a:cxnLst>
              <a:rect l="0" t="0" r="r" b="b"/>
              <a:pathLst>
                <a:path w="59" h="35">
                  <a:moveTo>
                    <a:pt x="7" y="3"/>
                  </a:moveTo>
                  <a:lnTo>
                    <a:pt x="0" y="35"/>
                  </a:lnTo>
                  <a:lnTo>
                    <a:pt x="48" y="20"/>
                  </a:lnTo>
                  <a:lnTo>
                    <a:pt x="59" y="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 140"/>
            <p:cNvSpPr>
              <a:spLocks noChangeAspect="1"/>
            </p:cNvSpPr>
            <p:nvPr/>
          </p:nvSpPr>
          <p:spPr bwMode="auto">
            <a:xfrm>
              <a:off x="3941568" y="4670590"/>
              <a:ext cx="59780" cy="28399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56" y="0"/>
                </a:cxn>
                <a:cxn ang="0">
                  <a:pos x="103" y="19"/>
                </a:cxn>
                <a:cxn ang="0">
                  <a:pos x="68" y="46"/>
                </a:cxn>
                <a:cxn ang="0">
                  <a:pos x="9" y="35"/>
                </a:cxn>
                <a:cxn ang="0">
                  <a:pos x="0" y="7"/>
                </a:cxn>
              </a:cxnLst>
              <a:rect l="0" t="0" r="r" b="b"/>
              <a:pathLst>
                <a:path w="103" h="46">
                  <a:moveTo>
                    <a:pt x="0" y="7"/>
                  </a:moveTo>
                  <a:lnTo>
                    <a:pt x="56" y="0"/>
                  </a:lnTo>
                  <a:lnTo>
                    <a:pt x="103" y="19"/>
                  </a:lnTo>
                  <a:lnTo>
                    <a:pt x="68" y="46"/>
                  </a:lnTo>
                  <a:lnTo>
                    <a:pt x="9" y="3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 141"/>
            <p:cNvSpPr>
              <a:spLocks noChangeAspect="1"/>
            </p:cNvSpPr>
            <p:nvPr/>
          </p:nvSpPr>
          <p:spPr bwMode="auto">
            <a:xfrm>
              <a:off x="4018930" y="4707864"/>
              <a:ext cx="31648" cy="24849"/>
            </a:xfrm>
            <a:custGeom>
              <a:avLst/>
              <a:gdLst/>
              <a:ahLst/>
              <a:cxnLst>
                <a:cxn ang="0">
                  <a:pos x="55" y="0"/>
                </a:cxn>
                <a:cxn ang="0">
                  <a:pos x="20" y="3"/>
                </a:cxn>
                <a:cxn ang="0">
                  <a:pos x="0" y="40"/>
                </a:cxn>
                <a:cxn ang="0">
                  <a:pos x="28" y="40"/>
                </a:cxn>
                <a:cxn ang="0">
                  <a:pos x="55" y="16"/>
                </a:cxn>
                <a:cxn ang="0">
                  <a:pos x="55" y="0"/>
                </a:cxn>
              </a:cxnLst>
              <a:rect l="0" t="0" r="r" b="b"/>
              <a:pathLst>
                <a:path w="55" h="40">
                  <a:moveTo>
                    <a:pt x="55" y="0"/>
                  </a:moveTo>
                  <a:lnTo>
                    <a:pt x="20" y="3"/>
                  </a:lnTo>
                  <a:lnTo>
                    <a:pt x="0" y="40"/>
                  </a:lnTo>
                  <a:lnTo>
                    <a:pt x="28" y="40"/>
                  </a:lnTo>
                  <a:lnTo>
                    <a:pt x="55" y="16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 142"/>
            <p:cNvSpPr>
              <a:spLocks noChangeAspect="1"/>
            </p:cNvSpPr>
            <p:nvPr/>
          </p:nvSpPr>
          <p:spPr bwMode="auto">
            <a:xfrm>
              <a:off x="3626842" y="4202002"/>
              <a:ext cx="298901" cy="340792"/>
            </a:xfrm>
            <a:custGeom>
              <a:avLst/>
              <a:gdLst/>
              <a:ahLst/>
              <a:cxnLst>
                <a:cxn ang="0">
                  <a:pos x="108" y="281"/>
                </a:cxn>
                <a:cxn ang="0">
                  <a:pos x="13" y="278"/>
                </a:cxn>
                <a:cxn ang="0">
                  <a:pos x="0" y="352"/>
                </a:cxn>
                <a:cxn ang="0">
                  <a:pos x="33" y="373"/>
                </a:cxn>
                <a:cxn ang="0">
                  <a:pos x="37" y="428"/>
                </a:cxn>
                <a:cxn ang="0">
                  <a:pos x="75" y="435"/>
                </a:cxn>
                <a:cxn ang="0">
                  <a:pos x="83" y="503"/>
                </a:cxn>
                <a:cxn ang="0">
                  <a:pos x="107" y="507"/>
                </a:cxn>
                <a:cxn ang="0">
                  <a:pos x="127" y="535"/>
                </a:cxn>
                <a:cxn ang="0">
                  <a:pos x="195" y="551"/>
                </a:cxn>
                <a:cxn ang="0">
                  <a:pos x="217" y="519"/>
                </a:cxn>
                <a:cxn ang="0">
                  <a:pos x="258" y="527"/>
                </a:cxn>
                <a:cxn ang="0">
                  <a:pos x="281" y="575"/>
                </a:cxn>
                <a:cxn ang="0">
                  <a:pos x="340" y="570"/>
                </a:cxn>
                <a:cxn ang="0">
                  <a:pos x="352" y="531"/>
                </a:cxn>
                <a:cxn ang="0">
                  <a:pos x="376" y="492"/>
                </a:cxn>
                <a:cxn ang="0">
                  <a:pos x="376" y="448"/>
                </a:cxn>
                <a:cxn ang="0">
                  <a:pos x="416" y="413"/>
                </a:cxn>
                <a:cxn ang="0">
                  <a:pos x="436" y="337"/>
                </a:cxn>
                <a:cxn ang="0">
                  <a:pos x="475" y="321"/>
                </a:cxn>
                <a:cxn ang="0">
                  <a:pos x="475" y="273"/>
                </a:cxn>
                <a:cxn ang="0">
                  <a:pos x="431" y="242"/>
                </a:cxn>
                <a:cxn ang="0">
                  <a:pos x="428" y="162"/>
                </a:cxn>
                <a:cxn ang="0">
                  <a:pos x="468" y="134"/>
                </a:cxn>
                <a:cxn ang="0">
                  <a:pos x="511" y="99"/>
                </a:cxn>
                <a:cxn ang="0">
                  <a:pos x="500" y="51"/>
                </a:cxn>
                <a:cxn ang="0">
                  <a:pos x="445" y="40"/>
                </a:cxn>
                <a:cxn ang="0">
                  <a:pos x="413" y="27"/>
                </a:cxn>
                <a:cxn ang="0">
                  <a:pos x="358" y="0"/>
                </a:cxn>
                <a:cxn ang="0">
                  <a:pos x="349" y="40"/>
                </a:cxn>
                <a:cxn ang="0">
                  <a:pos x="314" y="60"/>
                </a:cxn>
                <a:cxn ang="0">
                  <a:pos x="301" y="115"/>
                </a:cxn>
                <a:cxn ang="0">
                  <a:pos x="263" y="134"/>
                </a:cxn>
                <a:cxn ang="0">
                  <a:pos x="219" y="165"/>
                </a:cxn>
                <a:cxn ang="0">
                  <a:pos x="196" y="213"/>
                </a:cxn>
                <a:cxn ang="0">
                  <a:pos x="139" y="209"/>
                </a:cxn>
                <a:cxn ang="0">
                  <a:pos x="128" y="253"/>
                </a:cxn>
                <a:cxn ang="0">
                  <a:pos x="108" y="281"/>
                </a:cxn>
              </a:cxnLst>
              <a:rect l="0" t="0" r="r" b="b"/>
              <a:pathLst>
                <a:path w="511" h="575">
                  <a:moveTo>
                    <a:pt x="108" y="281"/>
                  </a:moveTo>
                  <a:lnTo>
                    <a:pt x="13" y="278"/>
                  </a:lnTo>
                  <a:lnTo>
                    <a:pt x="0" y="352"/>
                  </a:lnTo>
                  <a:lnTo>
                    <a:pt x="33" y="373"/>
                  </a:lnTo>
                  <a:lnTo>
                    <a:pt x="37" y="428"/>
                  </a:lnTo>
                  <a:lnTo>
                    <a:pt x="75" y="435"/>
                  </a:lnTo>
                  <a:lnTo>
                    <a:pt x="83" y="503"/>
                  </a:lnTo>
                  <a:lnTo>
                    <a:pt x="107" y="507"/>
                  </a:lnTo>
                  <a:lnTo>
                    <a:pt x="127" y="535"/>
                  </a:lnTo>
                  <a:lnTo>
                    <a:pt x="195" y="551"/>
                  </a:lnTo>
                  <a:lnTo>
                    <a:pt x="217" y="519"/>
                  </a:lnTo>
                  <a:lnTo>
                    <a:pt x="258" y="527"/>
                  </a:lnTo>
                  <a:lnTo>
                    <a:pt x="281" y="575"/>
                  </a:lnTo>
                  <a:lnTo>
                    <a:pt x="340" y="570"/>
                  </a:lnTo>
                  <a:lnTo>
                    <a:pt x="352" y="531"/>
                  </a:lnTo>
                  <a:lnTo>
                    <a:pt x="376" y="492"/>
                  </a:lnTo>
                  <a:lnTo>
                    <a:pt x="376" y="448"/>
                  </a:lnTo>
                  <a:lnTo>
                    <a:pt x="416" y="413"/>
                  </a:lnTo>
                  <a:lnTo>
                    <a:pt x="436" y="337"/>
                  </a:lnTo>
                  <a:lnTo>
                    <a:pt x="475" y="321"/>
                  </a:lnTo>
                  <a:lnTo>
                    <a:pt x="475" y="273"/>
                  </a:lnTo>
                  <a:lnTo>
                    <a:pt x="431" y="242"/>
                  </a:lnTo>
                  <a:lnTo>
                    <a:pt x="428" y="162"/>
                  </a:lnTo>
                  <a:lnTo>
                    <a:pt x="468" y="134"/>
                  </a:lnTo>
                  <a:lnTo>
                    <a:pt x="511" y="99"/>
                  </a:lnTo>
                  <a:lnTo>
                    <a:pt x="500" y="51"/>
                  </a:lnTo>
                  <a:lnTo>
                    <a:pt x="445" y="40"/>
                  </a:lnTo>
                  <a:lnTo>
                    <a:pt x="413" y="27"/>
                  </a:lnTo>
                  <a:lnTo>
                    <a:pt x="358" y="0"/>
                  </a:lnTo>
                  <a:lnTo>
                    <a:pt x="349" y="40"/>
                  </a:lnTo>
                  <a:lnTo>
                    <a:pt x="314" y="60"/>
                  </a:lnTo>
                  <a:lnTo>
                    <a:pt x="301" y="115"/>
                  </a:lnTo>
                  <a:lnTo>
                    <a:pt x="263" y="134"/>
                  </a:lnTo>
                  <a:lnTo>
                    <a:pt x="219" y="165"/>
                  </a:lnTo>
                  <a:lnTo>
                    <a:pt x="196" y="213"/>
                  </a:lnTo>
                  <a:lnTo>
                    <a:pt x="139" y="209"/>
                  </a:lnTo>
                  <a:lnTo>
                    <a:pt x="128" y="253"/>
                  </a:lnTo>
                  <a:lnTo>
                    <a:pt x="108" y="28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 143"/>
            <p:cNvSpPr>
              <a:spLocks noChangeAspect="1"/>
            </p:cNvSpPr>
            <p:nvPr/>
          </p:nvSpPr>
          <p:spPr bwMode="auto">
            <a:xfrm>
              <a:off x="3895853" y="4359973"/>
              <a:ext cx="177583" cy="228969"/>
            </a:xfrm>
            <a:custGeom>
              <a:avLst/>
              <a:gdLst/>
              <a:ahLst/>
              <a:cxnLst>
                <a:cxn ang="0">
                  <a:pos x="76" y="51"/>
                </a:cxn>
                <a:cxn ang="0">
                  <a:pos x="68" y="114"/>
                </a:cxn>
                <a:cxn ang="0">
                  <a:pos x="44" y="142"/>
                </a:cxn>
                <a:cxn ang="0">
                  <a:pos x="37" y="189"/>
                </a:cxn>
                <a:cxn ang="0">
                  <a:pos x="0" y="213"/>
                </a:cxn>
                <a:cxn ang="0">
                  <a:pos x="0" y="296"/>
                </a:cxn>
                <a:cxn ang="0">
                  <a:pos x="41" y="316"/>
                </a:cxn>
                <a:cxn ang="0">
                  <a:pos x="48" y="371"/>
                </a:cxn>
                <a:cxn ang="0">
                  <a:pos x="88" y="379"/>
                </a:cxn>
                <a:cxn ang="0">
                  <a:pos x="103" y="289"/>
                </a:cxn>
                <a:cxn ang="0">
                  <a:pos x="135" y="281"/>
                </a:cxn>
                <a:cxn ang="0">
                  <a:pos x="131" y="351"/>
                </a:cxn>
                <a:cxn ang="0">
                  <a:pos x="167" y="364"/>
                </a:cxn>
                <a:cxn ang="0">
                  <a:pos x="179" y="388"/>
                </a:cxn>
                <a:cxn ang="0">
                  <a:pos x="219" y="379"/>
                </a:cxn>
                <a:cxn ang="0">
                  <a:pos x="214" y="328"/>
                </a:cxn>
                <a:cxn ang="0">
                  <a:pos x="159" y="226"/>
                </a:cxn>
                <a:cxn ang="0">
                  <a:pos x="186" y="202"/>
                </a:cxn>
                <a:cxn ang="0">
                  <a:pos x="214" y="150"/>
                </a:cxn>
                <a:cxn ang="0">
                  <a:pos x="195" y="130"/>
                </a:cxn>
                <a:cxn ang="0">
                  <a:pos x="162" y="147"/>
                </a:cxn>
                <a:cxn ang="0">
                  <a:pos x="131" y="162"/>
                </a:cxn>
                <a:cxn ang="0">
                  <a:pos x="112" y="103"/>
                </a:cxn>
                <a:cxn ang="0">
                  <a:pos x="103" y="48"/>
                </a:cxn>
                <a:cxn ang="0">
                  <a:pos x="127" y="55"/>
                </a:cxn>
                <a:cxn ang="0">
                  <a:pos x="155" y="75"/>
                </a:cxn>
                <a:cxn ang="0">
                  <a:pos x="203" y="68"/>
                </a:cxn>
                <a:cxn ang="0">
                  <a:pos x="226" y="83"/>
                </a:cxn>
                <a:cxn ang="0">
                  <a:pos x="278" y="68"/>
                </a:cxn>
                <a:cxn ang="0">
                  <a:pos x="305" y="51"/>
                </a:cxn>
                <a:cxn ang="0">
                  <a:pos x="293" y="0"/>
                </a:cxn>
                <a:cxn ang="0">
                  <a:pos x="265" y="0"/>
                </a:cxn>
                <a:cxn ang="0">
                  <a:pos x="246" y="35"/>
                </a:cxn>
                <a:cxn ang="0">
                  <a:pos x="144" y="27"/>
                </a:cxn>
                <a:cxn ang="0">
                  <a:pos x="85" y="31"/>
                </a:cxn>
                <a:cxn ang="0">
                  <a:pos x="76" y="51"/>
                </a:cxn>
              </a:cxnLst>
              <a:rect l="0" t="0" r="r" b="b"/>
              <a:pathLst>
                <a:path w="305" h="388">
                  <a:moveTo>
                    <a:pt x="76" y="51"/>
                  </a:moveTo>
                  <a:lnTo>
                    <a:pt x="68" y="114"/>
                  </a:lnTo>
                  <a:lnTo>
                    <a:pt x="44" y="142"/>
                  </a:lnTo>
                  <a:lnTo>
                    <a:pt x="37" y="189"/>
                  </a:lnTo>
                  <a:lnTo>
                    <a:pt x="0" y="213"/>
                  </a:lnTo>
                  <a:lnTo>
                    <a:pt x="0" y="296"/>
                  </a:lnTo>
                  <a:lnTo>
                    <a:pt x="41" y="316"/>
                  </a:lnTo>
                  <a:lnTo>
                    <a:pt x="48" y="371"/>
                  </a:lnTo>
                  <a:lnTo>
                    <a:pt x="88" y="379"/>
                  </a:lnTo>
                  <a:lnTo>
                    <a:pt x="103" y="289"/>
                  </a:lnTo>
                  <a:lnTo>
                    <a:pt x="135" y="281"/>
                  </a:lnTo>
                  <a:lnTo>
                    <a:pt x="131" y="351"/>
                  </a:lnTo>
                  <a:lnTo>
                    <a:pt x="167" y="364"/>
                  </a:lnTo>
                  <a:lnTo>
                    <a:pt x="179" y="388"/>
                  </a:lnTo>
                  <a:lnTo>
                    <a:pt x="219" y="379"/>
                  </a:lnTo>
                  <a:lnTo>
                    <a:pt x="214" y="328"/>
                  </a:lnTo>
                  <a:lnTo>
                    <a:pt x="159" y="226"/>
                  </a:lnTo>
                  <a:lnTo>
                    <a:pt x="186" y="202"/>
                  </a:lnTo>
                  <a:lnTo>
                    <a:pt x="214" y="150"/>
                  </a:lnTo>
                  <a:lnTo>
                    <a:pt x="195" y="130"/>
                  </a:lnTo>
                  <a:lnTo>
                    <a:pt x="162" y="147"/>
                  </a:lnTo>
                  <a:lnTo>
                    <a:pt x="131" y="162"/>
                  </a:lnTo>
                  <a:lnTo>
                    <a:pt x="112" y="103"/>
                  </a:lnTo>
                  <a:lnTo>
                    <a:pt x="103" y="48"/>
                  </a:lnTo>
                  <a:lnTo>
                    <a:pt x="127" y="55"/>
                  </a:lnTo>
                  <a:lnTo>
                    <a:pt x="155" y="75"/>
                  </a:lnTo>
                  <a:lnTo>
                    <a:pt x="203" y="68"/>
                  </a:lnTo>
                  <a:lnTo>
                    <a:pt x="226" y="83"/>
                  </a:lnTo>
                  <a:lnTo>
                    <a:pt x="278" y="68"/>
                  </a:lnTo>
                  <a:lnTo>
                    <a:pt x="305" y="51"/>
                  </a:lnTo>
                  <a:lnTo>
                    <a:pt x="293" y="0"/>
                  </a:lnTo>
                  <a:lnTo>
                    <a:pt x="265" y="0"/>
                  </a:lnTo>
                  <a:lnTo>
                    <a:pt x="246" y="35"/>
                  </a:lnTo>
                  <a:lnTo>
                    <a:pt x="144" y="27"/>
                  </a:lnTo>
                  <a:lnTo>
                    <a:pt x="85" y="31"/>
                  </a:lnTo>
                  <a:lnTo>
                    <a:pt x="76" y="5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 144"/>
            <p:cNvSpPr>
              <a:spLocks noChangeAspect="1"/>
            </p:cNvSpPr>
            <p:nvPr/>
          </p:nvSpPr>
          <p:spPr bwMode="auto">
            <a:xfrm>
              <a:off x="3438710" y="3964158"/>
              <a:ext cx="151209" cy="134897"/>
            </a:xfrm>
            <a:custGeom>
              <a:avLst/>
              <a:gdLst/>
              <a:ahLst/>
              <a:cxnLst>
                <a:cxn ang="0">
                  <a:pos x="107" y="189"/>
                </a:cxn>
                <a:cxn ang="0">
                  <a:pos x="48" y="206"/>
                </a:cxn>
                <a:cxn ang="0">
                  <a:pos x="40" y="130"/>
                </a:cxn>
                <a:cxn ang="0">
                  <a:pos x="0" y="99"/>
                </a:cxn>
                <a:cxn ang="0">
                  <a:pos x="20" y="44"/>
                </a:cxn>
                <a:cxn ang="0">
                  <a:pos x="64" y="0"/>
                </a:cxn>
                <a:cxn ang="0">
                  <a:pos x="107" y="27"/>
                </a:cxn>
                <a:cxn ang="0">
                  <a:pos x="154" y="20"/>
                </a:cxn>
                <a:cxn ang="0">
                  <a:pos x="186" y="55"/>
                </a:cxn>
                <a:cxn ang="0">
                  <a:pos x="234" y="20"/>
                </a:cxn>
                <a:cxn ang="0">
                  <a:pos x="254" y="35"/>
                </a:cxn>
                <a:cxn ang="0">
                  <a:pos x="257" y="123"/>
                </a:cxn>
                <a:cxn ang="0">
                  <a:pos x="226" y="147"/>
                </a:cxn>
                <a:cxn ang="0">
                  <a:pos x="182" y="189"/>
                </a:cxn>
                <a:cxn ang="0">
                  <a:pos x="139" y="226"/>
                </a:cxn>
                <a:cxn ang="0">
                  <a:pos x="107" y="189"/>
                </a:cxn>
              </a:cxnLst>
              <a:rect l="0" t="0" r="r" b="b"/>
              <a:pathLst>
                <a:path w="257" h="226">
                  <a:moveTo>
                    <a:pt x="107" y="189"/>
                  </a:moveTo>
                  <a:lnTo>
                    <a:pt x="48" y="206"/>
                  </a:lnTo>
                  <a:lnTo>
                    <a:pt x="40" y="130"/>
                  </a:lnTo>
                  <a:lnTo>
                    <a:pt x="0" y="99"/>
                  </a:lnTo>
                  <a:lnTo>
                    <a:pt x="20" y="44"/>
                  </a:lnTo>
                  <a:lnTo>
                    <a:pt x="64" y="0"/>
                  </a:lnTo>
                  <a:lnTo>
                    <a:pt x="107" y="27"/>
                  </a:lnTo>
                  <a:lnTo>
                    <a:pt x="154" y="20"/>
                  </a:lnTo>
                  <a:lnTo>
                    <a:pt x="186" y="55"/>
                  </a:lnTo>
                  <a:lnTo>
                    <a:pt x="234" y="20"/>
                  </a:lnTo>
                  <a:lnTo>
                    <a:pt x="254" y="35"/>
                  </a:lnTo>
                  <a:lnTo>
                    <a:pt x="257" y="123"/>
                  </a:lnTo>
                  <a:lnTo>
                    <a:pt x="226" y="147"/>
                  </a:lnTo>
                  <a:lnTo>
                    <a:pt x="182" y="189"/>
                  </a:lnTo>
                  <a:lnTo>
                    <a:pt x="139" y="226"/>
                  </a:lnTo>
                  <a:lnTo>
                    <a:pt x="107" y="18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 145"/>
            <p:cNvSpPr>
              <a:spLocks noChangeAspect="1"/>
            </p:cNvSpPr>
            <p:nvPr/>
          </p:nvSpPr>
          <p:spPr bwMode="auto">
            <a:xfrm>
              <a:off x="3433435" y="3692589"/>
              <a:ext cx="202198" cy="468588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27" y="111"/>
                </a:cxn>
                <a:cxn ang="0">
                  <a:pos x="106" y="139"/>
                </a:cxn>
                <a:cxn ang="0">
                  <a:pos x="114" y="170"/>
                </a:cxn>
                <a:cxn ang="0">
                  <a:pos x="103" y="221"/>
                </a:cxn>
                <a:cxn ang="0">
                  <a:pos x="134" y="258"/>
                </a:cxn>
                <a:cxn ang="0">
                  <a:pos x="206" y="360"/>
                </a:cxn>
                <a:cxn ang="0">
                  <a:pos x="245" y="388"/>
                </a:cxn>
                <a:cxn ang="0">
                  <a:pos x="245" y="479"/>
                </a:cxn>
                <a:cxn ang="0">
                  <a:pos x="265" y="494"/>
                </a:cxn>
                <a:cxn ang="0">
                  <a:pos x="268" y="582"/>
                </a:cxn>
                <a:cxn ang="0">
                  <a:pos x="237" y="606"/>
                </a:cxn>
                <a:cxn ang="0">
                  <a:pos x="193" y="648"/>
                </a:cxn>
                <a:cxn ang="0">
                  <a:pos x="150" y="685"/>
                </a:cxn>
                <a:cxn ang="0">
                  <a:pos x="169" y="712"/>
                </a:cxn>
                <a:cxn ang="0">
                  <a:pos x="145" y="744"/>
                </a:cxn>
                <a:cxn ang="0">
                  <a:pos x="162" y="792"/>
                </a:cxn>
                <a:cxn ang="0">
                  <a:pos x="245" y="727"/>
                </a:cxn>
                <a:cxn ang="0">
                  <a:pos x="316" y="665"/>
                </a:cxn>
                <a:cxn ang="0">
                  <a:pos x="335" y="637"/>
                </a:cxn>
                <a:cxn ang="0">
                  <a:pos x="347" y="518"/>
                </a:cxn>
                <a:cxn ang="0">
                  <a:pos x="324" y="416"/>
                </a:cxn>
                <a:cxn ang="0">
                  <a:pos x="257" y="344"/>
                </a:cxn>
                <a:cxn ang="0">
                  <a:pos x="178" y="253"/>
                </a:cxn>
                <a:cxn ang="0">
                  <a:pos x="178" y="190"/>
                </a:cxn>
                <a:cxn ang="0">
                  <a:pos x="201" y="162"/>
                </a:cxn>
                <a:cxn ang="0">
                  <a:pos x="257" y="124"/>
                </a:cxn>
                <a:cxn ang="0">
                  <a:pos x="189" y="24"/>
                </a:cxn>
                <a:cxn ang="0">
                  <a:pos x="118" y="0"/>
                </a:cxn>
                <a:cxn ang="0">
                  <a:pos x="71" y="0"/>
                </a:cxn>
                <a:cxn ang="0">
                  <a:pos x="0" y="41"/>
                </a:cxn>
              </a:cxnLst>
              <a:rect l="0" t="0" r="r" b="b"/>
              <a:pathLst>
                <a:path w="347" h="792">
                  <a:moveTo>
                    <a:pt x="0" y="41"/>
                  </a:moveTo>
                  <a:lnTo>
                    <a:pt x="27" y="111"/>
                  </a:lnTo>
                  <a:lnTo>
                    <a:pt x="106" y="139"/>
                  </a:lnTo>
                  <a:lnTo>
                    <a:pt x="114" y="170"/>
                  </a:lnTo>
                  <a:lnTo>
                    <a:pt x="103" y="221"/>
                  </a:lnTo>
                  <a:lnTo>
                    <a:pt x="134" y="258"/>
                  </a:lnTo>
                  <a:lnTo>
                    <a:pt x="206" y="360"/>
                  </a:lnTo>
                  <a:lnTo>
                    <a:pt x="245" y="388"/>
                  </a:lnTo>
                  <a:lnTo>
                    <a:pt x="245" y="479"/>
                  </a:lnTo>
                  <a:lnTo>
                    <a:pt x="265" y="494"/>
                  </a:lnTo>
                  <a:lnTo>
                    <a:pt x="268" y="582"/>
                  </a:lnTo>
                  <a:lnTo>
                    <a:pt x="237" y="606"/>
                  </a:lnTo>
                  <a:lnTo>
                    <a:pt x="193" y="648"/>
                  </a:lnTo>
                  <a:lnTo>
                    <a:pt x="150" y="685"/>
                  </a:lnTo>
                  <a:lnTo>
                    <a:pt x="169" y="712"/>
                  </a:lnTo>
                  <a:lnTo>
                    <a:pt x="145" y="744"/>
                  </a:lnTo>
                  <a:lnTo>
                    <a:pt x="162" y="792"/>
                  </a:lnTo>
                  <a:lnTo>
                    <a:pt x="245" y="727"/>
                  </a:lnTo>
                  <a:lnTo>
                    <a:pt x="316" y="665"/>
                  </a:lnTo>
                  <a:lnTo>
                    <a:pt x="335" y="637"/>
                  </a:lnTo>
                  <a:lnTo>
                    <a:pt x="347" y="518"/>
                  </a:lnTo>
                  <a:lnTo>
                    <a:pt x="324" y="416"/>
                  </a:lnTo>
                  <a:lnTo>
                    <a:pt x="257" y="344"/>
                  </a:lnTo>
                  <a:lnTo>
                    <a:pt x="178" y="253"/>
                  </a:lnTo>
                  <a:lnTo>
                    <a:pt x="178" y="190"/>
                  </a:lnTo>
                  <a:lnTo>
                    <a:pt x="201" y="162"/>
                  </a:lnTo>
                  <a:lnTo>
                    <a:pt x="257" y="124"/>
                  </a:lnTo>
                  <a:lnTo>
                    <a:pt x="189" y="24"/>
                  </a:lnTo>
                  <a:lnTo>
                    <a:pt x="118" y="0"/>
                  </a:lnTo>
                  <a:lnTo>
                    <a:pt x="71" y="0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 146"/>
            <p:cNvSpPr>
              <a:spLocks noChangeAspect="1"/>
            </p:cNvSpPr>
            <p:nvPr/>
          </p:nvSpPr>
          <p:spPr bwMode="auto">
            <a:xfrm>
              <a:off x="4300249" y="4457595"/>
              <a:ext cx="265495" cy="241394"/>
            </a:xfrm>
            <a:custGeom>
              <a:avLst/>
              <a:gdLst/>
              <a:ahLst/>
              <a:cxnLst>
                <a:cxn ang="0">
                  <a:pos x="397" y="77"/>
                </a:cxn>
                <a:cxn ang="0">
                  <a:pos x="348" y="60"/>
                </a:cxn>
                <a:cxn ang="0">
                  <a:pos x="254" y="20"/>
                </a:cxn>
                <a:cxn ang="0">
                  <a:pos x="226" y="0"/>
                </a:cxn>
                <a:cxn ang="0">
                  <a:pos x="175" y="12"/>
                </a:cxn>
                <a:cxn ang="0">
                  <a:pos x="127" y="64"/>
                </a:cxn>
                <a:cxn ang="0">
                  <a:pos x="72" y="95"/>
                </a:cxn>
                <a:cxn ang="0">
                  <a:pos x="20" y="103"/>
                </a:cxn>
                <a:cxn ang="0">
                  <a:pos x="0" y="110"/>
                </a:cxn>
                <a:cxn ang="0">
                  <a:pos x="20" y="146"/>
                </a:cxn>
                <a:cxn ang="0">
                  <a:pos x="68" y="138"/>
                </a:cxn>
                <a:cxn ang="0">
                  <a:pos x="131" y="174"/>
                </a:cxn>
                <a:cxn ang="0">
                  <a:pos x="175" y="202"/>
                </a:cxn>
                <a:cxn ang="0">
                  <a:pos x="217" y="241"/>
                </a:cxn>
                <a:cxn ang="0">
                  <a:pos x="222" y="292"/>
                </a:cxn>
                <a:cxn ang="0">
                  <a:pos x="210" y="316"/>
                </a:cxn>
                <a:cxn ang="0">
                  <a:pos x="171" y="332"/>
                </a:cxn>
                <a:cxn ang="0">
                  <a:pos x="178" y="371"/>
                </a:cxn>
                <a:cxn ang="0">
                  <a:pos x="237" y="367"/>
                </a:cxn>
                <a:cxn ang="0">
                  <a:pos x="293" y="367"/>
                </a:cxn>
                <a:cxn ang="0">
                  <a:pos x="313" y="391"/>
                </a:cxn>
                <a:cxn ang="0">
                  <a:pos x="352" y="406"/>
                </a:cxn>
                <a:cxn ang="0">
                  <a:pos x="407" y="388"/>
                </a:cxn>
                <a:cxn ang="0">
                  <a:pos x="431" y="344"/>
                </a:cxn>
                <a:cxn ang="0">
                  <a:pos x="452" y="311"/>
                </a:cxn>
                <a:cxn ang="0">
                  <a:pos x="397" y="77"/>
                </a:cxn>
              </a:cxnLst>
              <a:rect l="0" t="0" r="r" b="b"/>
              <a:pathLst>
                <a:path w="452" h="406">
                  <a:moveTo>
                    <a:pt x="397" y="77"/>
                  </a:moveTo>
                  <a:lnTo>
                    <a:pt x="348" y="60"/>
                  </a:lnTo>
                  <a:lnTo>
                    <a:pt x="254" y="20"/>
                  </a:lnTo>
                  <a:lnTo>
                    <a:pt x="226" y="0"/>
                  </a:lnTo>
                  <a:lnTo>
                    <a:pt x="175" y="12"/>
                  </a:lnTo>
                  <a:lnTo>
                    <a:pt x="127" y="64"/>
                  </a:lnTo>
                  <a:lnTo>
                    <a:pt x="72" y="95"/>
                  </a:lnTo>
                  <a:lnTo>
                    <a:pt x="20" y="103"/>
                  </a:lnTo>
                  <a:lnTo>
                    <a:pt x="0" y="110"/>
                  </a:lnTo>
                  <a:lnTo>
                    <a:pt x="20" y="146"/>
                  </a:lnTo>
                  <a:lnTo>
                    <a:pt x="68" y="138"/>
                  </a:lnTo>
                  <a:lnTo>
                    <a:pt x="131" y="174"/>
                  </a:lnTo>
                  <a:lnTo>
                    <a:pt x="175" y="202"/>
                  </a:lnTo>
                  <a:lnTo>
                    <a:pt x="217" y="241"/>
                  </a:lnTo>
                  <a:lnTo>
                    <a:pt x="222" y="292"/>
                  </a:lnTo>
                  <a:lnTo>
                    <a:pt x="210" y="316"/>
                  </a:lnTo>
                  <a:lnTo>
                    <a:pt x="171" y="332"/>
                  </a:lnTo>
                  <a:lnTo>
                    <a:pt x="178" y="371"/>
                  </a:lnTo>
                  <a:lnTo>
                    <a:pt x="237" y="367"/>
                  </a:lnTo>
                  <a:lnTo>
                    <a:pt x="293" y="367"/>
                  </a:lnTo>
                  <a:lnTo>
                    <a:pt x="313" y="391"/>
                  </a:lnTo>
                  <a:lnTo>
                    <a:pt x="352" y="406"/>
                  </a:lnTo>
                  <a:lnTo>
                    <a:pt x="407" y="388"/>
                  </a:lnTo>
                  <a:lnTo>
                    <a:pt x="431" y="344"/>
                  </a:lnTo>
                  <a:lnTo>
                    <a:pt x="452" y="311"/>
                  </a:lnTo>
                  <a:lnTo>
                    <a:pt x="397" y="7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 147"/>
            <p:cNvSpPr>
              <a:spLocks noChangeAspect="1"/>
            </p:cNvSpPr>
            <p:nvPr/>
          </p:nvSpPr>
          <p:spPr bwMode="auto">
            <a:xfrm>
              <a:off x="4124425" y="4328024"/>
              <a:ext cx="47473" cy="97623"/>
            </a:xfrm>
            <a:custGeom>
              <a:avLst/>
              <a:gdLst/>
              <a:ahLst/>
              <a:cxnLst>
                <a:cxn ang="0">
                  <a:pos x="40" y="67"/>
                </a:cxn>
                <a:cxn ang="0">
                  <a:pos x="0" y="86"/>
                </a:cxn>
                <a:cxn ang="0">
                  <a:pos x="13" y="134"/>
                </a:cxn>
                <a:cxn ang="0">
                  <a:pos x="59" y="165"/>
                </a:cxn>
                <a:cxn ang="0">
                  <a:pos x="75" y="99"/>
                </a:cxn>
                <a:cxn ang="0">
                  <a:pos x="79" y="43"/>
                </a:cxn>
                <a:cxn ang="0">
                  <a:pos x="63" y="0"/>
                </a:cxn>
                <a:cxn ang="0">
                  <a:pos x="40" y="20"/>
                </a:cxn>
                <a:cxn ang="0">
                  <a:pos x="40" y="67"/>
                </a:cxn>
              </a:cxnLst>
              <a:rect l="0" t="0" r="r" b="b"/>
              <a:pathLst>
                <a:path w="79" h="165">
                  <a:moveTo>
                    <a:pt x="40" y="67"/>
                  </a:moveTo>
                  <a:lnTo>
                    <a:pt x="0" y="86"/>
                  </a:lnTo>
                  <a:lnTo>
                    <a:pt x="13" y="134"/>
                  </a:lnTo>
                  <a:lnTo>
                    <a:pt x="59" y="165"/>
                  </a:lnTo>
                  <a:lnTo>
                    <a:pt x="75" y="99"/>
                  </a:lnTo>
                  <a:lnTo>
                    <a:pt x="79" y="43"/>
                  </a:lnTo>
                  <a:lnTo>
                    <a:pt x="63" y="0"/>
                  </a:lnTo>
                  <a:lnTo>
                    <a:pt x="40" y="20"/>
                  </a:lnTo>
                  <a:lnTo>
                    <a:pt x="40" y="6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Freeform 148"/>
            <p:cNvSpPr>
              <a:spLocks noChangeAspect="1"/>
            </p:cNvSpPr>
            <p:nvPr/>
          </p:nvSpPr>
          <p:spPr bwMode="auto">
            <a:xfrm>
              <a:off x="4161348" y="4493094"/>
              <a:ext cx="66813" cy="33724"/>
            </a:xfrm>
            <a:custGeom>
              <a:avLst/>
              <a:gdLst/>
              <a:ahLst/>
              <a:cxnLst>
                <a:cxn ang="0">
                  <a:pos x="12" y="11"/>
                </a:cxn>
                <a:cxn ang="0">
                  <a:pos x="51" y="0"/>
                </a:cxn>
                <a:cxn ang="0">
                  <a:pos x="84" y="0"/>
                </a:cxn>
                <a:cxn ang="0">
                  <a:pos x="107" y="31"/>
                </a:cxn>
                <a:cxn ang="0">
                  <a:pos x="112" y="55"/>
                </a:cxn>
                <a:cxn ang="0">
                  <a:pos x="75" y="39"/>
                </a:cxn>
                <a:cxn ang="0">
                  <a:pos x="40" y="31"/>
                </a:cxn>
                <a:cxn ang="0">
                  <a:pos x="0" y="39"/>
                </a:cxn>
                <a:cxn ang="0">
                  <a:pos x="12" y="11"/>
                </a:cxn>
              </a:cxnLst>
              <a:rect l="0" t="0" r="r" b="b"/>
              <a:pathLst>
                <a:path w="112" h="55">
                  <a:moveTo>
                    <a:pt x="12" y="11"/>
                  </a:moveTo>
                  <a:lnTo>
                    <a:pt x="51" y="0"/>
                  </a:lnTo>
                  <a:lnTo>
                    <a:pt x="84" y="0"/>
                  </a:lnTo>
                  <a:lnTo>
                    <a:pt x="107" y="31"/>
                  </a:lnTo>
                  <a:lnTo>
                    <a:pt x="112" y="55"/>
                  </a:lnTo>
                  <a:lnTo>
                    <a:pt x="75" y="39"/>
                  </a:lnTo>
                  <a:lnTo>
                    <a:pt x="40" y="31"/>
                  </a:lnTo>
                  <a:lnTo>
                    <a:pt x="0" y="39"/>
                  </a:lnTo>
                  <a:lnTo>
                    <a:pt x="12" y="1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Freeform 149"/>
            <p:cNvSpPr>
              <a:spLocks noChangeAspect="1"/>
            </p:cNvSpPr>
            <p:nvPr/>
          </p:nvSpPr>
          <p:spPr bwMode="auto">
            <a:xfrm>
              <a:off x="4064645" y="4466470"/>
              <a:ext cx="49231" cy="8875"/>
            </a:xfrm>
            <a:custGeom>
              <a:avLst/>
              <a:gdLst/>
              <a:ahLst/>
              <a:cxnLst>
                <a:cxn ang="0">
                  <a:pos x="42" y="17"/>
                </a:cxn>
                <a:cxn ang="0">
                  <a:pos x="42" y="17"/>
                </a:cxn>
                <a:cxn ang="0">
                  <a:pos x="25" y="17"/>
                </a:cxn>
                <a:cxn ang="0">
                  <a:pos x="13" y="14"/>
                </a:cxn>
                <a:cxn ang="0">
                  <a:pos x="3" y="12"/>
                </a:cxn>
                <a:cxn ang="0">
                  <a:pos x="1" y="10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1" y="7"/>
                </a:cxn>
                <a:cxn ang="0">
                  <a:pos x="3" y="5"/>
                </a:cxn>
                <a:cxn ang="0">
                  <a:pos x="13" y="3"/>
                </a:cxn>
                <a:cxn ang="0">
                  <a:pos x="25" y="0"/>
                </a:cxn>
                <a:cxn ang="0">
                  <a:pos x="42" y="0"/>
                </a:cxn>
                <a:cxn ang="0">
                  <a:pos x="42" y="0"/>
                </a:cxn>
                <a:cxn ang="0">
                  <a:pos x="58" y="0"/>
                </a:cxn>
                <a:cxn ang="0">
                  <a:pos x="72" y="3"/>
                </a:cxn>
                <a:cxn ang="0">
                  <a:pos x="81" y="5"/>
                </a:cxn>
                <a:cxn ang="0">
                  <a:pos x="83" y="7"/>
                </a:cxn>
                <a:cxn ang="0">
                  <a:pos x="84" y="9"/>
                </a:cxn>
                <a:cxn ang="0">
                  <a:pos x="84" y="9"/>
                </a:cxn>
                <a:cxn ang="0">
                  <a:pos x="83" y="10"/>
                </a:cxn>
                <a:cxn ang="0">
                  <a:pos x="81" y="12"/>
                </a:cxn>
                <a:cxn ang="0">
                  <a:pos x="72" y="14"/>
                </a:cxn>
                <a:cxn ang="0">
                  <a:pos x="58" y="17"/>
                </a:cxn>
                <a:cxn ang="0">
                  <a:pos x="42" y="17"/>
                </a:cxn>
                <a:cxn ang="0">
                  <a:pos x="42" y="17"/>
                </a:cxn>
              </a:cxnLst>
              <a:rect l="0" t="0" r="r" b="b"/>
              <a:pathLst>
                <a:path w="84" h="17">
                  <a:moveTo>
                    <a:pt x="42" y="17"/>
                  </a:moveTo>
                  <a:lnTo>
                    <a:pt x="42" y="17"/>
                  </a:lnTo>
                  <a:lnTo>
                    <a:pt x="25" y="17"/>
                  </a:lnTo>
                  <a:lnTo>
                    <a:pt x="13" y="14"/>
                  </a:lnTo>
                  <a:lnTo>
                    <a:pt x="3" y="12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7"/>
                  </a:lnTo>
                  <a:lnTo>
                    <a:pt x="3" y="5"/>
                  </a:lnTo>
                  <a:lnTo>
                    <a:pt x="13" y="3"/>
                  </a:lnTo>
                  <a:lnTo>
                    <a:pt x="25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8" y="0"/>
                  </a:lnTo>
                  <a:lnTo>
                    <a:pt x="72" y="3"/>
                  </a:lnTo>
                  <a:lnTo>
                    <a:pt x="81" y="5"/>
                  </a:lnTo>
                  <a:lnTo>
                    <a:pt x="83" y="7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3" y="10"/>
                  </a:lnTo>
                  <a:lnTo>
                    <a:pt x="81" y="12"/>
                  </a:lnTo>
                  <a:lnTo>
                    <a:pt x="72" y="14"/>
                  </a:lnTo>
                  <a:lnTo>
                    <a:pt x="58" y="17"/>
                  </a:lnTo>
                  <a:lnTo>
                    <a:pt x="42" y="17"/>
                  </a:lnTo>
                  <a:lnTo>
                    <a:pt x="42" y="1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Freeform 150"/>
            <p:cNvSpPr>
              <a:spLocks noChangeAspect="1"/>
            </p:cNvSpPr>
            <p:nvPr/>
          </p:nvSpPr>
          <p:spPr bwMode="auto">
            <a:xfrm>
              <a:off x="4314315" y="4436296"/>
              <a:ext cx="66813" cy="46149"/>
            </a:xfrm>
            <a:custGeom>
              <a:avLst/>
              <a:gdLst/>
              <a:ahLst/>
              <a:cxnLst>
                <a:cxn ang="0">
                  <a:pos x="44" y="72"/>
                </a:cxn>
                <a:cxn ang="0">
                  <a:pos x="0" y="76"/>
                </a:cxn>
                <a:cxn ang="0">
                  <a:pos x="8" y="39"/>
                </a:cxn>
                <a:cxn ang="0">
                  <a:pos x="28" y="0"/>
                </a:cxn>
                <a:cxn ang="0">
                  <a:pos x="75" y="8"/>
                </a:cxn>
                <a:cxn ang="0">
                  <a:pos x="114" y="20"/>
                </a:cxn>
                <a:cxn ang="0">
                  <a:pos x="103" y="48"/>
                </a:cxn>
                <a:cxn ang="0">
                  <a:pos x="72" y="76"/>
                </a:cxn>
                <a:cxn ang="0">
                  <a:pos x="44" y="72"/>
                </a:cxn>
              </a:cxnLst>
              <a:rect l="0" t="0" r="r" b="b"/>
              <a:pathLst>
                <a:path w="114" h="76">
                  <a:moveTo>
                    <a:pt x="44" y="72"/>
                  </a:moveTo>
                  <a:lnTo>
                    <a:pt x="0" y="76"/>
                  </a:lnTo>
                  <a:lnTo>
                    <a:pt x="8" y="39"/>
                  </a:lnTo>
                  <a:lnTo>
                    <a:pt x="28" y="0"/>
                  </a:lnTo>
                  <a:lnTo>
                    <a:pt x="75" y="8"/>
                  </a:lnTo>
                  <a:lnTo>
                    <a:pt x="114" y="20"/>
                  </a:lnTo>
                  <a:lnTo>
                    <a:pt x="103" y="48"/>
                  </a:lnTo>
                  <a:lnTo>
                    <a:pt x="72" y="76"/>
                  </a:lnTo>
                  <a:lnTo>
                    <a:pt x="44" y="7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Freeform 151"/>
            <p:cNvSpPr>
              <a:spLocks noChangeAspect="1"/>
            </p:cNvSpPr>
            <p:nvPr/>
          </p:nvSpPr>
          <p:spPr bwMode="auto">
            <a:xfrm>
              <a:off x="3605743" y="3793762"/>
              <a:ext cx="50989" cy="76323"/>
            </a:xfrm>
            <a:custGeom>
              <a:avLst/>
              <a:gdLst/>
              <a:ahLst/>
              <a:cxnLst>
                <a:cxn ang="0">
                  <a:pos x="28" y="27"/>
                </a:cxn>
                <a:cxn ang="0">
                  <a:pos x="0" y="70"/>
                </a:cxn>
                <a:cxn ang="0">
                  <a:pos x="4" y="129"/>
                </a:cxn>
                <a:cxn ang="0">
                  <a:pos x="44" y="129"/>
                </a:cxn>
                <a:cxn ang="0">
                  <a:pos x="87" y="74"/>
                </a:cxn>
                <a:cxn ang="0">
                  <a:pos x="59" y="0"/>
                </a:cxn>
                <a:cxn ang="0">
                  <a:pos x="28" y="27"/>
                </a:cxn>
              </a:cxnLst>
              <a:rect l="0" t="0" r="r" b="b"/>
              <a:pathLst>
                <a:path w="87" h="129">
                  <a:moveTo>
                    <a:pt x="28" y="27"/>
                  </a:moveTo>
                  <a:lnTo>
                    <a:pt x="0" y="70"/>
                  </a:lnTo>
                  <a:lnTo>
                    <a:pt x="4" y="129"/>
                  </a:lnTo>
                  <a:lnTo>
                    <a:pt x="44" y="129"/>
                  </a:lnTo>
                  <a:lnTo>
                    <a:pt x="87" y="74"/>
                  </a:lnTo>
                  <a:lnTo>
                    <a:pt x="59" y="0"/>
                  </a:lnTo>
                  <a:lnTo>
                    <a:pt x="28" y="2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2" name="Freeform 152"/>
            <p:cNvSpPr>
              <a:spLocks noChangeAspect="1"/>
            </p:cNvSpPr>
            <p:nvPr/>
          </p:nvSpPr>
          <p:spPr bwMode="auto">
            <a:xfrm>
              <a:off x="3802666" y="4226851"/>
              <a:ext cx="33407" cy="44374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13" y="20"/>
                </a:cxn>
                <a:cxn ang="0">
                  <a:pos x="0" y="75"/>
                </a:cxn>
                <a:cxn ang="0">
                  <a:pos x="43" y="53"/>
                </a:cxn>
                <a:cxn ang="0">
                  <a:pos x="56" y="25"/>
                </a:cxn>
                <a:cxn ang="0">
                  <a:pos x="48" y="0"/>
                </a:cxn>
              </a:cxnLst>
              <a:rect l="0" t="0" r="r" b="b"/>
              <a:pathLst>
                <a:path w="56" h="75">
                  <a:moveTo>
                    <a:pt x="48" y="0"/>
                  </a:moveTo>
                  <a:lnTo>
                    <a:pt x="13" y="20"/>
                  </a:lnTo>
                  <a:lnTo>
                    <a:pt x="0" y="75"/>
                  </a:lnTo>
                  <a:lnTo>
                    <a:pt x="43" y="53"/>
                  </a:lnTo>
                  <a:lnTo>
                    <a:pt x="56" y="25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3" name="Freeform 153"/>
            <p:cNvSpPr>
              <a:spLocks noChangeAspect="1"/>
            </p:cNvSpPr>
            <p:nvPr/>
          </p:nvSpPr>
          <p:spPr bwMode="auto">
            <a:xfrm>
              <a:off x="1865081" y="3138803"/>
              <a:ext cx="527473" cy="486338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44" y="139"/>
                </a:cxn>
                <a:cxn ang="0">
                  <a:pos x="62" y="235"/>
                </a:cxn>
                <a:cxn ang="0">
                  <a:pos x="102" y="291"/>
                </a:cxn>
                <a:cxn ang="0">
                  <a:pos x="71" y="362"/>
                </a:cxn>
                <a:cxn ang="0">
                  <a:pos x="122" y="421"/>
                </a:cxn>
                <a:cxn ang="0">
                  <a:pos x="185" y="421"/>
                </a:cxn>
                <a:cxn ang="0">
                  <a:pos x="178" y="504"/>
                </a:cxn>
                <a:cxn ang="0">
                  <a:pos x="209" y="559"/>
                </a:cxn>
                <a:cxn ang="0">
                  <a:pos x="272" y="571"/>
                </a:cxn>
                <a:cxn ang="0">
                  <a:pos x="299" y="594"/>
                </a:cxn>
                <a:cxn ang="0">
                  <a:pos x="351" y="670"/>
                </a:cxn>
                <a:cxn ang="0">
                  <a:pos x="387" y="701"/>
                </a:cxn>
                <a:cxn ang="0">
                  <a:pos x="549" y="745"/>
                </a:cxn>
                <a:cxn ang="0">
                  <a:pos x="596" y="721"/>
                </a:cxn>
                <a:cxn ang="0">
                  <a:pos x="660" y="824"/>
                </a:cxn>
                <a:cxn ang="0">
                  <a:pos x="825" y="824"/>
                </a:cxn>
                <a:cxn ang="0">
                  <a:pos x="873" y="769"/>
                </a:cxn>
                <a:cxn ang="0">
                  <a:pos x="884" y="705"/>
                </a:cxn>
                <a:cxn ang="0">
                  <a:pos x="837" y="650"/>
                </a:cxn>
                <a:cxn ang="0">
                  <a:pos x="790" y="583"/>
                </a:cxn>
                <a:cxn ang="0">
                  <a:pos x="798" y="496"/>
                </a:cxn>
                <a:cxn ang="0">
                  <a:pos x="754" y="385"/>
                </a:cxn>
                <a:cxn ang="0">
                  <a:pos x="758" y="211"/>
                </a:cxn>
                <a:cxn ang="0">
                  <a:pos x="623" y="129"/>
                </a:cxn>
                <a:cxn ang="0">
                  <a:pos x="493" y="108"/>
                </a:cxn>
                <a:cxn ang="0">
                  <a:pos x="426" y="167"/>
                </a:cxn>
                <a:cxn ang="0">
                  <a:pos x="355" y="208"/>
                </a:cxn>
                <a:cxn ang="0">
                  <a:pos x="248" y="160"/>
                </a:cxn>
                <a:cxn ang="0">
                  <a:pos x="189" y="70"/>
                </a:cxn>
                <a:cxn ang="0">
                  <a:pos x="146" y="26"/>
                </a:cxn>
                <a:cxn ang="0">
                  <a:pos x="75" y="64"/>
                </a:cxn>
                <a:cxn ang="0">
                  <a:pos x="16" y="0"/>
                </a:cxn>
              </a:cxnLst>
              <a:rect l="0" t="0" r="r" b="b"/>
              <a:pathLst>
                <a:path w="901" h="824">
                  <a:moveTo>
                    <a:pt x="16" y="0"/>
                  </a:moveTo>
                  <a:lnTo>
                    <a:pt x="0" y="21"/>
                  </a:lnTo>
                  <a:lnTo>
                    <a:pt x="21" y="80"/>
                  </a:lnTo>
                  <a:lnTo>
                    <a:pt x="44" y="139"/>
                  </a:lnTo>
                  <a:lnTo>
                    <a:pt x="56" y="199"/>
                  </a:lnTo>
                  <a:lnTo>
                    <a:pt x="62" y="235"/>
                  </a:lnTo>
                  <a:lnTo>
                    <a:pt x="110" y="243"/>
                  </a:lnTo>
                  <a:lnTo>
                    <a:pt x="102" y="291"/>
                  </a:lnTo>
                  <a:lnTo>
                    <a:pt x="71" y="314"/>
                  </a:lnTo>
                  <a:lnTo>
                    <a:pt x="71" y="362"/>
                  </a:lnTo>
                  <a:lnTo>
                    <a:pt x="113" y="381"/>
                  </a:lnTo>
                  <a:lnTo>
                    <a:pt x="122" y="421"/>
                  </a:lnTo>
                  <a:lnTo>
                    <a:pt x="154" y="429"/>
                  </a:lnTo>
                  <a:lnTo>
                    <a:pt x="185" y="421"/>
                  </a:lnTo>
                  <a:lnTo>
                    <a:pt x="193" y="460"/>
                  </a:lnTo>
                  <a:lnTo>
                    <a:pt x="178" y="504"/>
                  </a:lnTo>
                  <a:lnTo>
                    <a:pt x="205" y="515"/>
                  </a:lnTo>
                  <a:lnTo>
                    <a:pt x="209" y="559"/>
                  </a:lnTo>
                  <a:lnTo>
                    <a:pt x="229" y="579"/>
                  </a:lnTo>
                  <a:lnTo>
                    <a:pt x="272" y="571"/>
                  </a:lnTo>
                  <a:lnTo>
                    <a:pt x="275" y="552"/>
                  </a:lnTo>
                  <a:lnTo>
                    <a:pt x="299" y="594"/>
                  </a:lnTo>
                  <a:lnTo>
                    <a:pt x="312" y="658"/>
                  </a:lnTo>
                  <a:lnTo>
                    <a:pt x="351" y="670"/>
                  </a:lnTo>
                  <a:lnTo>
                    <a:pt x="347" y="697"/>
                  </a:lnTo>
                  <a:lnTo>
                    <a:pt x="387" y="701"/>
                  </a:lnTo>
                  <a:lnTo>
                    <a:pt x="410" y="738"/>
                  </a:lnTo>
                  <a:lnTo>
                    <a:pt x="549" y="745"/>
                  </a:lnTo>
                  <a:lnTo>
                    <a:pt x="568" y="709"/>
                  </a:lnTo>
                  <a:lnTo>
                    <a:pt x="596" y="721"/>
                  </a:lnTo>
                  <a:lnTo>
                    <a:pt x="612" y="793"/>
                  </a:lnTo>
                  <a:lnTo>
                    <a:pt x="660" y="824"/>
                  </a:lnTo>
                  <a:lnTo>
                    <a:pt x="798" y="815"/>
                  </a:lnTo>
                  <a:lnTo>
                    <a:pt x="825" y="824"/>
                  </a:lnTo>
                  <a:lnTo>
                    <a:pt x="837" y="780"/>
                  </a:lnTo>
                  <a:lnTo>
                    <a:pt x="873" y="769"/>
                  </a:lnTo>
                  <a:lnTo>
                    <a:pt x="901" y="733"/>
                  </a:lnTo>
                  <a:lnTo>
                    <a:pt x="884" y="705"/>
                  </a:lnTo>
                  <a:lnTo>
                    <a:pt x="849" y="701"/>
                  </a:lnTo>
                  <a:lnTo>
                    <a:pt x="837" y="650"/>
                  </a:lnTo>
                  <a:lnTo>
                    <a:pt x="785" y="626"/>
                  </a:lnTo>
                  <a:lnTo>
                    <a:pt x="790" y="583"/>
                  </a:lnTo>
                  <a:lnTo>
                    <a:pt x="813" y="552"/>
                  </a:lnTo>
                  <a:lnTo>
                    <a:pt x="798" y="496"/>
                  </a:lnTo>
                  <a:lnTo>
                    <a:pt x="742" y="496"/>
                  </a:lnTo>
                  <a:lnTo>
                    <a:pt x="754" y="385"/>
                  </a:lnTo>
                  <a:lnTo>
                    <a:pt x="742" y="314"/>
                  </a:lnTo>
                  <a:lnTo>
                    <a:pt x="758" y="211"/>
                  </a:lnTo>
                  <a:lnTo>
                    <a:pt x="695" y="180"/>
                  </a:lnTo>
                  <a:lnTo>
                    <a:pt x="623" y="129"/>
                  </a:lnTo>
                  <a:lnTo>
                    <a:pt x="572" y="125"/>
                  </a:lnTo>
                  <a:lnTo>
                    <a:pt x="493" y="108"/>
                  </a:lnTo>
                  <a:lnTo>
                    <a:pt x="474" y="149"/>
                  </a:lnTo>
                  <a:lnTo>
                    <a:pt x="426" y="167"/>
                  </a:lnTo>
                  <a:lnTo>
                    <a:pt x="378" y="184"/>
                  </a:lnTo>
                  <a:lnTo>
                    <a:pt x="355" y="208"/>
                  </a:lnTo>
                  <a:lnTo>
                    <a:pt x="299" y="199"/>
                  </a:lnTo>
                  <a:lnTo>
                    <a:pt x="248" y="160"/>
                  </a:lnTo>
                  <a:lnTo>
                    <a:pt x="205" y="129"/>
                  </a:lnTo>
                  <a:lnTo>
                    <a:pt x="189" y="70"/>
                  </a:lnTo>
                  <a:lnTo>
                    <a:pt x="174" y="9"/>
                  </a:lnTo>
                  <a:lnTo>
                    <a:pt x="146" y="26"/>
                  </a:lnTo>
                  <a:lnTo>
                    <a:pt x="134" y="64"/>
                  </a:lnTo>
                  <a:lnTo>
                    <a:pt x="75" y="64"/>
                  </a:lnTo>
                  <a:lnTo>
                    <a:pt x="54" y="26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Freeform 154"/>
            <p:cNvSpPr>
              <a:spLocks noChangeAspect="1"/>
            </p:cNvSpPr>
            <p:nvPr/>
          </p:nvSpPr>
          <p:spPr bwMode="auto">
            <a:xfrm>
              <a:off x="2049697" y="3593192"/>
              <a:ext cx="26374" cy="46149"/>
            </a:xfrm>
            <a:custGeom>
              <a:avLst/>
              <a:gdLst/>
              <a:ahLst/>
              <a:cxnLst>
                <a:cxn ang="0">
                  <a:pos x="31" y="79"/>
                </a:cxn>
                <a:cxn ang="0">
                  <a:pos x="7" y="59"/>
                </a:cxn>
                <a:cxn ang="0">
                  <a:pos x="0" y="0"/>
                </a:cxn>
                <a:cxn ang="0">
                  <a:pos x="31" y="11"/>
                </a:cxn>
                <a:cxn ang="0">
                  <a:pos x="45" y="33"/>
                </a:cxn>
                <a:cxn ang="0">
                  <a:pos x="31" y="79"/>
                </a:cxn>
              </a:cxnLst>
              <a:rect l="0" t="0" r="r" b="b"/>
              <a:pathLst>
                <a:path w="45" h="79">
                  <a:moveTo>
                    <a:pt x="31" y="79"/>
                  </a:moveTo>
                  <a:lnTo>
                    <a:pt x="7" y="59"/>
                  </a:lnTo>
                  <a:lnTo>
                    <a:pt x="0" y="0"/>
                  </a:lnTo>
                  <a:lnTo>
                    <a:pt x="31" y="11"/>
                  </a:lnTo>
                  <a:lnTo>
                    <a:pt x="45" y="33"/>
                  </a:lnTo>
                  <a:lnTo>
                    <a:pt x="31" y="7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5" name="Freeform 155"/>
            <p:cNvSpPr>
              <a:spLocks noChangeAspect="1"/>
            </p:cNvSpPr>
            <p:nvPr/>
          </p:nvSpPr>
          <p:spPr bwMode="auto">
            <a:xfrm>
              <a:off x="2049697" y="3593192"/>
              <a:ext cx="26374" cy="46149"/>
            </a:xfrm>
            <a:custGeom>
              <a:avLst/>
              <a:gdLst/>
              <a:ahLst/>
              <a:cxnLst>
                <a:cxn ang="0">
                  <a:pos x="31" y="79"/>
                </a:cxn>
                <a:cxn ang="0">
                  <a:pos x="7" y="59"/>
                </a:cxn>
                <a:cxn ang="0">
                  <a:pos x="0" y="0"/>
                </a:cxn>
                <a:cxn ang="0">
                  <a:pos x="31" y="11"/>
                </a:cxn>
                <a:cxn ang="0">
                  <a:pos x="45" y="33"/>
                </a:cxn>
                <a:cxn ang="0">
                  <a:pos x="31" y="79"/>
                </a:cxn>
              </a:cxnLst>
              <a:rect l="0" t="0" r="r" b="b"/>
              <a:pathLst>
                <a:path w="45" h="79">
                  <a:moveTo>
                    <a:pt x="31" y="79"/>
                  </a:moveTo>
                  <a:lnTo>
                    <a:pt x="7" y="59"/>
                  </a:lnTo>
                  <a:lnTo>
                    <a:pt x="0" y="0"/>
                  </a:lnTo>
                  <a:lnTo>
                    <a:pt x="31" y="11"/>
                  </a:lnTo>
                  <a:lnTo>
                    <a:pt x="45" y="33"/>
                  </a:lnTo>
                  <a:lnTo>
                    <a:pt x="31" y="79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Freeform 156"/>
            <p:cNvSpPr>
              <a:spLocks noChangeAspect="1"/>
            </p:cNvSpPr>
            <p:nvPr/>
          </p:nvSpPr>
          <p:spPr bwMode="auto">
            <a:xfrm>
              <a:off x="2098928" y="3644665"/>
              <a:ext cx="200440" cy="260919"/>
            </a:xfrm>
            <a:custGeom>
              <a:avLst/>
              <a:gdLst/>
              <a:ahLst/>
              <a:cxnLst>
                <a:cxn ang="0">
                  <a:pos x="124" y="106"/>
                </a:cxn>
                <a:cxn ang="0">
                  <a:pos x="162" y="162"/>
                </a:cxn>
                <a:cxn ang="0">
                  <a:pos x="131" y="288"/>
                </a:cxn>
                <a:cxn ang="0">
                  <a:pos x="0" y="316"/>
                </a:cxn>
                <a:cxn ang="0">
                  <a:pos x="21" y="371"/>
                </a:cxn>
                <a:cxn ang="0">
                  <a:pos x="48" y="442"/>
                </a:cxn>
                <a:cxn ang="0">
                  <a:pos x="127" y="430"/>
                </a:cxn>
                <a:cxn ang="0">
                  <a:pos x="155" y="383"/>
                </a:cxn>
                <a:cxn ang="0">
                  <a:pos x="194" y="371"/>
                </a:cxn>
                <a:cxn ang="0">
                  <a:pos x="218" y="344"/>
                </a:cxn>
                <a:cxn ang="0">
                  <a:pos x="269" y="331"/>
                </a:cxn>
                <a:cxn ang="0">
                  <a:pos x="277" y="244"/>
                </a:cxn>
                <a:cxn ang="0">
                  <a:pos x="297" y="213"/>
                </a:cxn>
                <a:cxn ang="0">
                  <a:pos x="332" y="193"/>
                </a:cxn>
                <a:cxn ang="0">
                  <a:pos x="344" y="106"/>
                </a:cxn>
                <a:cxn ang="0">
                  <a:pos x="304" y="94"/>
                </a:cxn>
                <a:cxn ang="0">
                  <a:pos x="301" y="51"/>
                </a:cxn>
                <a:cxn ang="0">
                  <a:pos x="200" y="22"/>
                </a:cxn>
                <a:cxn ang="0">
                  <a:pos x="190" y="0"/>
                </a:cxn>
                <a:cxn ang="0">
                  <a:pos x="124" y="106"/>
                </a:cxn>
              </a:cxnLst>
              <a:rect l="0" t="0" r="r" b="b"/>
              <a:pathLst>
                <a:path w="344" h="442">
                  <a:moveTo>
                    <a:pt x="124" y="106"/>
                  </a:moveTo>
                  <a:lnTo>
                    <a:pt x="162" y="162"/>
                  </a:lnTo>
                  <a:lnTo>
                    <a:pt x="131" y="288"/>
                  </a:lnTo>
                  <a:lnTo>
                    <a:pt x="0" y="316"/>
                  </a:lnTo>
                  <a:lnTo>
                    <a:pt x="21" y="371"/>
                  </a:lnTo>
                  <a:lnTo>
                    <a:pt x="48" y="442"/>
                  </a:lnTo>
                  <a:lnTo>
                    <a:pt x="127" y="430"/>
                  </a:lnTo>
                  <a:lnTo>
                    <a:pt x="155" y="383"/>
                  </a:lnTo>
                  <a:lnTo>
                    <a:pt x="194" y="371"/>
                  </a:lnTo>
                  <a:lnTo>
                    <a:pt x="218" y="344"/>
                  </a:lnTo>
                  <a:lnTo>
                    <a:pt x="269" y="331"/>
                  </a:lnTo>
                  <a:lnTo>
                    <a:pt x="277" y="244"/>
                  </a:lnTo>
                  <a:lnTo>
                    <a:pt x="297" y="213"/>
                  </a:lnTo>
                  <a:lnTo>
                    <a:pt x="332" y="193"/>
                  </a:lnTo>
                  <a:lnTo>
                    <a:pt x="344" y="106"/>
                  </a:lnTo>
                  <a:lnTo>
                    <a:pt x="304" y="94"/>
                  </a:lnTo>
                  <a:lnTo>
                    <a:pt x="301" y="51"/>
                  </a:lnTo>
                  <a:lnTo>
                    <a:pt x="200" y="22"/>
                  </a:lnTo>
                  <a:lnTo>
                    <a:pt x="190" y="0"/>
                  </a:lnTo>
                  <a:lnTo>
                    <a:pt x="124" y="10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Freeform 157"/>
            <p:cNvSpPr>
              <a:spLocks noChangeAspect="1"/>
            </p:cNvSpPr>
            <p:nvPr/>
          </p:nvSpPr>
          <p:spPr bwMode="auto">
            <a:xfrm>
              <a:off x="1726180" y="3234651"/>
              <a:ext cx="261978" cy="299968"/>
            </a:xfrm>
            <a:custGeom>
              <a:avLst/>
              <a:gdLst/>
              <a:ahLst/>
              <a:cxnLst>
                <a:cxn ang="0">
                  <a:pos x="341" y="508"/>
                </a:cxn>
                <a:cxn ang="0">
                  <a:pos x="316" y="491"/>
                </a:cxn>
                <a:cxn ang="0">
                  <a:pos x="265" y="460"/>
                </a:cxn>
                <a:cxn ang="0">
                  <a:pos x="226" y="390"/>
                </a:cxn>
                <a:cxn ang="0">
                  <a:pos x="190" y="377"/>
                </a:cxn>
                <a:cxn ang="0">
                  <a:pos x="158" y="326"/>
                </a:cxn>
                <a:cxn ang="0">
                  <a:pos x="107" y="329"/>
                </a:cxn>
                <a:cxn ang="0">
                  <a:pos x="75" y="306"/>
                </a:cxn>
                <a:cxn ang="0">
                  <a:pos x="44" y="283"/>
                </a:cxn>
                <a:cxn ang="0">
                  <a:pos x="28" y="287"/>
                </a:cxn>
                <a:cxn ang="0">
                  <a:pos x="0" y="239"/>
                </a:cxn>
                <a:cxn ang="0">
                  <a:pos x="48" y="211"/>
                </a:cxn>
                <a:cxn ang="0">
                  <a:pos x="107" y="171"/>
                </a:cxn>
                <a:cxn ang="0">
                  <a:pos x="114" y="129"/>
                </a:cxn>
                <a:cxn ang="0">
                  <a:pos x="115" y="68"/>
                </a:cxn>
                <a:cxn ang="0">
                  <a:pos x="148" y="41"/>
                </a:cxn>
                <a:cxn ang="0">
                  <a:pos x="176" y="13"/>
                </a:cxn>
                <a:cxn ang="0">
                  <a:pos x="218" y="0"/>
                </a:cxn>
                <a:cxn ang="0">
                  <a:pos x="238" y="32"/>
                </a:cxn>
                <a:cxn ang="0">
                  <a:pos x="294" y="37"/>
                </a:cxn>
                <a:cxn ang="0">
                  <a:pos x="300" y="73"/>
                </a:cxn>
                <a:cxn ang="0">
                  <a:pos x="348" y="81"/>
                </a:cxn>
                <a:cxn ang="0">
                  <a:pos x="340" y="129"/>
                </a:cxn>
                <a:cxn ang="0">
                  <a:pos x="309" y="152"/>
                </a:cxn>
                <a:cxn ang="0">
                  <a:pos x="309" y="200"/>
                </a:cxn>
                <a:cxn ang="0">
                  <a:pos x="351" y="219"/>
                </a:cxn>
                <a:cxn ang="0">
                  <a:pos x="360" y="259"/>
                </a:cxn>
                <a:cxn ang="0">
                  <a:pos x="392" y="267"/>
                </a:cxn>
                <a:cxn ang="0">
                  <a:pos x="423" y="259"/>
                </a:cxn>
                <a:cxn ang="0">
                  <a:pos x="431" y="298"/>
                </a:cxn>
                <a:cxn ang="0">
                  <a:pos x="416" y="342"/>
                </a:cxn>
                <a:cxn ang="0">
                  <a:pos x="443" y="353"/>
                </a:cxn>
                <a:cxn ang="0">
                  <a:pos x="447" y="397"/>
                </a:cxn>
                <a:cxn ang="0">
                  <a:pos x="407" y="409"/>
                </a:cxn>
                <a:cxn ang="0">
                  <a:pos x="379" y="417"/>
                </a:cxn>
                <a:cxn ang="0">
                  <a:pos x="375" y="484"/>
                </a:cxn>
                <a:cxn ang="0">
                  <a:pos x="341" y="508"/>
                </a:cxn>
              </a:cxnLst>
              <a:rect l="0" t="0" r="r" b="b"/>
              <a:pathLst>
                <a:path w="447" h="508">
                  <a:moveTo>
                    <a:pt x="341" y="508"/>
                  </a:moveTo>
                  <a:lnTo>
                    <a:pt x="316" y="491"/>
                  </a:lnTo>
                  <a:lnTo>
                    <a:pt x="265" y="460"/>
                  </a:lnTo>
                  <a:lnTo>
                    <a:pt x="226" y="390"/>
                  </a:lnTo>
                  <a:lnTo>
                    <a:pt x="190" y="377"/>
                  </a:lnTo>
                  <a:lnTo>
                    <a:pt x="158" y="326"/>
                  </a:lnTo>
                  <a:lnTo>
                    <a:pt x="107" y="329"/>
                  </a:lnTo>
                  <a:lnTo>
                    <a:pt x="75" y="306"/>
                  </a:lnTo>
                  <a:lnTo>
                    <a:pt x="44" y="283"/>
                  </a:lnTo>
                  <a:lnTo>
                    <a:pt x="28" y="287"/>
                  </a:lnTo>
                  <a:lnTo>
                    <a:pt x="0" y="239"/>
                  </a:lnTo>
                  <a:lnTo>
                    <a:pt x="48" y="211"/>
                  </a:lnTo>
                  <a:lnTo>
                    <a:pt x="107" y="171"/>
                  </a:lnTo>
                  <a:lnTo>
                    <a:pt x="114" y="129"/>
                  </a:lnTo>
                  <a:lnTo>
                    <a:pt x="115" y="68"/>
                  </a:lnTo>
                  <a:lnTo>
                    <a:pt x="148" y="41"/>
                  </a:lnTo>
                  <a:lnTo>
                    <a:pt x="176" y="13"/>
                  </a:lnTo>
                  <a:lnTo>
                    <a:pt x="218" y="0"/>
                  </a:lnTo>
                  <a:lnTo>
                    <a:pt x="238" y="32"/>
                  </a:lnTo>
                  <a:lnTo>
                    <a:pt x="294" y="37"/>
                  </a:lnTo>
                  <a:lnTo>
                    <a:pt x="300" y="73"/>
                  </a:lnTo>
                  <a:lnTo>
                    <a:pt x="348" y="81"/>
                  </a:lnTo>
                  <a:lnTo>
                    <a:pt x="340" y="129"/>
                  </a:lnTo>
                  <a:lnTo>
                    <a:pt x="309" y="152"/>
                  </a:lnTo>
                  <a:lnTo>
                    <a:pt x="309" y="200"/>
                  </a:lnTo>
                  <a:lnTo>
                    <a:pt x="351" y="219"/>
                  </a:lnTo>
                  <a:lnTo>
                    <a:pt x="360" y="259"/>
                  </a:lnTo>
                  <a:lnTo>
                    <a:pt x="392" y="267"/>
                  </a:lnTo>
                  <a:lnTo>
                    <a:pt x="423" y="259"/>
                  </a:lnTo>
                  <a:lnTo>
                    <a:pt x="431" y="298"/>
                  </a:lnTo>
                  <a:lnTo>
                    <a:pt x="416" y="342"/>
                  </a:lnTo>
                  <a:lnTo>
                    <a:pt x="443" y="353"/>
                  </a:lnTo>
                  <a:lnTo>
                    <a:pt x="447" y="397"/>
                  </a:lnTo>
                  <a:lnTo>
                    <a:pt x="407" y="409"/>
                  </a:lnTo>
                  <a:lnTo>
                    <a:pt x="379" y="417"/>
                  </a:lnTo>
                  <a:lnTo>
                    <a:pt x="375" y="484"/>
                  </a:lnTo>
                  <a:lnTo>
                    <a:pt x="341" y="50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" name="Freeform 158"/>
            <p:cNvSpPr>
              <a:spLocks noChangeAspect="1"/>
            </p:cNvSpPr>
            <p:nvPr/>
          </p:nvSpPr>
          <p:spPr bwMode="auto">
            <a:xfrm>
              <a:off x="1726180" y="3234651"/>
              <a:ext cx="261978" cy="299968"/>
            </a:xfrm>
            <a:custGeom>
              <a:avLst/>
              <a:gdLst/>
              <a:ahLst/>
              <a:cxnLst>
                <a:cxn ang="0">
                  <a:pos x="341" y="508"/>
                </a:cxn>
                <a:cxn ang="0">
                  <a:pos x="316" y="491"/>
                </a:cxn>
                <a:cxn ang="0">
                  <a:pos x="265" y="460"/>
                </a:cxn>
                <a:cxn ang="0">
                  <a:pos x="226" y="390"/>
                </a:cxn>
                <a:cxn ang="0">
                  <a:pos x="190" y="377"/>
                </a:cxn>
                <a:cxn ang="0">
                  <a:pos x="158" y="326"/>
                </a:cxn>
                <a:cxn ang="0">
                  <a:pos x="107" y="329"/>
                </a:cxn>
                <a:cxn ang="0">
                  <a:pos x="75" y="306"/>
                </a:cxn>
                <a:cxn ang="0">
                  <a:pos x="44" y="283"/>
                </a:cxn>
                <a:cxn ang="0">
                  <a:pos x="28" y="287"/>
                </a:cxn>
                <a:cxn ang="0">
                  <a:pos x="0" y="239"/>
                </a:cxn>
                <a:cxn ang="0">
                  <a:pos x="48" y="211"/>
                </a:cxn>
                <a:cxn ang="0">
                  <a:pos x="107" y="171"/>
                </a:cxn>
                <a:cxn ang="0">
                  <a:pos x="114" y="129"/>
                </a:cxn>
                <a:cxn ang="0">
                  <a:pos x="115" y="68"/>
                </a:cxn>
                <a:cxn ang="0">
                  <a:pos x="148" y="41"/>
                </a:cxn>
                <a:cxn ang="0">
                  <a:pos x="176" y="13"/>
                </a:cxn>
                <a:cxn ang="0">
                  <a:pos x="218" y="0"/>
                </a:cxn>
                <a:cxn ang="0">
                  <a:pos x="238" y="32"/>
                </a:cxn>
                <a:cxn ang="0">
                  <a:pos x="294" y="37"/>
                </a:cxn>
                <a:cxn ang="0">
                  <a:pos x="300" y="73"/>
                </a:cxn>
                <a:cxn ang="0">
                  <a:pos x="348" y="81"/>
                </a:cxn>
                <a:cxn ang="0">
                  <a:pos x="340" y="129"/>
                </a:cxn>
                <a:cxn ang="0">
                  <a:pos x="309" y="152"/>
                </a:cxn>
                <a:cxn ang="0">
                  <a:pos x="309" y="200"/>
                </a:cxn>
                <a:cxn ang="0">
                  <a:pos x="351" y="219"/>
                </a:cxn>
                <a:cxn ang="0">
                  <a:pos x="360" y="259"/>
                </a:cxn>
                <a:cxn ang="0">
                  <a:pos x="392" y="267"/>
                </a:cxn>
                <a:cxn ang="0">
                  <a:pos x="423" y="259"/>
                </a:cxn>
                <a:cxn ang="0">
                  <a:pos x="431" y="298"/>
                </a:cxn>
                <a:cxn ang="0">
                  <a:pos x="416" y="342"/>
                </a:cxn>
                <a:cxn ang="0">
                  <a:pos x="443" y="353"/>
                </a:cxn>
                <a:cxn ang="0">
                  <a:pos x="447" y="397"/>
                </a:cxn>
                <a:cxn ang="0">
                  <a:pos x="407" y="409"/>
                </a:cxn>
                <a:cxn ang="0">
                  <a:pos x="379" y="417"/>
                </a:cxn>
                <a:cxn ang="0">
                  <a:pos x="375" y="484"/>
                </a:cxn>
                <a:cxn ang="0">
                  <a:pos x="341" y="508"/>
                </a:cxn>
              </a:cxnLst>
              <a:rect l="0" t="0" r="r" b="b"/>
              <a:pathLst>
                <a:path w="447" h="508">
                  <a:moveTo>
                    <a:pt x="341" y="508"/>
                  </a:moveTo>
                  <a:lnTo>
                    <a:pt x="316" y="491"/>
                  </a:lnTo>
                  <a:lnTo>
                    <a:pt x="265" y="460"/>
                  </a:lnTo>
                  <a:lnTo>
                    <a:pt x="226" y="390"/>
                  </a:lnTo>
                  <a:lnTo>
                    <a:pt x="190" y="377"/>
                  </a:lnTo>
                  <a:lnTo>
                    <a:pt x="158" y="326"/>
                  </a:lnTo>
                  <a:lnTo>
                    <a:pt x="107" y="329"/>
                  </a:lnTo>
                  <a:lnTo>
                    <a:pt x="75" y="306"/>
                  </a:lnTo>
                  <a:lnTo>
                    <a:pt x="44" y="283"/>
                  </a:lnTo>
                  <a:lnTo>
                    <a:pt x="28" y="287"/>
                  </a:lnTo>
                  <a:lnTo>
                    <a:pt x="0" y="239"/>
                  </a:lnTo>
                  <a:lnTo>
                    <a:pt x="48" y="211"/>
                  </a:lnTo>
                  <a:lnTo>
                    <a:pt x="107" y="171"/>
                  </a:lnTo>
                  <a:lnTo>
                    <a:pt x="114" y="129"/>
                  </a:lnTo>
                  <a:lnTo>
                    <a:pt x="115" y="68"/>
                  </a:lnTo>
                  <a:lnTo>
                    <a:pt x="148" y="41"/>
                  </a:lnTo>
                  <a:lnTo>
                    <a:pt x="176" y="13"/>
                  </a:lnTo>
                  <a:lnTo>
                    <a:pt x="218" y="0"/>
                  </a:lnTo>
                  <a:lnTo>
                    <a:pt x="238" y="32"/>
                  </a:lnTo>
                  <a:lnTo>
                    <a:pt x="294" y="37"/>
                  </a:lnTo>
                  <a:lnTo>
                    <a:pt x="300" y="73"/>
                  </a:lnTo>
                  <a:lnTo>
                    <a:pt x="348" y="81"/>
                  </a:lnTo>
                  <a:lnTo>
                    <a:pt x="340" y="129"/>
                  </a:lnTo>
                  <a:lnTo>
                    <a:pt x="309" y="152"/>
                  </a:lnTo>
                  <a:lnTo>
                    <a:pt x="309" y="200"/>
                  </a:lnTo>
                  <a:lnTo>
                    <a:pt x="351" y="219"/>
                  </a:lnTo>
                  <a:lnTo>
                    <a:pt x="360" y="259"/>
                  </a:lnTo>
                  <a:lnTo>
                    <a:pt x="392" y="267"/>
                  </a:lnTo>
                  <a:lnTo>
                    <a:pt x="423" y="259"/>
                  </a:lnTo>
                  <a:lnTo>
                    <a:pt x="431" y="298"/>
                  </a:lnTo>
                  <a:lnTo>
                    <a:pt x="416" y="342"/>
                  </a:lnTo>
                  <a:lnTo>
                    <a:pt x="443" y="353"/>
                  </a:lnTo>
                  <a:lnTo>
                    <a:pt x="447" y="397"/>
                  </a:lnTo>
                  <a:lnTo>
                    <a:pt x="407" y="409"/>
                  </a:lnTo>
                  <a:lnTo>
                    <a:pt x="379" y="417"/>
                  </a:lnTo>
                  <a:lnTo>
                    <a:pt x="375" y="484"/>
                  </a:lnTo>
                  <a:lnTo>
                    <a:pt x="341" y="508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" name="Freeform 159"/>
            <p:cNvSpPr>
              <a:spLocks noChangeAspect="1"/>
            </p:cNvSpPr>
            <p:nvPr/>
          </p:nvSpPr>
          <p:spPr bwMode="auto">
            <a:xfrm>
              <a:off x="723981" y="4109704"/>
              <a:ext cx="43956" cy="131347"/>
            </a:xfrm>
            <a:custGeom>
              <a:avLst/>
              <a:gdLst/>
              <a:ahLst/>
              <a:cxnLst>
                <a:cxn ang="0">
                  <a:pos x="44" y="222"/>
                </a:cxn>
                <a:cxn ang="0">
                  <a:pos x="29" y="162"/>
                </a:cxn>
                <a:cxn ang="0">
                  <a:pos x="21" y="99"/>
                </a:cxn>
                <a:cxn ang="0">
                  <a:pos x="24" y="60"/>
                </a:cxn>
                <a:cxn ang="0">
                  <a:pos x="6" y="47"/>
                </a:cxn>
                <a:cxn ang="0">
                  <a:pos x="0" y="3"/>
                </a:cxn>
                <a:cxn ang="0">
                  <a:pos x="22" y="0"/>
                </a:cxn>
                <a:cxn ang="0">
                  <a:pos x="42" y="31"/>
                </a:cxn>
                <a:cxn ang="0">
                  <a:pos x="53" y="94"/>
                </a:cxn>
                <a:cxn ang="0">
                  <a:pos x="58" y="153"/>
                </a:cxn>
                <a:cxn ang="0">
                  <a:pos x="73" y="212"/>
                </a:cxn>
                <a:cxn ang="0">
                  <a:pos x="44" y="222"/>
                </a:cxn>
              </a:cxnLst>
              <a:rect l="0" t="0" r="r" b="b"/>
              <a:pathLst>
                <a:path w="73" h="222">
                  <a:moveTo>
                    <a:pt x="44" y="222"/>
                  </a:moveTo>
                  <a:lnTo>
                    <a:pt x="29" y="162"/>
                  </a:lnTo>
                  <a:lnTo>
                    <a:pt x="21" y="99"/>
                  </a:lnTo>
                  <a:lnTo>
                    <a:pt x="24" y="60"/>
                  </a:lnTo>
                  <a:lnTo>
                    <a:pt x="6" y="47"/>
                  </a:lnTo>
                  <a:lnTo>
                    <a:pt x="0" y="3"/>
                  </a:lnTo>
                  <a:lnTo>
                    <a:pt x="22" y="0"/>
                  </a:lnTo>
                  <a:lnTo>
                    <a:pt x="42" y="31"/>
                  </a:lnTo>
                  <a:lnTo>
                    <a:pt x="53" y="94"/>
                  </a:lnTo>
                  <a:lnTo>
                    <a:pt x="58" y="153"/>
                  </a:lnTo>
                  <a:lnTo>
                    <a:pt x="73" y="212"/>
                  </a:lnTo>
                  <a:lnTo>
                    <a:pt x="44" y="22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" name="Freeform 160"/>
            <p:cNvSpPr>
              <a:spLocks noChangeAspect="1"/>
            </p:cNvSpPr>
            <p:nvPr/>
          </p:nvSpPr>
          <p:spPr bwMode="auto">
            <a:xfrm>
              <a:off x="437387" y="4168277"/>
              <a:ext cx="121319" cy="138447"/>
            </a:xfrm>
            <a:custGeom>
              <a:avLst/>
              <a:gdLst/>
              <a:ahLst/>
              <a:cxnLst>
                <a:cxn ang="0">
                  <a:pos x="0" y="83"/>
                </a:cxn>
                <a:cxn ang="0">
                  <a:pos x="44" y="0"/>
                </a:cxn>
                <a:cxn ang="0">
                  <a:pos x="71" y="55"/>
                </a:cxn>
                <a:cxn ang="0">
                  <a:pos x="108" y="66"/>
                </a:cxn>
                <a:cxn ang="0">
                  <a:pos x="120" y="109"/>
                </a:cxn>
                <a:cxn ang="0">
                  <a:pos x="148" y="117"/>
                </a:cxn>
                <a:cxn ang="0">
                  <a:pos x="156" y="168"/>
                </a:cxn>
                <a:cxn ang="0">
                  <a:pos x="207" y="188"/>
                </a:cxn>
                <a:cxn ang="0">
                  <a:pos x="198" y="213"/>
                </a:cxn>
                <a:cxn ang="0">
                  <a:pos x="171" y="233"/>
                </a:cxn>
                <a:cxn ang="0">
                  <a:pos x="114" y="217"/>
                </a:cxn>
                <a:cxn ang="0">
                  <a:pos x="0" y="83"/>
                </a:cxn>
              </a:cxnLst>
              <a:rect l="0" t="0" r="r" b="b"/>
              <a:pathLst>
                <a:path w="207" h="233">
                  <a:moveTo>
                    <a:pt x="0" y="83"/>
                  </a:moveTo>
                  <a:lnTo>
                    <a:pt x="44" y="0"/>
                  </a:lnTo>
                  <a:lnTo>
                    <a:pt x="71" y="55"/>
                  </a:lnTo>
                  <a:lnTo>
                    <a:pt x="108" y="66"/>
                  </a:lnTo>
                  <a:lnTo>
                    <a:pt x="120" y="109"/>
                  </a:lnTo>
                  <a:lnTo>
                    <a:pt x="148" y="117"/>
                  </a:lnTo>
                  <a:lnTo>
                    <a:pt x="156" y="168"/>
                  </a:lnTo>
                  <a:lnTo>
                    <a:pt x="207" y="188"/>
                  </a:lnTo>
                  <a:lnTo>
                    <a:pt x="198" y="213"/>
                  </a:lnTo>
                  <a:lnTo>
                    <a:pt x="171" y="233"/>
                  </a:lnTo>
                  <a:lnTo>
                    <a:pt x="114" y="217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" name="Freeform 161"/>
            <p:cNvSpPr>
              <a:spLocks noChangeAspect="1"/>
            </p:cNvSpPr>
            <p:nvPr/>
          </p:nvSpPr>
          <p:spPr bwMode="auto">
            <a:xfrm>
              <a:off x="7058297" y="3681611"/>
              <a:ext cx="274286" cy="118922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44" y="20"/>
                </a:cxn>
                <a:cxn ang="0">
                  <a:pos x="83" y="0"/>
                </a:cxn>
                <a:cxn ang="0">
                  <a:pos x="147" y="7"/>
                </a:cxn>
                <a:cxn ang="0">
                  <a:pos x="238" y="28"/>
                </a:cxn>
                <a:cxn ang="0">
                  <a:pos x="317" y="71"/>
                </a:cxn>
                <a:cxn ang="0">
                  <a:pos x="447" y="134"/>
                </a:cxn>
                <a:cxn ang="0">
                  <a:pos x="467" y="166"/>
                </a:cxn>
                <a:cxn ang="0">
                  <a:pos x="403" y="201"/>
                </a:cxn>
                <a:cxn ang="0">
                  <a:pos x="309" y="193"/>
                </a:cxn>
                <a:cxn ang="0">
                  <a:pos x="317" y="142"/>
                </a:cxn>
                <a:cxn ang="0">
                  <a:pos x="285" y="110"/>
                </a:cxn>
                <a:cxn ang="0">
                  <a:pos x="218" y="63"/>
                </a:cxn>
                <a:cxn ang="0">
                  <a:pos x="190" y="51"/>
                </a:cxn>
                <a:cxn ang="0">
                  <a:pos x="56" y="44"/>
                </a:cxn>
                <a:cxn ang="0">
                  <a:pos x="0" y="59"/>
                </a:cxn>
              </a:cxnLst>
              <a:rect l="0" t="0" r="r" b="b"/>
              <a:pathLst>
                <a:path w="467" h="201">
                  <a:moveTo>
                    <a:pt x="0" y="59"/>
                  </a:moveTo>
                  <a:lnTo>
                    <a:pt x="44" y="20"/>
                  </a:lnTo>
                  <a:lnTo>
                    <a:pt x="83" y="0"/>
                  </a:lnTo>
                  <a:lnTo>
                    <a:pt x="147" y="7"/>
                  </a:lnTo>
                  <a:lnTo>
                    <a:pt x="238" y="28"/>
                  </a:lnTo>
                  <a:lnTo>
                    <a:pt x="317" y="71"/>
                  </a:lnTo>
                  <a:lnTo>
                    <a:pt x="447" y="134"/>
                  </a:lnTo>
                  <a:lnTo>
                    <a:pt x="467" y="166"/>
                  </a:lnTo>
                  <a:lnTo>
                    <a:pt x="403" y="201"/>
                  </a:lnTo>
                  <a:lnTo>
                    <a:pt x="309" y="193"/>
                  </a:lnTo>
                  <a:lnTo>
                    <a:pt x="317" y="142"/>
                  </a:lnTo>
                  <a:lnTo>
                    <a:pt x="285" y="110"/>
                  </a:lnTo>
                  <a:lnTo>
                    <a:pt x="218" y="63"/>
                  </a:lnTo>
                  <a:lnTo>
                    <a:pt x="190" y="51"/>
                  </a:lnTo>
                  <a:lnTo>
                    <a:pt x="56" y="44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" name="Freeform 162"/>
            <p:cNvSpPr>
              <a:spLocks noChangeAspect="1"/>
            </p:cNvSpPr>
            <p:nvPr/>
          </p:nvSpPr>
          <p:spPr bwMode="auto">
            <a:xfrm>
              <a:off x="1604861" y="4729164"/>
              <a:ext cx="86154" cy="207670"/>
            </a:xfrm>
            <a:custGeom>
              <a:avLst/>
              <a:gdLst/>
              <a:ahLst/>
              <a:cxnLst>
                <a:cxn ang="0">
                  <a:pos x="0" y="223"/>
                </a:cxn>
                <a:cxn ang="0">
                  <a:pos x="5" y="138"/>
                </a:cxn>
                <a:cxn ang="0">
                  <a:pos x="32" y="116"/>
                </a:cxn>
                <a:cxn ang="0">
                  <a:pos x="19" y="62"/>
                </a:cxn>
                <a:cxn ang="0">
                  <a:pos x="23" y="0"/>
                </a:cxn>
                <a:cxn ang="0">
                  <a:pos x="47" y="10"/>
                </a:cxn>
                <a:cxn ang="0">
                  <a:pos x="83" y="31"/>
                </a:cxn>
                <a:cxn ang="0">
                  <a:pos x="91" y="76"/>
                </a:cxn>
                <a:cxn ang="0">
                  <a:pos x="81" y="116"/>
                </a:cxn>
                <a:cxn ang="0">
                  <a:pos x="74" y="149"/>
                </a:cxn>
                <a:cxn ang="0">
                  <a:pos x="94" y="173"/>
                </a:cxn>
                <a:cxn ang="0">
                  <a:pos x="107" y="189"/>
                </a:cxn>
                <a:cxn ang="0">
                  <a:pos x="126" y="217"/>
                </a:cxn>
                <a:cxn ang="0">
                  <a:pos x="138" y="248"/>
                </a:cxn>
                <a:cxn ang="0">
                  <a:pos x="146" y="290"/>
                </a:cxn>
                <a:cxn ang="0">
                  <a:pos x="116" y="311"/>
                </a:cxn>
                <a:cxn ang="0">
                  <a:pos x="102" y="345"/>
                </a:cxn>
                <a:cxn ang="0">
                  <a:pos x="71" y="351"/>
                </a:cxn>
                <a:cxn ang="0">
                  <a:pos x="51" y="330"/>
                </a:cxn>
                <a:cxn ang="0">
                  <a:pos x="67" y="283"/>
                </a:cxn>
                <a:cxn ang="0">
                  <a:pos x="69" y="248"/>
                </a:cxn>
                <a:cxn ang="0">
                  <a:pos x="33" y="238"/>
                </a:cxn>
                <a:cxn ang="0">
                  <a:pos x="0" y="223"/>
                </a:cxn>
              </a:cxnLst>
              <a:rect l="0" t="0" r="r" b="b"/>
              <a:pathLst>
                <a:path w="146" h="351">
                  <a:moveTo>
                    <a:pt x="0" y="223"/>
                  </a:moveTo>
                  <a:lnTo>
                    <a:pt x="5" y="138"/>
                  </a:lnTo>
                  <a:lnTo>
                    <a:pt x="32" y="116"/>
                  </a:lnTo>
                  <a:lnTo>
                    <a:pt x="19" y="62"/>
                  </a:lnTo>
                  <a:lnTo>
                    <a:pt x="23" y="0"/>
                  </a:lnTo>
                  <a:lnTo>
                    <a:pt x="47" y="10"/>
                  </a:lnTo>
                  <a:lnTo>
                    <a:pt x="83" y="31"/>
                  </a:lnTo>
                  <a:lnTo>
                    <a:pt x="91" y="76"/>
                  </a:lnTo>
                  <a:lnTo>
                    <a:pt x="81" y="116"/>
                  </a:lnTo>
                  <a:lnTo>
                    <a:pt x="74" y="149"/>
                  </a:lnTo>
                  <a:lnTo>
                    <a:pt x="94" y="173"/>
                  </a:lnTo>
                  <a:lnTo>
                    <a:pt x="107" y="189"/>
                  </a:lnTo>
                  <a:lnTo>
                    <a:pt x="126" y="217"/>
                  </a:lnTo>
                  <a:lnTo>
                    <a:pt x="138" y="248"/>
                  </a:lnTo>
                  <a:lnTo>
                    <a:pt x="146" y="290"/>
                  </a:lnTo>
                  <a:lnTo>
                    <a:pt x="116" y="311"/>
                  </a:lnTo>
                  <a:lnTo>
                    <a:pt x="102" y="345"/>
                  </a:lnTo>
                  <a:lnTo>
                    <a:pt x="71" y="351"/>
                  </a:lnTo>
                  <a:lnTo>
                    <a:pt x="51" y="330"/>
                  </a:lnTo>
                  <a:lnTo>
                    <a:pt x="67" y="283"/>
                  </a:lnTo>
                  <a:lnTo>
                    <a:pt x="69" y="248"/>
                  </a:lnTo>
                  <a:lnTo>
                    <a:pt x="33" y="238"/>
                  </a:lnTo>
                  <a:lnTo>
                    <a:pt x="0" y="22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" name="Freeform 163"/>
            <p:cNvSpPr>
              <a:spLocks noChangeAspect="1"/>
            </p:cNvSpPr>
            <p:nvPr/>
          </p:nvSpPr>
          <p:spPr bwMode="auto">
            <a:xfrm>
              <a:off x="1413213" y="4897784"/>
              <a:ext cx="196923" cy="232519"/>
            </a:xfrm>
            <a:custGeom>
              <a:avLst/>
              <a:gdLst/>
              <a:ahLst/>
              <a:cxnLst>
                <a:cxn ang="0">
                  <a:pos x="206" y="0"/>
                </a:cxn>
                <a:cxn ang="0">
                  <a:pos x="189" y="25"/>
                </a:cxn>
                <a:cxn ang="0">
                  <a:pos x="147" y="31"/>
                </a:cxn>
                <a:cxn ang="0">
                  <a:pos x="143" y="63"/>
                </a:cxn>
                <a:cxn ang="0">
                  <a:pos x="125" y="75"/>
                </a:cxn>
                <a:cxn ang="0">
                  <a:pos x="102" y="82"/>
                </a:cxn>
                <a:cxn ang="0">
                  <a:pos x="96" y="114"/>
                </a:cxn>
                <a:cxn ang="0">
                  <a:pos x="69" y="124"/>
                </a:cxn>
                <a:cxn ang="0">
                  <a:pos x="28" y="124"/>
                </a:cxn>
                <a:cxn ang="0">
                  <a:pos x="0" y="134"/>
                </a:cxn>
                <a:cxn ang="0">
                  <a:pos x="18" y="203"/>
                </a:cxn>
                <a:cxn ang="0">
                  <a:pos x="23" y="238"/>
                </a:cxn>
                <a:cxn ang="0">
                  <a:pos x="48" y="251"/>
                </a:cxn>
                <a:cxn ang="0">
                  <a:pos x="58" y="289"/>
                </a:cxn>
                <a:cxn ang="0">
                  <a:pos x="86" y="290"/>
                </a:cxn>
                <a:cxn ang="0">
                  <a:pos x="100" y="340"/>
                </a:cxn>
                <a:cxn ang="0">
                  <a:pos x="120" y="344"/>
                </a:cxn>
                <a:cxn ang="0">
                  <a:pos x="165" y="364"/>
                </a:cxn>
                <a:cxn ang="0">
                  <a:pos x="195" y="378"/>
                </a:cxn>
                <a:cxn ang="0">
                  <a:pos x="209" y="393"/>
                </a:cxn>
                <a:cxn ang="0">
                  <a:pos x="258" y="393"/>
                </a:cxn>
                <a:cxn ang="0">
                  <a:pos x="268" y="358"/>
                </a:cxn>
                <a:cxn ang="0">
                  <a:pos x="293" y="341"/>
                </a:cxn>
                <a:cxn ang="0">
                  <a:pos x="292" y="280"/>
                </a:cxn>
                <a:cxn ang="0">
                  <a:pos x="321" y="261"/>
                </a:cxn>
                <a:cxn ang="0">
                  <a:pos x="337" y="237"/>
                </a:cxn>
                <a:cxn ang="0">
                  <a:pos x="319" y="196"/>
                </a:cxn>
                <a:cxn ang="0">
                  <a:pos x="317" y="162"/>
                </a:cxn>
                <a:cxn ang="0">
                  <a:pos x="333" y="99"/>
                </a:cxn>
                <a:cxn ang="0">
                  <a:pos x="309" y="54"/>
                </a:cxn>
                <a:cxn ang="0">
                  <a:pos x="244" y="41"/>
                </a:cxn>
                <a:cxn ang="0">
                  <a:pos x="224" y="6"/>
                </a:cxn>
                <a:cxn ang="0">
                  <a:pos x="206" y="0"/>
                </a:cxn>
              </a:cxnLst>
              <a:rect l="0" t="0" r="r" b="b"/>
              <a:pathLst>
                <a:path w="337" h="393">
                  <a:moveTo>
                    <a:pt x="206" y="0"/>
                  </a:moveTo>
                  <a:lnTo>
                    <a:pt x="189" y="25"/>
                  </a:lnTo>
                  <a:lnTo>
                    <a:pt x="147" y="31"/>
                  </a:lnTo>
                  <a:lnTo>
                    <a:pt x="143" y="63"/>
                  </a:lnTo>
                  <a:lnTo>
                    <a:pt x="125" y="75"/>
                  </a:lnTo>
                  <a:lnTo>
                    <a:pt x="102" y="82"/>
                  </a:lnTo>
                  <a:lnTo>
                    <a:pt x="96" y="114"/>
                  </a:lnTo>
                  <a:lnTo>
                    <a:pt x="69" y="124"/>
                  </a:lnTo>
                  <a:lnTo>
                    <a:pt x="28" y="124"/>
                  </a:lnTo>
                  <a:lnTo>
                    <a:pt x="0" y="134"/>
                  </a:lnTo>
                  <a:lnTo>
                    <a:pt x="18" y="203"/>
                  </a:lnTo>
                  <a:lnTo>
                    <a:pt x="23" y="238"/>
                  </a:lnTo>
                  <a:lnTo>
                    <a:pt x="48" y="251"/>
                  </a:lnTo>
                  <a:lnTo>
                    <a:pt x="58" y="289"/>
                  </a:lnTo>
                  <a:lnTo>
                    <a:pt x="86" y="290"/>
                  </a:lnTo>
                  <a:lnTo>
                    <a:pt x="100" y="340"/>
                  </a:lnTo>
                  <a:lnTo>
                    <a:pt x="120" y="344"/>
                  </a:lnTo>
                  <a:lnTo>
                    <a:pt x="165" y="364"/>
                  </a:lnTo>
                  <a:lnTo>
                    <a:pt x="195" y="378"/>
                  </a:lnTo>
                  <a:lnTo>
                    <a:pt x="209" y="393"/>
                  </a:lnTo>
                  <a:lnTo>
                    <a:pt x="258" y="393"/>
                  </a:lnTo>
                  <a:lnTo>
                    <a:pt x="268" y="358"/>
                  </a:lnTo>
                  <a:lnTo>
                    <a:pt x="293" y="341"/>
                  </a:lnTo>
                  <a:lnTo>
                    <a:pt x="292" y="280"/>
                  </a:lnTo>
                  <a:lnTo>
                    <a:pt x="321" y="261"/>
                  </a:lnTo>
                  <a:lnTo>
                    <a:pt x="337" y="237"/>
                  </a:lnTo>
                  <a:lnTo>
                    <a:pt x="319" y="196"/>
                  </a:lnTo>
                  <a:lnTo>
                    <a:pt x="317" y="162"/>
                  </a:lnTo>
                  <a:lnTo>
                    <a:pt x="333" y="99"/>
                  </a:lnTo>
                  <a:lnTo>
                    <a:pt x="309" y="54"/>
                  </a:lnTo>
                  <a:lnTo>
                    <a:pt x="244" y="41"/>
                  </a:lnTo>
                  <a:lnTo>
                    <a:pt x="224" y="6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" name="Freeform 164"/>
            <p:cNvSpPr>
              <a:spLocks noChangeAspect="1"/>
            </p:cNvSpPr>
            <p:nvPr/>
          </p:nvSpPr>
          <p:spPr bwMode="auto">
            <a:xfrm>
              <a:off x="309036" y="3547043"/>
              <a:ext cx="277803" cy="429539"/>
            </a:xfrm>
            <a:custGeom>
              <a:avLst/>
              <a:gdLst/>
              <a:ahLst/>
              <a:cxnLst>
                <a:cxn ang="0">
                  <a:pos x="353" y="0"/>
                </a:cxn>
                <a:cxn ang="0">
                  <a:pos x="335" y="64"/>
                </a:cxn>
                <a:cxn ang="0">
                  <a:pos x="316" y="92"/>
                </a:cxn>
                <a:cxn ang="0">
                  <a:pos x="206" y="101"/>
                </a:cxn>
                <a:cxn ang="0">
                  <a:pos x="206" y="254"/>
                </a:cxn>
                <a:cxn ang="0">
                  <a:pos x="166" y="243"/>
                </a:cxn>
                <a:cxn ang="0">
                  <a:pos x="138" y="267"/>
                </a:cxn>
                <a:cxn ang="0">
                  <a:pos x="127" y="305"/>
                </a:cxn>
                <a:cxn ang="0">
                  <a:pos x="123" y="373"/>
                </a:cxn>
                <a:cxn ang="0">
                  <a:pos x="83" y="373"/>
                </a:cxn>
                <a:cxn ang="0">
                  <a:pos x="16" y="364"/>
                </a:cxn>
                <a:cxn ang="0">
                  <a:pos x="0" y="357"/>
                </a:cxn>
                <a:cxn ang="0">
                  <a:pos x="0" y="495"/>
                </a:cxn>
                <a:cxn ang="0">
                  <a:pos x="11" y="511"/>
                </a:cxn>
                <a:cxn ang="0">
                  <a:pos x="12" y="617"/>
                </a:cxn>
                <a:cxn ang="0">
                  <a:pos x="53" y="609"/>
                </a:cxn>
                <a:cxn ang="0">
                  <a:pos x="73" y="637"/>
                </a:cxn>
                <a:cxn ang="0">
                  <a:pos x="104" y="648"/>
                </a:cxn>
                <a:cxn ang="0">
                  <a:pos x="139" y="700"/>
                </a:cxn>
                <a:cxn ang="0">
                  <a:pos x="171" y="724"/>
                </a:cxn>
                <a:cxn ang="0">
                  <a:pos x="217" y="662"/>
                </a:cxn>
                <a:cxn ang="0">
                  <a:pos x="252" y="681"/>
                </a:cxn>
                <a:cxn ang="0">
                  <a:pos x="414" y="693"/>
                </a:cxn>
                <a:cxn ang="0">
                  <a:pos x="474" y="685"/>
                </a:cxn>
                <a:cxn ang="0">
                  <a:pos x="471" y="629"/>
                </a:cxn>
                <a:cxn ang="0">
                  <a:pos x="434" y="618"/>
                </a:cxn>
                <a:cxn ang="0">
                  <a:pos x="438" y="267"/>
                </a:cxn>
                <a:cxn ang="0">
                  <a:pos x="414" y="235"/>
                </a:cxn>
                <a:cxn ang="0">
                  <a:pos x="414" y="167"/>
                </a:cxn>
                <a:cxn ang="0">
                  <a:pos x="447" y="160"/>
                </a:cxn>
                <a:cxn ang="0">
                  <a:pos x="447" y="115"/>
                </a:cxn>
                <a:cxn ang="0">
                  <a:pos x="353" y="0"/>
                </a:cxn>
              </a:cxnLst>
              <a:rect l="0" t="0" r="r" b="b"/>
              <a:pathLst>
                <a:path w="474" h="724">
                  <a:moveTo>
                    <a:pt x="353" y="0"/>
                  </a:moveTo>
                  <a:lnTo>
                    <a:pt x="335" y="64"/>
                  </a:lnTo>
                  <a:lnTo>
                    <a:pt x="316" y="92"/>
                  </a:lnTo>
                  <a:lnTo>
                    <a:pt x="206" y="101"/>
                  </a:lnTo>
                  <a:lnTo>
                    <a:pt x="206" y="254"/>
                  </a:lnTo>
                  <a:lnTo>
                    <a:pt x="166" y="243"/>
                  </a:lnTo>
                  <a:lnTo>
                    <a:pt x="138" y="267"/>
                  </a:lnTo>
                  <a:lnTo>
                    <a:pt x="127" y="305"/>
                  </a:lnTo>
                  <a:lnTo>
                    <a:pt x="123" y="373"/>
                  </a:lnTo>
                  <a:lnTo>
                    <a:pt x="83" y="373"/>
                  </a:lnTo>
                  <a:lnTo>
                    <a:pt x="16" y="364"/>
                  </a:lnTo>
                  <a:lnTo>
                    <a:pt x="0" y="357"/>
                  </a:lnTo>
                  <a:lnTo>
                    <a:pt x="0" y="495"/>
                  </a:lnTo>
                  <a:lnTo>
                    <a:pt x="11" y="511"/>
                  </a:lnTo>
                  <a:lnTo>
                    <a:pt x="12" y="617"/>
                  </a:lnTo>
                  <a:lnTo>
                    <a:pt x="53" y="609"/>
                  </a:lnTo>
                  <a:lnTo>
                    <a:pt x="73" y="637"/>
                  </a:lnTo>
                  <a:lnTo>
                    <a:pt x="104" y="648"/>
                  </a:lnTo>
                  <a:lnTo>
                    <a:pt x="139" y="700"/>
                  </a:lnTo>
                  <a:lnTo>
                    <a:pt x="171" y="724"/>
                  </a:lnTo>
                  <a:lnTo>
                    <a:pt x="217" y="662"/>
                  </a:lnTo>
                  <a:lnTo>
                    <a:pt x="252" y="681"/>
                  </a:lnTo>
                  <a:lnTo>
                    <a:pt x="414" y="693"/>
                  </a:lnTo>
                  <a:lnTo>
                    <a:pt x="474" y="685"/>
                  </a:lnTo>
                  <a:lnTo>
                    <a:pt x="471" y="629"/>
                  </a:lnTo>
                  <a:lnTo>
                    <a:pt x="434" y="618"/>
                  </a:lnTo>
                  <a:lnTo>
                    <a:pt x="438" y="267"/>
                  </a:lnTo>
                  <a:lnTo>
                    <a:pt x="414" y="235"/>
                  </a:lnTo>
                  <a:lnTo>
                    <a:pt x="414" y="167"/>
                  </a:lnTo>
                  <a:lnTo>
                    <a:pt x="447" y="160"/>
                  </a:lnTo>
                  <a:lnTo>
                    <a:pt x="447" y="115"/>
                  </a:lnTo>
                  <a:lnTo>
                    <a:pt x="353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" name="Freeform 165"/>
            <p:cNvSpPr>
              <a:spLocks noChangeAspect="1"/>
            </p:cNvSpPr>
            <p:nvPr/>
          </p:nvSpPr>
          <p:spPr bwMode="auto">
            <a:xfrm>
              <a:off x="1038707" y="4306724"/>
              <a:ext cx="189890" cy="271568"/>
            </a:xfrm>
            <a:custGeom>
              <a:avLst/>
              <a:gdLst/>
              <a:ahLst/>
              <a:cxnLst>
                <a:cxn ang="0">
                  <a:pos x="0" y="420"/>
                </a:cxn>
                <a:cxn ang="0">
                  <a:pos x="16" y="398"/>
                </a:cxn>
                <a:cxn ang="0">
                  <a:pos x="31" y="360"/>
                </a:cxn>
                <a:cxn ang="0">
                  <a:pos x="10" y="344"/>
                </a:cxn>
                <a:cxn ang="0">
                  <a:pos x="6" y="319"/>
                </a:cxn>
                <a:cxn ang="0">
                  <a:pos x="37" y="305"/>
                </a:cxn>
                <a:cxn ang="0">
                  <a:pos x="61" y="298"/>
                </a:cxn>
                <a:cxn ang="0">
                  <a:pos x="85" y="330"/>
                </a:cxn>
                <a:cxn ang="0">
                  <a:pos x="123" y="315"/>
                </a:cxn>
                <a:cxn ang="0">
                  <a:pos x="151" y="271"/>
                </a:cxn>
                <a:cxn ang="0">
                  <a:pos x="144" y="227"/>
                </a:cxn>
                <a:cxn ang="0">
                  <a:pos x="120" y="206"/>
                </a:cxn>
                <a:cxn ang="0">
                  <a:pos x="106" y="174"/>
                </a:cxn>
                <a:cxn ang="0">
                  <a:pos x="118" y="150"/>
                </a:cxn>
                <a:cxn ang="0">
                  <a:pos x="109" y="120"/>
                </a:cxn>
                <a:cxn ang="0">
                  <a:pos x="76" y="119"/>
                </a:cxn>
                <a:cxn ang="0">
                  <a:pos x="76" y="77"/>
                </a:cxn>
                <a:cxn ang="0">
                  <a:pos x="219" y="59"/>
                </a:cxn>
                <a:cxn ang="0">
                  <a:pos x="237" y="31"/>
                </a:cxn>
                <a:cxn ang="0">
                  <a:pos x="261" y="6"/>
                </a:cxn>
                <a:cxn ang="0">
                  <a:pos x="295" y="0"/>
                </a:cxn>
                <a:cxn ang="0">
                  <a:pos x="323" y="10"/>
                </a:cxn>
                <a:cxn ang="0">
                  <a:pos x="312" y="69"/>
                </a:cxn>
                <a:cxn ang="0">
                  <a:pos x="298" y="81"/>
                </a:cxn>
                <a:cxn ang="0">
                  <a:pos x="293" y="226"/>
                </a:cxn>
                <a:cxn ang="0">
                  <a:pos x="285" y="243"/>
                </a:cxn>
                <a:cxn ang="0">
                  <a:pos x="264" y="265"/>
                </a:cxn>
                <a:cxn ang="0">
                  <a:pos x="258" y="326"/>
                </a:cxn>
                <a:cxn ang="0">
                  <a:pos x="223" y="330"/>
                </a:cxn>
                <a:cxn ang="0">
                  <a:pos x="219" y="403"/>
                </a:cxn>
                <a:cxn ang="0">
                  <a:pos x="169" y="423"/>
                </a:cxn>
                <a:cxn ang="0">
                  <a:pos x="159" y="439"/>
                </a:cxn>
                <a:cxn ang="0">
                  <a:pos x="123" y="439"/>
                </a:cxn>
                <a:cxn ang="0">
                  <a:pos x="100" y="425"/>
                </a:cxn>
                <a:cxn ang="0">
                  <a:pos x="71" y="439"/>
                </a:cxn>
                <a:cxn ang="0">
                  <a:pos x="47" y="450"/>
                </a:cxn>
                <a:cxn ang="0">
                  <a:pos x="27" y="457"/>
                </a:cxn>
                <a:cxn ang="0">
                  <a:pos x="27" y="433"/>
                </a:cxn>
                <a:cxn ang="0">
                  <a:pos x="0" y="420"/>
                </a:cxn>
              </a:cxnLst>
              <a:rect l="0" t="0" r="r" b="b"/>
              <a:pathLst>
                <a:path w="323" h="457">
                  <a:moveTo>
                    <a:pt x="0" y="420"/>
                  </a:moveTo>
                  <a:lnTo>
                    <a:pt x="16" y="398"/>
                  </a:lnTo>
                  <a:lnTo>
                    <a:pt x="31" y="360"/>
                  </a:lnTo>
                  <a:lnTo>
                    <a:pt x="10" y="344"/>
                  </a:lnTo>
                  <a:lnTo>
                    <a:pt x="6" y="319"/>
                  </a:lnTo>
                  <a:lnTo>
                    <a:pt x="37" y="305"/>
                  </a:lnTo>
                  <a:lnTo>
                    <a:pt x="61" y="298"/>
                  </a:lnTo>
                  <a:lnTo>
                    <a:pt x="85" y="330"/>
                  </a:lnTo>
                  <a:lnTo>
                    <a:pt x="123" y="315"/>
                  </a:lnTo>
                  <a:lnTo>
                    <a:pt x="151" y="271"/>
                  </a:lnTo>
                  <a:lnTo>
                    <a:pt x="144" y="227"/>
                  </a:lnTo>
                  <a:lnTo>
                    <a:pt x="120" y="206"/>
                  </a:lnTo>
                  <a:lnTo>
                    <a:pt x="106" y="174"/>
                  </a:lnTo>
                  <a:lnTo>
                    <a:pt x="118" y="150"/>
                  </a:lnTo>
                  <a:lnTo>
                    <a:pt x="109" y="120"/>
                  </a:lnTo>
                  <a:lnTo>
                    <a:pt x="76" y="119"/>
                  </a:lnTo>
                  <a:lnTo>
                    <a:pt x="76" y="77"/>
                  </a:lnTo>
                  <a:lnTo>
                    <a:pt x="219" y="59"/>
                  </a:lnTo>
                  <a:lnTo>
                    <a:pt x="237" y="31"/>
                  </a:lnTo>
                  <a:lnTo>
                    <a:pt x="261" y="6"/>
                  </a:lnTo>
                  <a:lnTo>
                    <a:pt x="295" y="0"/>
                  </a:lnTo>
                  <a:lnTo>
                    <a:pt x="323" y="10"/>
                  </a:lnTo>
                  <a:lnTo>
                    <a:pt x="312" y="69"/>
                  </a:lnTo>
                  <a:lnTo>
                    <a:pt x="298" y="81"/>
                  </a:lnTo>
                  <a:lnTo>
                    <a:pt x="293" y="226"/>
                  </a:lnTo>
                  <a:lnTo>
                    <a:pt x="285" y="243"/>
                  </a:lnTo>
                  <a:lnTo>
                    <a:pt x="264" y="265"/>
                  </a:lnTo>
                  <a:lnTo>
                    <a:pt x="258" y="326"/>
                  </a:lnTo>
                  <a:lnTo>
                    <a:pt x="223" y="330"/>
                  </a:lnTo>
                  <a:lnTo>
                    <a:pt x="219" y="403"/>
                  </a:lnTo>
                  <a:lnTo>
                    <a:pt x="169" y="423"/>
                  </a:lnTo>
                  <a:lnTo>
                    <a:pt x="159" y="439"/>
                  </a:lnTo>
                  <a:lnTo>
                    <a:pt x="123" y="439"/>
                  </a:lnTo>
                  <a:lnTo>
                    <a:pt x="100" y="425"/>
                  </a:lnTo>
                  <a:lnTo>
                    <a:pt x="71" y="439"/>
                  </a:lnTo>
                  <a:lnTo>
                    <a:pt x="47" y="450"/>
                  </a:lnTo>
                  <a:lnTo>
                    <a:pt x="27" y="457"/>
                  </a:lnTo>
                  <a:lnTo>
                    <a:pt x="27" y="433"/>
                  </a:lnTo>
                  <a:lnTo>
                    <a:pt x="0" y="42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" name="Freeform 166"/>
            <p:cNvSpPr>
              <a:spLocks noChangeAspect="1"/>
            </p:cNvSpPr>
            <p:nvPr/>
          </p:nvSpPr>
          <p:spPr bwMode="auto">
            <a:xfrm>
              <a:off x="1052773" y="4265900"/>
              <a:ext cx="520440" cy="582186"/>
            </a:xfrm>
            <a:custGeom>
              <a:avLst/>
              <a:gdLst/>
              <a:ahLst/>
              <a:cxnLst>
                <a:cxn ang="0">
                  <a:pos x="4" y="553"/>
                </a:cxn>
                <a:cxn ang="0">
                  <a:pos x="22" y="578"/>
                </a:cxn>
                <a:cxn ang="0">
                  <a:pos x="135" y="565"/>
                </a:cxn>
                <a:cxn ang="0">
                  <a:pos x="238" y="653"/>
                </a:cxn>
                <a:cxn ang="0">
                  <a:pos x="262" y="689"/>
                </a:cxn>
                <a:cxn ang="0">
                  <a:pos x="346" y="636"/>
                </a:cxn>
                <a:cxn ang="0">
                  <a:pos x="391" y="674"/>
                </a:cxn>
                <a:cxn ang="0">
                  <a:pos x="441" y="654"/>
                </a:cxn>
                <a:cxn ang="0">
                  <a:pos x="462" y="784"/>
                </a:cxn>
                <a:cxn ang="0">
                  <a:pos x="490" y="846"/>
                </a:cxn>
                <a:cxn ang="0">
                  <a:pos x="593" y="851"/>
                </a:cxn>
                <a:cxn ang="0">
                  <a:pos x="628" y="907"/>
                </a:cxn>
                <a:cxn ang="0">
                  <a:pos x="678" y="871"/>
                </a:cxn>
                <a:cxn ang="0">
                  <a:pos x="720" y="909"/>
                </a:cxn>
                <a:cxn ang="0">
                  <a:pos x="749" y="982"/>
                </a:cxn>
                <a:cxn ang="0">
                  <a:pos x="810" y="950"/>
                </a:cxn>
                <a:cxn ang="0">
                  <a:pos x="771" y="891"/>
                </a:cxn>
                <a:cxn ang="0">
                  <a:pos x="763" y="733"/>
                </a:cxn>
                <a:cxn ang="0">
                  <a:pos x="817" y="685"/>
                </a:cxn>
                <a:cxn ang="0">
                  <a:pos x="828" y="634"/>
                </a:cxn>
                <a:cxn ang="0">
                  <a:pos x="814" y="573"/>
                </a:cxn>
                <a:cxn ang="0">
                  <a:pos x="810" y="506"/>
                </a:cxn>
                <a:cxn ang="0">
                  <a:pos x="781" y="458"/>
                </a:cxn>
                <a:cxn ang="0">
                  <a:pos x="761" y="413"/>
                </a:cxn>
                <a:cxn ang="0">
                  <a:pos x="776" y="369"/>
                </a:cxn>
                <a:cxn ang="0">
                  <a:pos x="799" y="326"/>
                </a:cxn>
                <a:cxn ang="0">
                  <a:pos x="858" y="198"/>
                </a:cxn>
                <a:cxn ang="0">
                  <a:pos x="887" y="157"/>
                </a:cxn>
                <a:cxn ang="0">
                  <a:pos x="858" y="130"/>
                </a:cxn>
                <a:cxn ang="0">
                  <a:pos x="845" y="67"/>
                </a:cxn>
                <a:cxn ang="0">
                  <a:pos x="800" y="36"/>
                </a:cxn>
                <a:cxn ang="0">
                  <a:pos x="678" y="2"/>
                </a:cxn>
                <a:cxn ang="0">
                  <a:pos x="599" y="12"/>
                </a:cxn>
                <a:cxn ang="0">
                  <a:pos x="555" y="23"/>
                </a:cxn>
                <a:cxn ang="0">
                  <a:pos x="455" y="54"/>
                </a:cxn>
                <a:cxn ang="0">
                  <a:pos x="360" y="30"/>
                </a:cxn>
                <a:cxn ang="0">
                  <a:pos x="311" y="44"/>
                </a:cxn>
                <a:cxn ang="0">
                  <a:pos x="272" y="69"/>
                </a:cxn>
                <a:cxn ang="0">
                  <a:pos x="289" y="138"/>
                </a:cxn>
                <a:cxn ang="0">
                  <a:pos x="270" y="295"/>
                </a:cxn>
                <a:cxn ang="0">
                  <a:pos x="241" y="334"/>
                </a:cxn>
                <a:cxn ang="0">
                  <a:pos x="200" y="399"/>
                </a:cxn>
                <a:cxn ang="0">
                  <a:pos x="146" y="492"/>
                </a:cxn>
                <a:cxn ang="0">
                  <a:pos x="100" y="508"/>
                </a:cxn>
                <a:cxn ang="0">
                  <a:pos x="48" y="508"/>
                </a:cxn>
                <a:cxn ang="0">
                  <a:pos x="4" y="526"/>
                </a:cxn>
                <a:cxn ang="0">
                  <a:pos x="21" y="543"/>
                </a:cxn>
              </a:cxnLst>
              <a:rect l="0" t="0" r="r" b="b"/>
              <a:pathLst>
                <a:path w="887" h="982">
                  <a:moveTo>
                    <a:pt x="21" y="543"/>
                  </a:moveTo>
                  <a:lnTo>
                    <a:pt x="4" y="553"/>
                  </a:lnTo>
                  <a:lnTo>
                    <a:pt x="0" y="573"/>
                  </a:lnTo>
                  <a:lnTo>
                    <a:pt x="22" y="578"/>
                  </a:lnTo>
                  <a:lnTo>
                    <a:pt x="87" y="582"/>
                  </a:lnTo>
                  <a:lnTo>
                    <a:pt x="135" y="565"/>
                  </a:lnTo>
                  <a:lnTo>
                    <a:pt x="220" y="575"/>
                  </a:lnTo>
                  <a:lnTo>
                    <a:pt x="238" y="653"/>
                  </a:lnTo>
                  <a:lnTo>
                    <a:pt x="257" y="660"/>
                  </a:lnTo>
                  <a:lnTo>
                    <a:pt x="262" y="689"/>
                  </a:lnTo>
                  <a:lnTo>
                    <a:pt x="342" y="688"/>
                  </a:lnTo>
                  <a:lnTo>
                    <a:pt x="346" y="636"/>
                  </a:lnTo>
                  <a:lnTo>
                    <a:pt x="368" y="619"/>
                  </a:lnTo>
                  <a:lnTo>
                    <a:pt x="391" y="674"/>
                  </a:lnTo>
                  <a:lnTo>
                    <a:pt x="411" y="660"/>
                  </a:lnTo>
                  <a:lnTo>
                    <a:pt x="441" y="654"/>
                  </a:lnTo>
                  <a:lnTo>
                    <a:pt x="459" y="681"/>
                  </a:lnTo>
                  <a:lnTo>
                    <a:pt x="462" y="784"/>
                  </a:lnTo>
                  <a:lnTo>
                    <a:pt x="462" y="822"/>
                  </a:lnTo>
                  <a:lnTo>
                    <a:pt x="490" y="846"/>
                  </a:lnTo>
                  <a:lnTo>
                    <a:pt x="544" y="846"/>
                  </a:lnTo>
                  <a:lnTo>
                    <a:pt x="593" y="851"/>
                  </a:lnTo>
                  <a:lnTo>
                    <a:pt x="607" y="899"/>
                  </a:lnTo>
                  <a:lnTo>
                    <a:pt x="628" y="907"/>
                  </a:lnTo>
                  <a:lnTo>
                    <a:pt x="642" y="880"/>
                  </a:lnTo>
                  <a:lnTo>
                    <a:pt x="678" y="871"/>
                  </a:lnTo>
                  <a:lnTo>
                    <a:pt x="683" y="889"/>
                  </a:lnTo>
                  <a:lnTo>
                    <a:pt x="720" y="909"/>
                  </a:lnTo>
                  <a:lnTo>
                    <a:pt x="730" y="958"/>
                  </a:lnTo>
                  <a:lnTo>
                    <a:pt x="749" y="982"/>
                  </a:lnTo>
                  <a:lnTo>
                    <a:pt x="799" y="980"/>
                  </a:lnTo>
                  <a:lnTo>
                    <a:pt x="810" y="950"/>
                  </a:lnTo>
                  <a:lnTo>
                    <a:pt x="803" y="895"/>
                  </a:lnTo>
                  <a:lnTo>
                    <a:pt x="771" y="891"/>
                  </a:lnTo>
                  <a:lnTo>
                    <a:pt x="751" y="871"/>
                  </a:lnTo>
                  <a:lnTo>
                    <a:pt x="763" y="733"/>
                  </a:lnTo>
                  <a:lnTo>
                    <a:pt x="781" y="701"/>
                  </a:lnTo>
                  <a:lnTo>
                    <a:pt x="817" y="685"/>
                  </a:lnTo>
                  <a:lnTo>
                    <a:pt x="824" y="658"/>
                  </a:lnTo>
                  <a:lnTo>
                    <a:pt x="828" y="634"/>
                  </a:lnTo>
                  <a:lnTo>
                    <a:pt x="824" y="602"/>
                  </a:lnTo>
                  <a:lnTo>
                    <a:pt x="814" y="573"/>
                  </a:lnTo>
                  <a:lnTo>
                    <a:pt x="806" y="550"/>
                  </a:lnTo>
                  <a:lnTo>
                    <a:pt x="810" y="506"/>
                  </a:lnTo>
                  <a:lnTo>
                    <a:pt x="799" y="474"/>
                  </a:lnTo>
                  <a:lnTo>
                    <a:pt x="781" y="458"/>
                  </a:lnTo>
                  <a:lnTo>
                    <a:pt x="789" y="409"/>
                  </a:lnTo>
                  <a:lnTo>
                    <a:pt x="761" y="413"/>
                  </a:lnTo>
                  <a:lnTo>
                    <a:pt x="759" y="385"/>
                  </a:lnTo>
                  <a:lnTo>
                    <a:pt x="776" y="369"/>
                  </a:lnTo>
                  <a:lnTo>
                    <a:pt x="771" y="340"/>
                  </a:lnTo>
                  <a:lnTo>
                    <a:pt x="799" y="326"/>
                  </a:lnTo>
                  <a:lnTo>
                    <a:pt x="810" y="216"/>
                  </a:lnTo>
                  <a:lnTo>
                    <a:pt x="858" y="198"/>
                  </a:lnTo>
                  <a:lnTo>
                    <a:pt x="886" y="184"/>
                  </a:lnTo>
                  <a:lnTo>
                    <a:pt x="887" y="157"/>
                  </a:lnTo>
                  <a:lnTo>
                    <a:pt x="858" y="152"/>
                  </a:lnTo>
                  <a:lnTo>
                    <a:pt x="858" y="130"/>
                  </a:lnTo>
                  <a:lnTo>
                    <a:pt x="848" y="75"/>
                  </a:lnTo>
                  <a:lnTo>
                    <a:pt x="845" y="67"/>
                  </a:lnTo>
                  <a:lnTo>
                    <a:pt x="817" y="59"/>
                  </a:lnTo>
                  <a:lnTo>
                    <a:pt x="800" y="36"/>
                  </a:lnTo>
                  <a:lnTo>
                    <a:pt x="696" y="27"/>
                  </a:lnTo>
                  <a:lnTo>
                    <a:pt x="678" y="2"/>
                  </a:lnTo>
                  <a:lnTo>
                    <a:pt x="652" y="0"/>
                  </a:lnTo>
                  <a:lnTo>
                    <a:pt x="599" y="12"/>
                  </a:lnTo>
                  <a:lnTo>
                    <a:pt x="559" y="6"/>
                  </a:lnTo>
                  <a:lnTo>
                    <a:pt x="555" y="23"/>
                  </a:lnTo>
                  <a:lnTo>
                    <a:pt x="461" y="33"/>
                  </a:lnTo>
                  <a:lnTo>
                    <a:pt x="455" y="54"/>
                  </a:lnTo>
                  <a:lnTo>
                    <a:pt x="376" y="61"/>
                  </a:lnTo>
                  <a:lnTo>
                    <a:pt x="360" y="30"/>
                  </a:lnTo>
                  <a:lnTo>
                    <a:pt x="331" y="17"/>
                  </a:lnTo>
                  <a:lnTo>
                    <a:pt x="311" y="44"/>
                  </a:lnTo>
                  <a:lnTo>
                    <a:pt x="289" y="55"/>
                  </a:lnTo>
                  <a:lnTo>
                    <a:pt x="272" y="69"/>
                  </a:lnTo>
                  <a:lnTo>
                    <a:pt x="300" y="79"/>
                  </a:lnTo>
                  <a:lnTo>
                    <a:pt x="289" y="138"/>
                  </a:lnTo>
                  <a:lnTo>
                    <a:pt x="275" y="150"/>
                  </a:lnTo>
                  <a:lnTo>
                    <a:pt x="270" y="295"/>
                  </a:lnTo>
                  <a:lnTo>
                    <a:pt x="262" y="312"/>
                  </a:lnTo>
                  <a:lnTo>
                    <a:pt x="241" y="334"/>
                  </a:lnTo>
                  <a:lnTo>
                    <a:pt x="235" y="395"/>
                  </a:lnTo>
                  <a:lnTo>
                    <a:pt x="200" y="399"/>
                  </a:lnTo>
                  <a:lnTo>
                    <a:pt x="196" y="472"/>
                  </a:lnTo>
                  <a:lnTo>
                    <a:pt x="146" y="492"/>
                  </a:lnTo>
                  <a:lnTo>
                    <a:pt x="136" y="508"/>
                  </a:lnTo>
                  <a:lnTo>
                    <a:pt x="100" y="508"/>
                  </a:lnTo>
                  <a:lnTo>
                    <a:pt x="77" y="494"/>
                  </a:lnTo>
                  <a:lnTo>
                    <a:pt x="48" y="508"/>
                  </a:lnTo>
                  <a:lnTo>
                    <a:pt x="24" y="519"/>
                  </a:lnTo>
                  <a:lnTo>
                    <a:pt x="4" y="526"/>
                  </a:lnTo>
                  <a:lnTo>
                    <a:pt x="16" y="541"/>
                  </a:lnTo>
                  <a:lnTo>
                    <a:pt x="21" y="54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" name="Freeform 167"/>
            <p:cNvSpPr>
              <a:spLocks noChangeAspect="1"/>
            </p:cNvSpPr>
            <p:nvPr/>
          </p:nvSpPr>
          <p:spPr bwMode="auto">
            <a:xfrm>
              <a:off x="1052773" y="4265900"/>
              <a:ext cx="520440" cy="582186"/>
            </a:xfrm>
            <a:custGeom>
              <a:avLst/>
              <a:gdLst/>
              <a:ahLst/>
              <a:cxnLst>
                <a:cxn ang="0">
                  <a:pos x="4" y="553"/>
                </a:cxn>
                <a:cxn ang="0">
                  <a:pos x="22" y="578"/>
                </a:cxn>
                <a:cxn ang="0">
                  <a:pos x="135" y="565"/>
                </a:cxn>
                <a:cxn ang="0">
                  <a:pos x="238" y="653"/>
                </a:cxn>
                <a:cxn ang="0">
                  <a:pos x="262" y="689"/>
                </a:cxn>
                <a:cxn ang="0">
                  <a:pos x="346" y="636"/>
                </a:cxn>
                <a:cxn ang="0">
                  <a:pos x="391" y="674"/>
                </a:cxn>
                <a:cxn ang="0">
                  <a:pos x="441" y="654"/>
                </a:cxn>
                <a:cxn ang="0">
                  <a:pos x="462" y="784"/>
                </a:cxn>
                <a:cxn ang="0">
                  <a:pos x="490" y="846"/>
                </a:cxn>
                <a:cxn ang="0">
                  <a:pos x="593" y="851"/>
                </a:cxn>
                <a:cxn ang="0">
                  <a:pos x="628" y="907"/>
                </a:cxn>
                <a:cxn ang="0">
                  <a:pos x="678" y="871"/>
                </a:cxn>
                <a:cxn ang="0">
                  <a:pos x="720" y="909"/>
                </a:cxn>
                <a:cxn ang="0">
                  <a:pos x="749" y="982"/>
                </a:cxn>
                <a:cxn ang="0">
                  <a:pos x="810" y="950"/>
                </a:cxn>
                <a:cxn ang="0">
                  <a:pos x="771" y="891"/>
                </a:cxn>
                <a:cxn ang="0">
                  <a:pos x="763" y="733"/>
                </a:cxn>
                <a:cxn ang="0">
                  <a:pos x="817" y="685"/>
                </a:cxn>
                <a:cxn ang="0">
                  <a:pos x="828" y="634"/>
                </a:cxn>
                <a:cxn ang="0">
                  <a:pos x="814" y="573"/>
                </a:cxn>
                <a:cxn ang="0">
                  <a:pos x="810" y="506"/>
                </a:cxn>
                <a:cxn ang="0">
                  <a:pos x="781" y="458"/>
                </a:cxn>
                <a:cxn ang="0">
                  <a:pos x="761" y="413"/>
                </a:cxn>
                <a:cxn ang="0">
                  <a:pos x="776" y="369"/>
                </a:cxn>
                <a:cxn ang="0">
                  <a:pos x="799" y="326"/>
                </a:cxn>
                <a:cxn ang="0">
                  <a:pos x="858" y="198"/>
                </a:cxn>
                <a:cxn ang="0">
                  <a:pos x="887" y="157"/>
                </a:cxn>
                <a:cxn ang="0">
                  <a:pos x="858" y="130"/>
                </a:cxn>
                <a:cxn ang="0">
                  <a:pos x="845" y="67"/>
                </a:cxn>
                <a:cxn ang="0">
                  <a:pos x="800" y="36"/>
                </a:cxn>
                <a:cxn ang="0">
                  <a:pos x="678" y="2"/>
                </a:cxn>
                <a:cxn ang="0">
                  <a:pos x="599" y="12"/>
                </a:cxn>
                <a:cxn ang="0">
                  <a:pos x="555" y="23"/>
                </a:cxn>
                <a:cxn ang="0">
                  <a:pos x="455" y="54"/>
                </a:cxn>
                <a:cxn ang="0">
                  <a:pos x="360" y="30"/>
                </a:cxn>
                <a:cxn ang="0">
                  <a:pos x="311" y="44"/>
                </a:cxn>
                <a:cxn ang="0">
                  <a:pos x="272" y="69"/>
                </a:cxn>
                <a:cxn ang="0">
                  <a:pos x="289" y="138"/>
                </a:cxn>
                <a:cxn ang="0">
                  <a:pos x="270" y="295"/>
                </a:cxn>
                <a:cxn ang="0">
                  <a:pos x="241" y="334"/>
                </a:cxn>
                <a:cxn ang="0">
                  <a:pos x="200" y="399"/>
                </a:cxn>
                <a:cxn ang="0">
                  <a:pos x="146" y="492"/>
                </a:cxn>
                <a:cxn ang="0">
                  <a:pos x="100" y="508"/>
                </a:cxn>
                <a:cxn ang="0">
                  <a:pos x="48" y="508"/>
                </a:cxn>
                <a:cxn ang="0">
                  <a:pos x="4" y="526"/>
                </a:cxn>
              </a:cxnLst>
              <a:rect l="0" t="0" r="r" b="b"/>
              <a:pathLst>
                <a:path w="887" h="982">
                  <a:moveTo>
                    <a:pt x="21" y="543"/>
                  </a:moveTo>
                  <a:lnTo>
                    <a:pt x="4" y="553"/>
                  </a:lnTo>
                  <a:lnTo>
                    <a:pt x="0" y="573"/>
                  </a:lnTo>
                  <a:lnTo>
                    <a:pt x="22" y="578"/>
                  </a:lnTo>
                  <a:lnTo>
                    <a:pt x="87" y="582"/>
                  </a:lnTo>
                  <a:lnTo>
                    <a:pt x="135" y="565"/>
                  </a:lnTo>
                  <a:lnTo>
                    <a:pt x="220" y="575"/>
                  </a:lnTo>
                  <a:lnTo>
                    <a:pt x="238" y="653"/>
                  </a:lnTo>
                  <a:lnTo>
                    <a:pt x="257" y="660"/>
                  </a:lnTo>
                  <a:lnTo>
                    <a:pt x="262" y="689"/>
                  </a:lnTo>
                  <a:lnTo>
                    <a:pt x="342" y="688"/>
                  </a:lnTo>
                  <a:lnTo>
                    <a:pt x="346" y="636"/>
                  </a:lnTo>
                  <a:lnTo>
                    <a:pt x="368" y="619"/>
                  </a:lnTo>
                  <a:lnTo>
                    <a:pt x="391" y="674"/>
                  </a:lnTo>
                  <a:lnTo>
                    <a:pt x="411" y="660"/>
                  </a:lnTo>
                  <a:lnTo>
                    <a:pt x="441" y="654"/>
                  </a:lnTo>
                  <a:lnTo>
                    <a:pt x="459" y="681"/>
                  </a:lnTo>
                  <a:lnTo>
                    <a:pt x="462" y="784"/>
                  </a:lnTo>
                  <a:lnTo>
                    <a:pt x="462" y="822"/>
                  </a:lnTo>
                  <a:lnTo>
                    <a:pt x="490" y="846"/>
                  </a:lnTo>
                  <a:lnTo>
                    <a:pt x="544" y="846"/>
                  </a:lnTo>
                  <a:lnTo>
                    <a:pt x="593" y="851"/>
                  </a:lnTo>
                  <a:lnTo>
                    <a:pt x="607" y="899"/>
                  </a:lnTo>
                  <a:lnTo>
                    <a:pt x="628" y="907"/>
                  </a:lnTo>
                  <a:lnTo>
                    <a:pt x="642" y="880"/>
                  </a:lnTo>
                  <a:lnTo>
                    <a:pt x="678" y="871"/>
                  </a:lnTo>
                  <a:lnTo>
                    <a:pt x="683" y="889"/>
                  </a:lnTo>
                  <a:lnTo>
                    <a:pt x="720" y="909"/>
                  </a:lnTo>
                  <a:lnTo>
                    <a:pt x="730" y="958"/>
                  </a:lnTo>
                  <a:lnTo>
                    <a:pt x="749" y="982"/>
                  </a:lnTo>
                  <a:lnTo>
                    <a:pt x="799" y="980"/>
                  </a:lnTo>
                  <a:lnTo>
                    <a:pt x="810" y="950"/>
                  </a:lnTo>
                  <a:lnTo>
                    <a:pt x="803" y="895"/>
                  </a:lnTo>
                  <a:lnTo>
                    <a:pt x="771" y="891"/>
                  </a:lnTo>
                  <a:lnTo>
                    <a:pt x="751" y="871"/>
                  </a:lnTo>
                  <a:lnTo>
                    <a:pt x="763" y="733"/>
                  </a:lnTo>
                  <a:lnTo>
                    <a:pt x="781" y="701"/>
                  </a:lnTo>
                  <a:lnTo>
                    <a:pt x="817" y="685"/>
                  </a:lnTo>
                  <a:lnTo>
                    <a:pt x="824" y="658"/>
                  </a:lnTo>
                  <a:lnTo>
                    <a:pt x="828" y="634"/>
                  </a:lnTo>
                  <a:lnTo>
                    <a:pt x="824" y="602"/>
                  </a:lnTo>
                  <a:lnTo>
                    <a:pt x="814" y="573"/>
                  </a:lnTo>
                  <a:lnTo>
                    <a:pt x="806" y="550"/>
                  </a:lnTo>
                  <a:lnTo>
                    <a:pt x="810" y="506"/>
                  </a:lnTo>
                  <a:lnTo>
                    <a:pt x="799" y="474"/>
                  </a:lnTo>
                  <a:lnTo>
                    <a:pt x="781" y="458"/>
                  </a:lnTo>
                  <a:lnTo>
                    <a:pt x="789" y="409"/>
                  </a:lnTo>
                  <a:lnTo>
                    <a:pt x="761" y="413"/>
                  </a:lnTo>
                  <a:lnTo>
                    <a:pt x="759" y="385"/>
                  </a:lnTo>
                  <a:lnTo>
                    <a:pt x="776" y="369"/>
                  </a:lnTo>
                  <a:lnTo>
                    <a:pt x="771" y="340"/>
                  </a:lnTo>
                  <a:lnTo>
                    <a:pt x="799" y="326"/>
                  </a:lnTo>
                  <a:lnTo>
                    <a:pt x="810" y="216"/>
                  </a:lnTo>
                  <a:lnTo>
                    <a:pt x="858" y="198"/>
                  </a:lnTo>
                  <a:lnTo>
                    <a:pt x="886" y="184"/>
                  </a:lnTo>
                  <a:lnTo>
                    <a:pt x="887" y="157"/>
                  </a:lnTo>
                  <a:lnTo>
                    <a:pt x="858" y="152"/>
                  </a:lnTo>
                  <a:lnTo>
                    <a:pt x="858" y="130"/>
                  </a:lnTo>
                  <a:lnTo>
                    <a:pt x="848" y="75"/>
                  </a:lnTo>
                  <a:lnTo>
                    <a:pt x="845" y="67"/>
                  </a:lnTo>
                  <a:lnTo>
                    <a:pt x="817" y="59"/>
                  </a:lnTo>
                  <a:lnTo>
                    <a:pt x="800" y="36"/>
                  </a:lnTo>
                  <a:lnTo>
                    <a:pt x="696" y="27"/>
                  </a:lnTo>
                  <a:lnTo>
                    <a:pt x="678" y="2"/>
                  </a:lnTo>
                  <a:lnTo>
                    <a:pt x="652" y="0"/>
                  </a:lnTo>
                  <a:lnTo>
                    <a:pt x="599" y="12"/>
                  </a:lnTo>
                  <a:lnTo>
                    <a:pt x="559" y="6"/>
                  </a:lnTo>
                  <a:lnTo>
                    <a:pt x="555" y="23"/>
                  </a:lnTo>
                  <a:lnTo>
                    <a:pt x="461" y="33"/>
                  </a:lnTo>
                  <a:lnTo>
                    <a:pt x="455" y="54"/>
                  </a:lnTo>
                  <a:lnTo>
                    <a:pt x="376" y="61"/>
                  </a:lnTo>
                  <a:lnTo>
                    <a:pt x="360" y="30"/>
                  </a:lnTo>
                  <a:lnTo>
                    <a:pt x="331" y="17"/>
                  </a:lnTo>
                  <a:lnTo>
                    <a:pt x="311" y="44"/>
                  </a:lnTo>
                  <a:lnTo>
                    <a:pt x="289" y="55"/>
                  </a:lnTo>
                  <a:lnTo>
                    <a:pt x="272" y="69"/>
                  </a:lnTo>
                  <a:lnTo>
                    <a:pt x="300" y="79"/>
                  </a:lnTo>
                  <a:lnTo>
                    <a:pt x="289" y="138"/>
                  </a:lnTo>
                  <a:lnTo>
                    <a:pt x="275" y="150"/>
                  </a:lnTo>
                  <a:lnTo>
                    <a:pt x="270" y="295"/>
                  </a:lnTo>
                  <a:lnTo>
                    <a:pt x="262" y="312"/>
                  </a:lnTo>
                  <a:lnTo>
                    <a:pt x="241" y="334"/>
                  </a:lnTo>
                  <a:lnTo>
                    <a:pt x="235" y="395"/>
                  </a:lnTo>
                  <a:lnTo>
                    <a:pt x="200" y="399"/>
                  </a:lnTo>
                  <a:lnTo>
                    <a:pt x="196" y="472"/>
                  </a:lnTo>
                  <a:lnTo>
                    <a:pt x="146" y="492"/>
                  </a:lnTo>
                  <a:lnTo>
                    <a:pt x="136" y="508"/>
                  </a:lnTo>
                  <a:lnTo>
                    <a:pt x="100" y="508"/>
                  </a:lnTo>
                  <a:lnTo>
                    <a:pt x="77" y="494"/>
                  </a:lnTo>
                  <a:lnTo>
                    <a:pt x="48" y="508"/>
                  </a:lnTo>
                  <a:lnTo>
                    <a:pt x="24" y="519"/>
                  </a:lnTo>
                  <a:lnTo>
                    <a:pt x="4" y="526"/>
                  </a:lnTo>
                  <a:lnTo>
                    <a:pt x="16" y="541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" name="Freeform 168"/>
            <p:cNvSpPr>
              <a:spLocks noChangeAspect="1"/>
            </p:cNvSpPr>
            <p:nvPr/>
          </p:nvSpPr>
          <p:spPr bwMode="auto">
            <a:xfrm>
              <a:off x="1038707" y="4601367"/>
              <a:ext cx="332308" cy="379841"/>
            </a:xfrm>
            <a:custGeom>
              <a:avLst/>
              <a:gdLst/>
              <a:ahLst/>
              <a:cxnLst>
                <a:cxn ang="0">
                  <a:pos x="23" y="8"/>
                </a:cxn>
                <a:cxn ang="0">
                  <a:pos x="45" y="13"/>
                </a:cxn>
                <a:cxn ang="0">
                  <a:pos x="110" y="17"/>
                </a:cxn>
                <a:cxn ang="0">
                  <a:pos x="158" y="0"/>
                </a:cxn>
                <a:cxn ang="0">
                  <a:pos x="243" y="10"/>
                </a:cxn>
                <a:cxn ang="0">
                  <a:pos x="261" y="88"/>
                </a:cxn>
                <a:cxn ang="0">
                  <a:pos x="280" y="95"/>
                </a:cxn>
                <a:cxn ang="0">
                  <a:pos x="285" y="124"/>
                </a:cxn>
                <a:cxn ang="0">
                  <a:pos x="365" y="123"/>
                </a:cxn>
                <a:cxn ang="0">
                  <a:pos x="369" y="71"/>
                </a:cxn>
                <a:cxn ang="0">
                  <a:pos x="391" y="54"/>
                </a:cxn>
                <a:cxn ang="0">
                  <a:pos x="414" y="109"/>
                </a:cxn>
                <a:cxn ang="0">
                  <a:pos x="434" y="95"/>
                </a:cxn>
                <a:cxn ang="0">
                  <a:pos x="464" y="89"/>
                </a:cxn>
                <a:cxn ang="0">
                  <a:pos x="482" y="116"/>
                </a:cxn>
                <a:cxn ang="0">
                  <a:pos x="485" y="219"/>
                </a:cxn>
                <a:cxn ang="0">
                  <a:pos x="485" y="257"/>
                </a:cxn>
                <a:cxn ang="0">
                  <a:pos x="513" y="281"/>
                </a:cxn>
                <a:cxn ang="0">
                  <a:pos x="567" y="281"/>
                </a:cxn>
                <a:cxn ang="0">
                  <a:pos x="561" y="388"/>
                </a:cxn>
                <a:cxn ang="0">
                  <a:pos x="519" y="388"/>
                </a:cxn>
                <a:cxn ang="0">
                  <a:pos x="503" y="360"/>
                </a:cxn>
                <a:cxn ang="0">
                  <a:pos x="485" y="361"/>
                </a:cxn>
                <a:cxn ang="0">
                  <a:pos x="484" y="388"/>
                </a:cxn>
                <a:cxn ang="0">
                  <a:pos x="454" y="391"/>
                </a:cxn>
                <a:cxn ang="0">
                  <a:pos x="452" y="513"/>
                </a:cxn>
                <a:cxn ang="0">
                  <a:pos x="457" y="553"/>
                </a:cxn>
                <a:cxn ang="0">
                  <a:pos x="492" y="599"/>
                </a:cxn>
                <a:cxn ang="0">
                  <a:pos x="493" y="622"/>
                </a:cxn>
                <a:cxn ang="0">
                  <a:pos x="442" y="644"/>
                </a:cxn>
                <a:cxn ang="0">
                  <a:pos x="404" y="638"/>
                </a:cxn>
                <a:cxn ang="0">
                  <a:pos x="307" y="625"/>
                </a:cxn>
                <a:cxn ang="0">
                  <a:pos x="291" y="600"/>
                </a:cxn>
                <a:cxn ang="0">
                  <a:pos x="174" y="604"/>
                </a:cxn>
                <a:cxn ang="0">
                  <a:pos x="94" y="596"/>
                </a:cxn>
                <a:cxn ang="0">
                  <a:pos x="46" y="573"/>
                </a:cxn>
                <a:cxn ang="0">
                  <a:pos x="1" y="591"/>
                </a:cxn>
                <a:cxn ang="0">
                  <a:pos x="0" y="513"/>
                </a:cxn>
                <a:cxn ang="0">
                  <a:pos x="51" y="425"/>
                </a:cxn>
                <a:cxn ang="0">
                  <a:pos x="76" y="365"/>
                </a:cxn>
                <a:cxn ang="0">
                  <a:pos x="81" y="350"/>
                </a:cxn>
                <a:cxn ang="0">
                  <a:pos x="103" y="344"/>
                </a:cxn>
                <a:cxn ang="0">
                  <a:pos x="113" y="298"/>
                </a:cxn>
                <a:cxn ang="0">
                  <a:pos x="82" y="250"/>
                </a:cxn>
                <a:cxn ang="0">
                  <a:pos x="72" y="188"/>
                </a:cxn>
                <a:cxn ang="0">
                  <a:pos x="65" y="120"/>
                </a:cxn>
                <a:cxn ang="0">
                  <a:pos x="41" y="106"/>
                </a:cxn>
                <a:cxn ang="0">
                  <a:pos x="41" y="36"/>
                </a:cxn>
                <a:cxn ang="0">
                  <a:pos x="16" y="36"/>
                </a:cxn>
                <a:cxn ang="0">
                  <a:pos x="23" y="8"/>
                </a:cxn>
              </a:cxnLst>
              <a:rect l="0" t="0" r="r" b="b"/>
              <a:pathLst>
                <a:path w="567" h="644">
                  <a:moveTo>
                    <a:pt x="23" y="8"/>
                  </a:moveTo>
                  <a:lnTo>
                    <a:pt x="45" y="13"/>
                  </a:lnTo>
                  <a:lnTo>
                    <a:pt x="110" y="17"/>
                  </a:lnTo>
                  <a:lnTo>
                    <a:pt x="158" y="0"/>
                  </a:lnTo>
                  <a:lnTo>
                    <a:pt x="243" y="10"/>
                  </a:lnTo>
                  <a:lnTo>
                    <a:pt x="261" y="88"/>
                  </a:lnTo>
                  <a:lnTo>
                    <a:pt x="280" y="95"/>
                  </a:lnTo>
                  <a:lnTo>
                    <a:pt x="285" y="124"/>
                  </a:lnTo>
                  <a:lnTo>
                    <a:pt x="365" y="123"/>
                  </a:lnTo>
                  <a:lnTo>
                    <a:pt x="369" y="71"/>
                  </a:lnTo>
                  <a:lnTo>
                    <a:pt x="391" y="54"/>
                  </a:lnTo>
                  <a:lnTo>
                    <a:pt x="414" y="109"/>
                  </a:lnTo>
                  <a:lnTo>
                    <a:pt x="434" y="95"/>
                  </a:lnTo>
                  <a:lnTo>
                    <a:pt x="464" y="89"/>
                  </a:lnTo>
                  <a:lnTo>
                    <a:pt x="482" y="116"/>
                  </a:lnTo>
                  <a:lnTo>
                    <a:pt x="485" y="219"/>
                  </a:lnTo>
                  <a:lnTo>
                    <a:pt x="485" y="257"/>
                  </a:lnTo>
                  <a:lnTo>
                    <a:pt x="513" y="281"/>
                  </a:lnTo>
                  <a:lnTo>
                    <a:pt x="567" y="281"/>
                  </a:lnTo>
                  <a:lnTo>
                    <a:pt x="561" y="388"/>
                  </a:lnTo>
                  <a:lnTo>
                    <a:pt x="519" y="388"/>
                  </a:lnTo>
                  <a:lnTo>
                    <a:pt x="503" y="360"/>
                  </a:lnTo>
                  <a:lnTo>
                    <a:pt x="485" y="361"/>
                  </a:lnTo>
                  <a:lnTo>
                    <a:pt x="484" y="388"/>
                  </a:lnTo>
                  <a:lnTo>
                    <a:pt x="454" y="391"/>
                  </a:lnTo>
                  <a:lnTo>
                    <a:pt x="452" y="513"/>
                  </a:lnTo>
                  <a:lnTo>
                    <a:pt x="457" y="553"/>
                  </a:lnTo>
                  <a:lnTo>
                    <a:pt x="492" y="599"/>
                  </a:lnTo>
                  <a:lnTo>
                    <a:pt x="493" y="622"/>
                  </a:lnTo>
                  <a:lnTo>
                    <a:pt x="442" y="644"/>
                  </a:lnTo>
                  <a:lnTo>
                    <a:pt x="404" y="638"/>
                  </a:lnTo>
                  <a:lnTo>
                    <a:pt x="307" y="625"/>
                  </a:lnTo>
                  <a:lnTo>
                    <a:pt x="291" y="600"/>
                  </a:lnTo>
                  <a:lnTo>
                    <a:pt x="174" y="604"/>
                  </a:lnTo>
                  <a:lnTo>
                    <a:pt x="94" y="596"/>
                  </a:lnTo>
                  <a:lnTo>
                    <a:pt x="46" y="573"/>
                  </a:lnTo>
                  <a:lnTo>
                    <a:pt x="1" y="591"/>
                  </a:lnTo>
                  <a:lnTo>
                    <a:pt x="0" y="513"/>
                  </a:lnTo>
                  <a:lnTo>
                    <a:pt x="51" y="425"/>
                  </a:lnTo>
                  <a:lnTo>
                    <a:pt x="76" y="365"/>
                  </a:lnTo>
                  <a:lnTo>
                    <a:pt x="81" y="350"/>
                  </a:lnTo>
                  <a:lnTo>
                    <a:pt x="103" y="344"/>
                  </a:lnTo>
                  <a:lnTo>
                    <a:pt x="113" y="298"/>
                  </a:lnTo>
                  <a:lnTo>
                    <a:pt x="82" y="250"/>
                  </a:lnTo>
                  <a:lnTo>
                    <a:pt x="72" y="188"/>
                  </a:lnTo>
                  <a:lnTo>
                    <a:pt x="65" y="120"/>
                  </a:lnTo>
                  <a:lnTo>
                    <a:pt x="41" y="106"/>
                  </a:lnTo>
                  <a:lnTo>
                    <a:pt x="41" y="36"/>
                  </a:lnTo>
                  <a:lnTo>
                    <a:pt x="16" y="36"/>
                  </a:lnTo>
                  <a:lnTo>
                    <a:pt x="23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" name="Freeform 169"/>
            <p:cNvSpPr>
              <a:spLocks noChangeAspect="1"/>
            </p:cNvSpPr>
            <p:nvPr/>
          </p:nvSpPr>
          <p:spPr bwMode="auto">
            <a:xfrm>
              <a:off x="1538048" y="5236801"/>
              <a:ext cx="40440" cy="49699"/>
            </a:xfrm>
            <a:custGeom>
              <a:avLst/>
              <a:gdLst/>
              <a:ahLst/>
              <a:cxnLst>
                <a:cxn ang="0">
                  <a:pos x="69" y="72"/>
                </a:cxn>
                <a:cxn ang="0">
                  <a:pos x="59" y="34"/>
                </a:cxn>
                <a:cxn ang="0">
                  <a:pos x="41" y="0"/>
                </a:cxn>
                <a:cxn ang="0">
                  <a:pos x="6" y="17"/>
                </a:cxn>
                <a:cxn ang="0">
                  <a:pos x="0" y="47"/>
                </a:cxn>
                <a:cxn ang="0">
                  <a:pos x="4" y="68"/>
                </a:cxn>
                <a:cxn ang="0">
                  <a:pos x="24" y="76"/>
                </a:cxn>
                <a:cxn ang="0">
                  <a:pos x="54" y="85"/>
                </a:cxn>
                <a:cxn ang="0">
                  <a:pos x="69" y="72"/>
                </a:cxn>
              </a:cxnLst>
              <a:rect l="0" t="0" r="r" b="b"/>
              <a:pathLst>
                <a:path w="69" h="85">
                  <a:moveTo>
                    <a:pt x="69" y="72"/>
                  </a:moveTo>
                  <a:lnTo>
                    <a:pt x="59" y="34"/>
                  </a:lnTo>
                  <a:lnTo>
                    <a:pt x="41" y="0"/>
                  </a:lnTo>
                  <a:lnTo>
                    <a:pt x="6" y="17"/>
                  </a:lnTo>
                  <a:lnTo>
                    <a:pt x="0" y="47"/>
                  </a:lnTo>
                  <a:lnTo>
                    <a:pt x="4" y="68"/>
                  </a:lnTo>
                  <a:lnTo>
                    <a:pt x="24" y="76"/>
                  </a:lnTo>
                  <a:lnTo>
                    <a:pt x="54" y="85"/>
                  </a:lnTo>
                  <a:lnTo>
                    <a:pt x="69" y="7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" name="Freeform 170"/>
            <p:cNvSpPr>
              <a:spLocks noChangeAspect="1"/>
            </p:cNvSpPr>
            <p:nvPr/>
          </p:nvSpPr>
          <p:spPr bwMode="auto">
            <a:xfrm>
              <a:off x="1629477" y="4273000"/>
              <a:ext cx="212748" cy="283993"/>
            </a:xfrm>
            <a:custGeom>
              <a:avLst/>
              <a:gdLst/>
              <a:ahLst/>
              <a:cxnLst>
                <a:cxn ang="0">
                  <a:pos x="260" y="480"/>
                </a:cxn>
                <a:cxn ang="0">
                  <a:pos x="191" y="441"/>
                </a:cxn>
                <a:cxn ang="0">
                  <a:pos x="186" y="403"/>
                </a:cxn>
                <a:cxn ang="0">
                  <a:pos x="138" y="389"/>
                </a:cxn>
                <a:cxn ang="0">
                  <a:pos x="46" y="312"/>
                </a:cxn>
                <a:cxn ang="0">
                  <a:pos x="11" y="312"/>
                </a:cxn>
                <a:cxn ang="0">
                  <a:pos x="0" y="283"/>
                </a:cxn>
                <a:cxn ang="0">
                  <a:pos x="9" y="232"/>
                </a:cxn>
                <a:cxn ang="0">
                  <a:pos x="34" y="180"/>
                </a:cxn>
                <a:cxn ang="0">
                  <a:pos x="34" y="93"/>
                </a:cxn>
                <a:cxn ang="0">
                  <a:pos x="9" y="48"/>
                </a:cxn>
                <a:cxn ang="0">
                  <a:pos x="69" y="0"/>
                </a:cxn>
                <a:cxn ang="0">
                  <a:pos x="118" y="11"/>
                </a:cxn>
                <a:cxn ang="0">
                  <a:pos x="159" y="43"/>
                </a:cxn>
                <a:cxn ang="0">
                  <a:pos x="165" y="74"/>
                </a:cxn>
                <a:cxn ang="0">
                  <a:pos x="263" y="67"/>
                </a:cxn>
                <a:cxn ang="0">
                  <a:pos x="263" y="47"/>
                </a:cxn>
                <a:cxn ang="0">
                  <a:pos x="325" y="43"/>
                </a:cxn>
                <a:cxn ang="0">
                  <a:pos x="341" y="60"/>
                </a:cxn>
                <a:cxn ang="0">
                  <a:pos x="361" y="74"/>
                </a:cxn>
                <a:cxn ang="0">
                  <a:pos x="337" y="97"/>
                </a:cxn>
                <a:cxn ang="0">
                  <a:pos x="324" y="126"/>
                </a:cxn>
                <a:cxn ang="0">
                  <a:pos x="334" y="325"/>
                </a:cxn>
                <a:cxn ang="0">
                  <a:pos x="351" y="338"/>
                </a:cxn>
                <a:cxn ang="0">
                  <a:pos x="331" y="357"/>
                </a:cxn>
                <a:cxn ang="0">
                  <a:pos x="317" y="388"/>
                </a:cxn>
                <a:cxn ang="0">
                  <a:pos x="283" y="417"/>
                </a:cxn>
                <a:cxn ang="0">
                  <a:pos x="276" y="448"/>
                </a:cxn>
                <a:cxn ang="0">
                  <a:pos x="260" y="480"/>
                </a:cxn>
              </a:cxnLst>
              <a:rect l="0" t="0" r="r" b="b"/>
              <a:pathLst>
                <a:path w="361" h="480">
                  <a:moveTo>
                    <a:pt x="260" y="480"/>
                  </a:moveTo>
                  <a:lnTo>
                    <a:pt x="191" y="441"/>
                  </a:lnTo>
                  <a:lnTo>
                    <a:pt x="186" y="403"/>
                  </a:lnTo>
                  <a:lnTo>
                    <a:pt x="138" y="389"/>
                  </a:lnTo>
                  <a:lnTo>
                    <a:pt x="46" y="312"/>
                  </a:lnTo>
                  <a:lnTo>
                    <a:pt x="11" y="312"/>
                  </a:lnTo>
                  <a:lnTo>
                    <a:pt x="0" y="283"/>
                  </a:lnTo>
                  <a:lnTo>
                    <a:pt x="9" y="232"/>
                  </a:lnTo>
                  <a:lnTo>
                    <a:pt x="34" y="180"/>
                  </a:lnTo>
                  <a:lnTo>
                    <a:pt x="34" y="93"/>
                  </a:lnTo>
                  <a:lnTo>
                    <a:pt x="9" y="48"/>
                  </a:lnTo>
                  <a:lnTo>
                    <a:pt x="69" y="0"/>
                  </a:lnTo>
                  <a:lnTo>
                    <a:pt x="118" y="11"/>
                  </a:lnTo>
                  <a:lnTo>
                    <a:pt x="159" y="43"/>
                  </a:lnTo>
                  <a:lnTo>
                    <a:pt x="165" y="74"/>
                  </a:lnTo>
                  <a:lnTo>
                    <a:pt x="263" y="67"/>
                  </a:lnTo>
                  <a:lnTo>
                    <a:pt x="263" y="47"/>
                  </a:lnTo>
                  <a:lnTo>
                    <a:pt x="325" y="43"/>
                  </a:lnTo>
                  <a:lnTo>
                    <a:pt x="341" y="60"/>
                  </a:lnTo>
                  <a:lnTo>
                    <a:pt x="361" y="74"/>
                  </a:lnTo>
                  <a:lnTo>
                    <a:pt x="337" y="97"/>
                  </a:lnTo>
                  <a:lnTo>
                    <a:pt x="324" y="126"/>
                  </a:lnTo>
                  <a:lnTo>
                    <a:pt x="334" y="325"/>
                  </a:lnTo>
                  <a:lnTo>
                    <a:pt x="351" y="338"/>
                  </a:lnTo>
                  <a:lnTo>
                    <a:pt x="331" y="357"/>
                  </a:lnTo>
                  <a:lnTo>
                    <a:pt x="317" y="388"/>
                  </a:lnTo>
                  <a:lnTo>
                    <a:pt x="283" y="417"/>
                  </a:lnTo>
                  <a:lnTo>
                    <a:pt x="276" y="448"/>
                  </a:lnTo>
                  <a:lnTo>
                    <a:pt x="260" y="48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" name="Freeform 171"/>
            <p:cNvSpPr>
              <a:spLocks noChangeAspect="1"/>
            </p:cNvSpPr>
            <p:nvPr/>
          </p:nvSpPr>
          <p:spPr bwMode="auto">
            <a:xfrm>
              <a:off x="1608378" y="3800862"/>
              <a:ext cx="376264" cy="516512"/>
            </a:xfrm>
            <a:custGeom>
              <a:avLst/>
              <a:gdLst/>
              <a:ahLst/>
              <a:cxnLst>
                <a:cxn ang="0">
                  <a:pos x="399" y="872"/>
                </a:cxn>
                <a:cxn ang="0">
                  <a:pos x="379" y="858"/>
                </a:cxn>
                <a:cxn ang="0">
                  <a:pos x="363" y="841"/>
                </a:cxn>
                <a:cxn ang="0">
                  <a:pos x="301" y="845"/>
                </a:cxn>
                <a:cxn ang="0">
                  <a:pos x="301" y="865"/>
                </a:cxn>
                <a:cxn ang="0">
                  <a:pos x="203" y="872"/>
                </a:cxn>
                <a:cxn ang="0">
                  <a:pos x="197" y="841"/>
                </a:cxn>
                <a:cxn ang="0">
                  <a:pos x="156" y="809"/>
                </a:cxn>
                <a:cxn ang="0">
                  <a:pos x="107" y="798"/>
                </a:cxn>
                <a:cxn ang="0">
                  <a:pos x="111" y="771"/>
                </a:cxn>
                <a:cxn ang="0">
                  <a:pos x="89" y="734"/>
                </a:cxn>
                <a:cxn ang="0">
                  <a:pos x="73" y="723"/>
                </a:cxn>
                <a:cxn ang="0">
                  <a:pos x="52" y="705"/>
                </a:cxn>
                <a:cxn ang="0">
                  <a:pos x="49" y="669"/>
                </a:cxn>
                <a:cxn ang="0">
                  <a:pos x="25" y="664"/>
                </a:cxn>
                <a:cxn ang="0">
                  <a:pos x="0" y="617"/>
                </a:cxn>
                <a:cxn ang="0">
                  <a:pos x="47" y="614"/>
                </a:cxn>
                <a:cxn ang="0">
                  <a:pos x="59" y="511"/>
                </a:cxn>
                <a:cxn ang="0">
                  <a:pos x="97" y="509"/>
                </a:cxn>
                <a:cxn ang="0">
                  <a:pos x="104" y="404"/>
                </a:cxn>
                <a:cxn ang="0">
                  <a:pos x="162" y="395"/>
                </a:cxn>
                <a:cxn ang="0">
                  <a:pos x="156" y="269"/>
                </a:cxn>
                <a:cxn ang="0">
                  <a:pos x="124" y="262"/>
                </a:cxn>
                <a:cxn ang="0">
                  <a:pos x="126" y="227"/>
                </a:cxn>
                <a:cxn ang="0">
                  <a:pos x="167" y="228"/>
                </a:cxn>
                <a:cxn ang="0">
                  <a:pos x="163" y="190"/>
                </a:cxn>
                <a:cxn ang="0">
                  <a:pos x="146" y="145"/>
                </a:cxn>
                <a:cxn ang="0">
                  <a:pos x="142" y="86"/>
                </a:cxn>
                <a:cxn ang="0">
                  <a:pos x="173" y="0"/>
                </a:cxn>
                <a:cxn ang="0">
                  <a:pos x="191" y="37"/>
                </a:cxn>
                <a:cxn ang="0">
                  <a:pos x="215" y="79"/>
                </a:cxn>
                <a:cxn ang="0">
                  <a:pos x="237" y="106"/>
                </a:cxn>
                <a:cxn ang="0">
                  <a:pos x="265" y="163"/>
                </a:cxn>
                <a:cxn ang="0">
                  <a:pos x="283" y="200"/>
                </a:cxn>
                <a:cxn ang="0">
                  <a:pos x="286" y="242"/>
                </a:cxn>
                <a:cxn ang="0">
                  <a:pos x="344" y="258"/>
                </a:cxn>
                <a:cxn ang="0">
                  <a:pos x="367" y="316"/>
                </a:cxn>
                <a:cxn ang="0">
                  <a:pos x="403" y="385"/>
                </a:cxn>
                <a:cxn ang="0">
                  <a:pos x="391" y="418"/>
                </a:cxn>
                <a:cxn ang="0">
                  <a:pos x="383" y="506"/>
                </a:cxn>
                <a:cxn ang="0">
                  <a:pos x="434" y="513"/>
                </a:cxn>
                <a:cxn ang="0">
                  <a:pos x="470" y="544"/>
                </a:cxn>
                <a:cxn ang="0">
                  <a:pos x="545" y="620"/>
                </a:cxn>
                <a:cxn ang="0">
                  <a:pos x="600" y="616"/>
                </a:cxn>
                <a:cxn ang="0">
                  <a:pos x="644" y="659"/>
                </a:cxn>
                <a:cxn ang="0">
                  <a:pos x="596" y="699"/>
                </a:cxn>
                <a:cxn ang="0">
                  <a:pos x="589" y="762"/>
                </a:cxn>
                <a:cxn ang="0">
                  <a:pos x="541" y="809"/>
                </a:cxn>
                <a:cxn ang="0">
                  <a:pos x="482" y="826"/>
                </a:cxn>
                <a:cxn ang="0">
                  <a:pos x="434" y="826"/>
                </a:cxn>
                <a:cxn ang="0">
                  <a:pos x="399" y="872"/>
                </a:cxn>
              </a:cxnLst>
              <a:rect l="0" t="0" r="r" b="b"/>
              <a:pathLst>
                <a:path w="644" h="872">
                  <a:moveTo>
                    <a:pt x="399" y="872"/>
                  </a:moveTo>
                  <a:lnTo>
                    <a:pt x="379" y="858"/>
                  </a:lnTo>
                  <a:lnTo>
                    <a:pt x="363" y="841"/>
                  </a:lnTo>
                  <a:lnTo>
                    <a:pt x="301" y="845"/>
                  </a:lnTo>
                  <a:lnTo>
                    <a:pt x="301" y="865"/>
                  </a:lnTo>
                  <a:lnTo>
                    <a:pt x="203" y="872"/>
                  </a:lnTo>
                  <a:lnTo>
                    <a:pt x="197" y="841"/>
                  </a:lnTo>
                  <a:lnTo>
                    <a:pt x="156" y="809"/>
                  </a:lnTo>
                  <a:lnTo>
                    <a:pt x="107" y="798"/>
                  </a:lnTo>
                  <a:lnTo>
                    <a:pt x="111" y="771"/>
                  </a:lnTo>
                  <a:lnTo>
                    <a:pt x="89" y="734"/>
                  </a:lnTo>
                  <a:lnTo>
                    <a:pt x="73" y="723"/>
                  </a:lnTo>
                  <a:lnTo>
                    <a:pt x="52" y="705"/>
                  </a:lnTo>
                  <a:lnTo>
                    <a:pt x="49" y="669"/>
                  </a:lnTo>
                  <a:lnTo>
                    <a:pt x="25" y="664"/>
                  </a:lnTo>
                  <a:lnTo>
                    <a:pt x="0" y="617"/>
                  </a:lnTo>
                  <a:lnTo>
                    <a:pt x="47" y="614"/>
                  </a:lnTo>
                  <a:lnTo>
                    <a:pt x="59" y="511"/>
                  </a:lnTo>
                  <a:lnTo>
                    <a:pt x="97" y="509"/>
                  </a:lnTo>
                  <a:lnTo>
                    <a:pt x="104" y="404"/>
                  </a:lnTo>
                  <a:lnTo>
                    <a:pt x="162" y="395"/>
                  </a:lnTo>
                  <a:lnTo>
                    <a:pt x="156" y="269"/>
                  </a:lnTo>
                  <a:lnTo>
                    <a:pt x="124" y="262"/>
                  </a:lnTo>
                  <a:lnTo>
                    <a:pt x="126" y="227"/>
                  </a:lnTo>
                  <a:lnTo>
                    <a:pt x="167" y="228"/>
                  </a:lnTo>
                  <a:lnTo>
                    <a:pt x="163" y="190"/>
                  </a:lnTo>
                  <a:lnTo>
                    <a:pt x="146" y="145"/>
                  </a:lnTo>
                  <a:lnTo>
                    <a:pt x="142" y="86"/>
                  </a:lnTo>
                  <a:lnTo>
                    <a:pt x="173" y="0"/>
                  </a:lnTo>
                  <a:lnTo>
                    <a:pt x="191" y="37"/>
                  </a:lnTo>
                  <a:lnTo>
                    <a:pt x="215" y="79"/>
                  </a:lnTo>
                  <a:lnTo>
                    <a:pt x="237" y="106"/>
                  </a:lnTo>
                  <a:lnTo>
                    <a:pt x="265" y="163"/>
                  </a:lnTo>
                  <a:lnTo>
                    <a:pt x="283" y="200"/>
                  </a:lnTo>
                  <a:lnTo>
                    <a:pt x="286" y="242"/>
                  </a:lnTo>
                  <a:lnTo>
                    <a:pt x="344" y="258"/>
                  </a:lnTo>
                  <a:lnTo>
                    <a:pt x="367" y="316"/>
                  </a:lnTo>
                  <a:lnTo>
                    <a:pt x="403" y="385"/>
                  </a:lnTo>
                  <a:lnTo>
                    <a:pt x="391" y="418"/>
                  </a:lnTo>
                  <a:lnTo>
                    <a:pt x="383" y="506"/>
                  </a:lnTo>
                  <a:lnTo>
                    <a:pt x="434" y="513"/>
                  </a:lnTo>
                  <a:lnTo>
                    <a:pt x="470" y="544"/>
                  </a:lnTo>
                  <a:lnTo>
                    <a:pt x="545" y="620"/>
                  </a:lnTo>
                  <a:lnTo>
                    <a:pt x="600" y="616"/>
                  </a:lnTo>
                  <a:lnTo>
                    <a:pt x="644" y="659"/>
                  </a:lnTo>
                  <a:lnTo>
                    <a:pt x="596" y="699"/>
                  </a:lnTo>
                  <a:lnTo>
                    <a:pt x="589" y="762"/>
                  </a:lnTo>
                  <a:lnTo>
                    <a:pt x="541" y="809"/>
                  </a:lnTo>
                  <a:lnTo>
                    <a:pt x="482" y="826"/>
                  </a:lnTo>
                  <a:lnTo>
                    <a:pt x="434" y="826"/>
                  </a:lnTo>
                  <a:lnTo>
                    <a:pt x="399" y="87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" name="Freeform 172"/>
            <p:cNvSpPr>
              <a:spLocks noChangeAspect="1"/>
            </p:cNvSpPr>
            <p:nvPr/>
          </p:nvSpPr>
          <p:spPr bwMode="auto">
            <a:xfrm>
              <a:off x="1608378" y="3800862"/>
              <a:ext cx="376264" cy="516512"/>
            </a:xfrm>
            <a:custGeom>
              <a:avLst/>
              <a:gdLst/>
              <a:ahLst/>
              <a:cxnLst>
                <a:cxn ang="0">
                  <a:pos x="399" y="872"/>
                </a:cxn>
                <a:cxn ang="0">
                  <a:pos x="379" y="858"/>
                </a:cxn>
                <a:cxn ang="0">
                  <a:pos x="363" y="841"/>
                </a:cxn>
                <a:cxn ang="0">
                  <a:pos x="301" y="845"/>
                </a:cxn>
                <a:cxn ang="0">
                  <a:pos x="301" y="865"/>
                </a:cxn>
                <a:cxn ang="0">
                  <a:pos x="203" y="872"/>
                </a:cxn>
                <a:cxn ang="0">
                  <a:pos x="197" y="841"/>
                </a:cxn>
                <a:cxn ang="0">
                  <a:pos x="156" y="809"/>
                </a:cxn>
                <a:cxn ang="0">
                  <a:pos x="107" y="798"/>
                </a:cxn>
                <a:cxn ang="0">
                  <a:pos x="111" y="771"/>
                </a:cxn>
                <a:cxn ang="0">
                  <a:pos x="89" y="734"/>
                </a:cxn>
                <a:cxn ang="0">
                  <a:pos x="73" y="723"/>
                </a:cxn>
                <a:cxn ang="0">
                  <a:pos x="52" y="705"/>
                </a:cxn>
                <a:cxn ang="0">
                  <a:pos x="49" y="669"/>
                </a:cxn>
                <a:cxn ang="0">
                  <a:pos x="25" y="664"/>
                </a:cxn>
                <a:cxn ang="0">
                  <a:pos x="0" y="617"/>
                </a:cxn>
                <a:cxn ang="0">
                  <a:pos x="47" y="614"/>
                </a:cxn>
                <a:cxn ang="0">
                  <a:pos x="59" y="511"/>
                </a:cxn>
                <a:cxn ang="0">
                  <a:pos x="97" y="509"/>
                </a:cxn>
                <a:cxn ang="0">
                  <a:pos x="104" y="404"/>
                </a:cxn>
                <a:cxn ang="0">
                  <a:pos x="162" y="395"/>
                </a:cxn>
                <a:cxn ang="0">
                  <a:pos x="156" y="269"/>
                </a:cxn>
                <a:cxn ang="0">
                  <a:pos x="124" y="262"/>
                </a:cxn>
                <a:cxn ang="0">
                  <a:pos x="126" y="227"/>
                </a:cxn>
                <a:cxn ang="0">
                  <a:pos x="167" y="228"/>
                </a:cxn>
                <a:cxn ang="0">
                  <a:pos x="163" y="190"/>
                </a:cxn>
                <a:cxn ang="0">
                  <a:pos x="146" y="145"/>
                </a:cxn>
                <a:cxn ang="0">
                  <a:pos x="142" y="86"/>
                </a:cxn>
                <a:cxn ang="0">
                  <a:pos x="173" y="0"/>
                </a:cxn>
                <a:cxn ang="0">
                  <a:pos x="191" y="37"/>
                </a:cxn>
                <a:cxn ang="0">
                  <a:pos x="215" y="79"/>
                </a:cxn>
                <a:cxn ang="0">
                  <a:pos x="237" y="106"/>
                </a:cxn>
                <a:cxn ang="0">
                  <a:pos x="265" y="163"/>
                </a:cxn>
                <a:cxn ang="0">
                  <a:pos x="283" y="200"/>
                </a:cxn>
                <a:cxn ang="0">
                  <a:pos x="286" y="242"/>
                </a:cxn>
                <a:cxn ang="0">
                  <a:pos x="344" y="258"/>
                </a:cxn>
                <a:cxn ang="0">
                  <a:pos x="367" y="316"/>
                </a:cxn>
                <a:cxn ang="0">
                  <a:pos x="403" y="385"/>
                </a:cxn>
                <a:cxn ang="0">
                  <a:pos x="391" y="418"/>
                </a:cxn>
                <a:cxn ang="0">
                  <a:pos x="383" y="506"/>
                </a:cxn>
                <a:cxn ang="0">
                  <a:pos x="434" y="513"/>
                </a:cxn>
                <a:cxn ang="0">
                  <a:pos x="470" y="544"/>
                </a:cxn>
                <a:cxn ang="0">
                  <a:pos x="545" y="620"/>
                </a:cxn>
                <a:cxn ang="0">
                  <a:pos x="600" y="616"/>
                </a:cxn>
                <a:cxn ang="0">
                  <a:pos x="644" y="659"/>
                </a:cxn>
                <a:cxn ang="0">
                  <a:pos x="596" y="699"/>
                </a:cxn>
                <a:cxn ang="0">
                  <a:pos x="589" y="762"/>
                </a:cxn>
                <a:cxn ang="0">
                  <a:pos x="541" y="809"/>
                </a:cxn>
                <a:cxn ang="0">
                  <a:pos x="482" y="826"/>
                </a:cxn>
                <a:cxn ang="0">
                  <a:pos x="434" y="826"/>
                </a:cxn>
                <a:cxn ang="0">
                  <a:pos x="399" y="872"/>
                </a:cxn>
              </a:cxnLst>
              <a:rect l="0" t="0" r="r" b="b"/>
              <a:pathLst>
                <a:path w="644" h="872">
                  <a:moveTo>
                    <a:pt x="399" y="872"/>
                  </a:moveTo>
                  <a:lnTo>
                    <a:pt x="379" y="858"/>
                  </a:lnTo>
                  <a:lnTo>
                    <a:pt x="363" y="841"/>
                  </a:lnTo>
                  <a:lnTo>
                    <a:pt x="301" y="845"/>
                  </a:lnTo>
                  <a:lnTo>
                    <a:pt x="301" y="865"/>
                  </a:lnTo>
                  <a:lnTo>
                    <a:pt x="203" y="872"/>
                  </a:lnTo>
                  <a:lnTo>
                    <a:pt x="197" y="841"/>
                  </a:lnTo>
                  <a:lnTo>
                    <a:pt x="156" y="809"/>
                  </a:lnTo>
                  <a:lnTo>
                    <a:pt x="107" y="798"/>
                  </a:lnTo>
                  <a:lnTo>
                    <a:pt x="111" y="771"/>
                  </a:lnTo>
                  <a:lnTo>
                    <a:pt x="89" y="734"/>
                  </a:lnTo>
                  <a:lnTo>
                    <a:pt x="73" y="723"/>
                  </a:lnTo>
                  <a:lnTo>
                    <a:pt x="52" y="705"/>
                  </a:lnTo>
                  <a:lnTo>
                    <a:pt x="49" y="669"/>
                  </a:lnTo>
                  <a:lnTo>
                    <a:pt x="25" y="664"/>
                  </a:lnTo>
                  <a:lnTo>
                    <a:pt x="0" y="617"/>
                  </a:lnTo>
                  <a:lnTo>
                    <a:pt x="47" y="614"/>
                  </a:lnTo>
                  <a:lnTo>
                    <a:pt x="59" y="511"/>
                  </a:lnTo>
                  <a:lnTo>
                    <a:pt x="97" y="509"/>
                  </a:lnTo>
                  <a:lnTo>
                    <a:pt x="104" y="404"/>
                  </a:lnTo>
                  <a:lnTo>
                    <a:pt x="162" y="395"/>
                  </a:lnTo>
                  <a:lnTo>
                    <a:pt x="156" y="269"/>
                  </a:lnTo>
                  <a:lnTo>
                    <a:pt x="124" y="262"/>
                  </a:lnTo>
                  <a:lnTo>
                    <a:pt x="126" y="227"/>
                  </a:lnTo>
                  <a:lnTo>
                    <a:pt x="167" y="228"/>
                  </a:lnTo>
                  <a:lnTo>
                    <a:pt x="163" y="190"/>
                  </a:lnTo>
                  <a:lnTo>
                    <a:pt x="146" y="145"/>
                  </a:lnTo>
                  <a:lnTo>
                    <a:pt x="142" y="86"/>
                  </a:lnTo>
                  <a:lnTo>
                    <a:pt x="173" y="0"/>
                  </a:lnTo>
                  <a:lnTo>
                    <a:pt x="191" y="37"/>
                  </a:lnTo>
                  <a:lnTo>
                    <a:pt x="215" y="79"/>
                  </a:lnTo>
                  <a:lnTo>
                    <a:pt x="237" y="106"/>
                  </a:lnTo>
                  <a:lnTo>
                    <a:pt x="265" y="163"/>
                  </a:lnTo>
                  <a:lnTo>
                    <a:pt x="283" y="200"/>
                  </a:lnTo>
                  <a:lnTo>
                    <a:pt x="286" y="242"/>
                  </a:lnTo>
                  <a:lnTo>
                    <a:pt x="344" y="258"/>
                  </a:lnTo>
                  <a:lnTo>
                    <a:pt x="367" y="316"/>
                  </a:lnTo>
                  <a:lnTo>
                    <a:pt x="403" y="385"/>
                  </a:lnTo>
                  <a:lnTo>
                    <a:pt x="391" y="418"/>
                  </a:lnTo>
                  <a:lnTo>
                    <a:pt x="383" y="506"/>
                  </a:lnTo>
                  <a:lnTo>
                    <a:pt x="434" y="513"/>
                  </a:lnTo>
                  <a:lnTo>
                    <a:pt x="470" y="544"/>
                  </a:lnTo>
                  <a:lnTo>
                    <a:pt x="545" y="620"/>
                  </a:lnTo>
                  <a:lnTo>
                    <a:pt x="600" y="616"/>
                  </a:lnTo>
                  <a:lnTo>
                    <a:pt x="644" y="659"/>
                  </a:lnTo>
                  <a:lnTo>
                    <a:pt x="596" y="699"/>
                  </a:lnTo>
                  <a:lnTo>
                    <a:pt x="589" y="762"/>
                  </a:lnTo>
                  <a:lnTo>
                    <a:pt x="541" y="809"/>
                  </a:lnTo>
                  <a:lnTo>
                    <a:pt x="482" y="826"/>
                  </a:lnTo>
                  <a:lnTo>
                    <a:pt x="434" y="826"/>
                  </a:lnTo>
                  <a:lnTo>
                    <a:pt x="399" y="872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" name="Freeform 173"/>
            <p:cNvSpPr>
              <a:spLocks noChangeAspect="1"/>
            </p:cNvSpPr>
            <p:nvPr/>
          </p:nvSpPr>
          <p:spPr bwMode="auto">
            <a:xfrm>
              <a:off x="1819367" y="4044031"/>
              <a:ext cx="286594" cy="429539"/>
            </a:xfrm>
            <a:custGeom>
              <a:avLst/>
              <a:gdLst/>
              <a:ahLst/>
              <a:cxnLst>
                <a:cxn ang="0">
                  <a:pos x="72" y="103"/>
                </a:cxn>
                <a:cxn ang="0">
                  <a:pos x="108" y="134"/>
                </a:cxn>
                <a:cxn ang="0">
                  <a:pos x="183" y="210"/>
                </a:cxn>
                <a:cxn ang="0">
                  <a:pos x="238" y="206"/>
                </a:cxn>
                <a:cxn ang="0">
                  <a:pos x="282" y="249"/>
                </a:cxn>
                <a:cxn ang="0">
                  <a:pos x="234" y="289"/>
                </a:cxn>
                <a:cxn ang="0">
                  <a:pos x="227" y="352"/>
                </a:cxn>
                <a:cxn ang="0">
                  <a:pos x="179" y="399"/>
                </a:cxn>
                <a:cxn ang="0">
                  <a:pos x="120" y="416"/>
                </a:cxn>
                <a:cxn ang="0">
                  <a:pos x="72" y="416"/>
                </a:cxn>
                <a:cxn ang="0">
                  <a:pos x="37" y="462"/>
                </a:cxn>
                <a:cxn ang="0">
                  <a:pos x="13" y="485"/>
                </a:cxn>
                <a:cxn ang="0">
                  <a:pos x="0" y="514"/>
                </a:cxn>
                <a:cxn ang="0">
                  <a:pos x="10" y="713"/>
                </a:cxn>
                <a:cxn ang="0">
                  <a:pos x="27" y="726"/>
                </a:cxn>
                <a:cxn ang="0">
                  <a:pos x="60" y="681"/>
                </a:cxn>
                <a:cxn ang="0">
                  <a:pos x="89" y="633"/>
                </a:cxn>
                <a:cxn ang="0">
                  <a:pos x="140" y="597"/>
                </a:cxn>
                <a:cxn ang="0">
                  <a:pos x="227" y="517"/>
                </a:cxn>
                <a:cxn ang="0">
                  <a:pos x="310" y="435"/>
                </a:cxn>
                <a:cxn ang="0">
                  <a:pos x="361" y="364"/>
                </a:cxn>
                <a:cxn ang="0">
                  <a:pos x="380" y="278"/>
                </a:cxn>
                <a:cxn ang="0">
                  <a:pos x="408" y="210"/>
                </a:cxn>
                <a:cxn ang="0">
                  <a:pos x="448" y="158"/>
                </a:cxn>
                <a:cxn ang="0">
                  <a:pos x="464" y="103"/>
                </a:cxn>
                <a:cxn ang="0">
                  <a:pos x="487" y="75"/>
                </a:cxn>
                <a:cxn ang="0">
                  <a:pos x="459" y="48"/>
                </a:cxn>
                <a:cxn ang="0">
                  <a:pos x="424" y="0"/>
                </a:cxn>
                <a:cxn ang="0">
                  <a:pos x="376" y="44"/>
                </a:cxn>
                <a:cxn ang="0">
                  <a:pos x="325" y="52"/>
                </a:cxn>
                <a:cxn ang="0">
                  <a:pos x="296" y="69"/>
                </a:cxn>
                <a:cxn ang="0">
                  <a:pos x="265" y="89"/>
                </a:cxn>
                <a:cxn ang="0">
                  <a:pos x="172" y="83"/>
                </a:cxn>
                <a:cxn ang="0">
                  <a:pos x="118" y="64"/>
                </a:cxn>
                <a:cxn ang="0">
                  <a:pos x="72" y="103"/>
                </a:cxn>
              </a:cxnLst>
              <a:rect l="0" t="0" r="r" b="b"/>
              <a:pathLst>
                <a:path w="487" h="726">
                  <a:moveTo>
                    <a:pt x="72" y="103"/>
                  </a:moveTo>
                  <a:lnTo>
                    <a:pt x="108" y="134"/>
                  </a:lnTo>
                  <a:lnTo>
                    <a:pt x="183" y="210"/>
                  </a:lnTo>
                  <a:lnTo>
                    <a:pt x="238" y="206"/>
                  </a:lnTo>
                  <a:lnTo>
                    <a:pt x="282" y="249"/>
                  </a:lnTo>
                  <a:lnTo>
                    <a:pt x="234" y="289"/>
                  </a:lnTo>
                  <a:lnTo>
                    <a:pt x="227" y="352"/>
                  </a:lnTo>
                  <a:lnTo>
                    <a:pt x="179" y="399"/>
                  </a:lnTo>
                  <a:lnTo>
                    <a:pt x="120" y="416"/>
                  </a:lnTo>
                  <a:lnTo>
                    <a:pt x="72" y="416"/>
                  </a:lnTo>
                  <a:lnTo>
                    <a:pt x="37" y="462"/>
                  </a:lnTo>
                  <a:lnTo>
                    <a:pt x="13" y="485"/>
                  </a:lnTo>
                  <a:lnTo>
                    <a:pt x="0" y="514"/>
                  </a:lnTo>
                  <a:lnTo>
                    <a:pt x="10" y="713"/>
                  </a:lnTo>
                  <a:lnTo>
                    <a:pt x="27" y="726"/>
                  </a:lnTo>
                  <a:lnTo>
                    <a:pt x="60" y="681"/>
                  </a:lnTo>
                  <a:lnTo>
                    <a:pt x="89" y="633"/>
                  </a:lnTo>
                  <a:lnTo>
                    <a:pt x="140" y="597"/>
                  </a:lnTo>
                  <a:lnTo>
                    <a:pt x="227" y="517"/>
                  </a:lnTo>
                  <a:lnTo>
                    <a:pt x="310" y="435"/>
                  </a:lnTo>
                  <a:lnTo>
                    <a:pt x="361" y="364"/>
                  </a:lnTo>
                  <a:lnTo>
                    <a:pt x="380" y="278"/>
                  </a:lnTo>
                  <a:lnTo>
                    <a:pt x="408" y="210"/>
                  </a:lnTo>
                  <a:lnTo>
                    <a:pt x="448" y="158"/>
                  </a:lnTo>
                  <a:lnTo>
                    <a:pt x="464" y="103"/>
                  </a:lnTo>
                  <a:lnTo>
                    <a:pt x="487" y="75"/>
                  </a:lnTo>
                  <a:lnTo>
                    <a:pt x="459" y="48"/>
                  </a:lnTo>
                  <a:lnTo>
                    <a:pt x="424" y="0"/>
                  </a:lnTo>
                  <a:lnTo>
                    <a:pt x="376" y="44"/>
                  </a:lnTo>
                  <a:lnTo>
                    <a:pt x="325" y="52"/>
                  </a:lnTo>
                  <a:lnTo>
                    <a:pt x="296" y="69"/>
                  </a:lnTo>
                  <a:lnTo>
                    <a:pt x="265" y="89"/>
                  </a:lnTo>
                  <a:lnTo>
                    <a:pt x="172" y="83"/>
                  </a:lnTo>
                  <a:lnTo>
                    <a:pt x="118" y="64"/>
                  </a:lnTo>
                  <a:lnTo>
                    <a:pt x="72" y="10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" name="Freeform 174"/>
            <p:cNvSpPr>
              <a:spLocks noChangeAspect="1"/>
            </p:cNvSpPr>
            <p:nvPr/>
          </p:nvSpPr>
          <p:spPr bwMode="auto">
            <a:xfrm>
              <a:off x="978926" y="3369547"/>
              <a:ext cx="407913" cy="491663"/>
            </a:xfrm>
            <a:custGeom>
              <a:avLst/>
              <a:gdLst/>
              <a:ahLst/>
              <a:cxnLst>
                <a:cxn ang="0">
                  <a:pos x="86" y="4"/>
                </a:cxn>
                <a:cxn ang="0">
                  <a:pos x="124" y="28"/>
                </a:cxn>
                <a:cxn ang="0">
                  <a:pos x="152" y="31"/>
                </a:cxn>
                <a:cxn ang="0">
                  <a:pos x="254" y="48"/>
                </a:cxn>
                <a:cxn ang="0">
                  <a:pos x="268" y="87"/>
                </a:cxn>
                <a:cxn ang="0">
                  <a:pos x="341" y="97"/>
                </a:cxn>
                <a:cxn ang="0">
                  <a:pos x="344" y="121"/>
                </a:cxn>
                <a:cxn ang="0">
                  <a:pos x="408" y="136"/>
                </a:cxn>
                <a:cxn ang="0">
                  <a:pos x="448" y="151"/>
                </a:cxn>
                <a:cxn ang="0">
                  <a:pos x="460" y="128"/>
                </a:cxn>
                <a:cxn ang="0">
                  <a:pos x="460" y="63"/>
                </a:cxn>
                <a:cxn ang="0">
                  <a:pos x="480" y="44"/>
                </a:cxn>
                <a:cxn ang="0">
                  <a:pos x="499" y="16"/>
                </a:cxn>
                <a:cxn ang="0">
                  <a:pos x="517" y="0"/>
                </a:cxn>
                <a:cxn ang="0">
                  <a:pos x="563" y="2"/>
                </a:cxn>
                <a:cxn ang="0">
                  <a:pos x="591" y="30"/>
                </a:cxn>
                <a:cxn ang="0">
                  <a:pos x="615" y="51"/>
                </a:cxn>
                <a:cxn ang="0">
                  <a:pos x="656" y="49"/>
                </a:cxn>
                <a:cxn ang="0">
                  <a:pos x="695" y="63"/>
                </a:cxn>
                <a:cxn ang="0">
                  <a:pos x="691" y="109"/>
                </a:cxn>
                <a:cxn ang="0">
                  <a:pos x="694" y="662"/>
                </a:cxn>
                <a:cxn ang="0">
                  <a:pos x="689" y="741"/>
                </a:cxn>
                <a:cxn ang="0">
                  <a:pos x="658" y="750"/>
                </a:cxn>
                <a:cxn ang="0">
                  <a:pos x="666" y="832"/>
                </a:cxn>
                <a:cxn ang="0">
                  <a:pos x="634" y="829"/>
                </a:cxn>
                <a:cxn ang="0">
                  <a:pos x="560" y="768"/>
                </a:cxn>
                <a:cxn ang="0">
                  <a:pos x="527" y="751"/>
                </a:cxn>
                <a:cxn ang="0">
                  <a:pos x="458" y="717"/>
                </a:cxn>
                <a:cxn ang="0">
                  <a:pos x="434" y="676"/>
                </a:cxn>
                <a:cxn ang="0">
                  <a:pos x="355" y="664"/>
                </a:cxn>
                <a:cxn ang="0">
                  <a:pos x="340" y="624"/>
                </a:cxn>
                <a:cxn ang="0">
                  <a:pos x="300" y="610"/>
                </a:cxn>
                <a:cxn ang="0">
                  <a:pos x="296" y="593"/>
                </a:cxn>
                <a:cxn ang="0">
                  <a:pos x="253" y="588"/>
                </a:cxn>
                <a:cxn ang="0">
                  <a:pos x="224" y="578"/>
                </a:cxn>
                <a:cxn ang="0">
                  <a:pos x="170" y="573"/>
                </a:cxn>
                <a:cxn ang="0">
                  <a:pos x="165" y="550"/>
                </a:cxn>
                <a:cxn ang="0">
                  <a:pos x="106" y="550"/>
                </a:cxn>
                <a:cxn ang="0">
                  <a:pos x="98" y="502"/>
                </a:cxn>
                <a:cxn ang="0">
                  <a:pos x="27" y="491"/>
                </a:cxn>
                <a:cxn ang="0">
                  <a:pos x="3" y="467"/>
                </a:cxn>
                <a:cxn ang="0">
                  <a:pos x="0" y="412"/>
                </a:cxn>
                <a:cxn ang="0">
                  <a:pos x="11" y="104"/>
                </a:cxn>
                <a:cxn ang="0">
                  <a:pos x="55" y="83"/>
                </a:cxn>
                <a:cxn ang="0">
                  <a:pos x="79" y="77"/>
                </a:cxn>
                <a:cxn ang="0">
                  <a:pos x="86" y="4"/>
                </a:cxn>
              </a:cxnLst>
              <a:rect l="0" t="0" r="r" b="b"/>
              <a:pathLst>
                <a:path w="695" h="832">
                  <a:moveTo>
                    <a:pt x="86" y="4"/>
                  </a:moveTo>
                  <a:lnTo>
                    <a:pt x="124" y="28"/>
                  </a:lnTo>
                  <a:lnTo>
                    <a:pt x="152" y="31"/>
                  </a:lnTo>
                  <a:lnTo>
                    <a:pt x="254" y="48"/>
                  </a:lnTo>
                  <a:lnTo>
                    <a:pt x="268" y="87"/>
                  </a:lnTo>
                  <a:lnTo>
                    <a:pt x="341" y="97"/>
                  </a:lnTo>
                  <a:lnTo>
                    <a:pt x="344" y="121"/>
                  </a:lnTo>
                  <a:lnTo>
                    <a:pt x="408" y="136"/>
                  </a:lnTo>
                  <a:lnTo>
                    <a:pt x="448" y="151"/>
                  </a:lnTo>
                  <a:lnTo>
                    <a:pt x="460" y="128"/>
                  </a:lnTo>
                  <a:lnTo>
                    <a:pt x="460" y="63"/>
                  </a:lnTo>
                  <a:lnTo>
                    <a:pt x="480" y="44"/>
                  </a:lnTo>
                  <a:lnTo>
                    <a:pt x="499" y="16"/>
                  </a:lnTo>
                  <a:lnTo>
                    <a:pt x="517" y="0"/>
                  </a:lnTo>
                  <a:lnTo>
                    <a:pt x="563" y="2"/>
                  </a:lnTo>
                  <a:lnTo>
                    <a:pt x="591" y="30"/>
                  </a:lnTo>
                  <a:lnTo>
                    <a:pt x="615" y="51"/>
                  </a:lnTo>
                  <a:lnTo>
                    <a:pt x="656" y="49"/>
                  </a:lnTo>
                  <a:lnTo>
                    <a:pt x="695" y="63"/>
                  </a:lnTo>
                  <a:lnTo>
                    <a:pt x="691" y="109"/>
                  </a:lnTo>
                  <a:lnTo>
                    <a:pt x="694" y="662"/>
                  </a:lnTo>
                  <a:lnTo>
                    <a:pt x="689" y="741"/>
                  </a:lnTo>
                  <a:lnTo>
                    <a:pt x="658" y="750"/>
                  </a:lnTo>
                  <a:lnTo>
                    <a:pt x="666" y="832"/>
                  </a:lnTo>
                  <a:lnTo>
                    <a:pt x="634" y="829"/>
                  </a:lnTo>
                  <a:lnTo>
                    <a:pt x="560" y="768"/>
                  </a:lnTo>
                  <a:lnTo>
                    <a:pt x="527" y="751"/>
                  </a:lnTo>
                  <a:lnTo>
                    <a:pt x="458" y="717"/>
                  </a:lnTo>
                  <a:lnTo>
                    <a:pt x="434" y="676"/>
                  </a:lnTo>
                  <a:lnTo>
                    <a:pt x="355" y="664"/>
                  </a:lnTo>
                  <a:lnTo>
                    <a:pt x="340" y="624"/>
                  </a:lnTo>
                  <a:lnTo>
                    <a:pt x="300" y="610"/>
                  </a:lnTo>
                  <a:lnTo>
                    <a:pt x="296" y="593"/>
                  </a:lnTo>
                  <a:lnTo>
                    <a:pt x="253" y="588"/>
                  </a:lnTo>
                  <a:lnTo>
                    <a:pt x="224" y="578"/>
                  </a:lnTo>
                  <a:lnTo>
                    <a:pt x="170" y="573"/>
                  </a:lnTo>
                  <a:lnTo>
                    <a:pt x="165" y="550"/>
                  </a:lnTo>
                  <a:lnTo>
                    <a:pt x="106" y="550"/>
                  </a:lnTo>
                  <a:lnTo>
                    <a:pt x="98" y="502"/>
                  </a:lnTo>
                  <a:lnTo>
                    <a:pt x="27" y="491"/>
                  </a:lnTo>
                  <a:lnTo>
                    <a:pt x="3" y="467"/>
                  </a:lnTo>
                  <a:lnTo>
                    <a:pt x="0" y="412"/>
                  </a:lnTo>
                  <a:lnTo>
                    <a:pt x="11" y="104"/>
                  </a:lnTo>
                  <a:lnTo>
                    <a:pt x="55" y="83"/>
                  </a:lnTo>
                  <a:lnTo>
                    <a:pt x="79" y="77"/>
                  </a:lnTo>
                  <a:lnTo>
                    <a:pt x="86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" name="Freeform 175"/>
            <p:cNvSpPr>
              <a:spLocks noChangeAspect="1"/>
            </p:cNvSpPr>
            <p:nvPr/>
          </p:nvSpPr>
          <p:spPr bwMode="auto">
            <a:xfrm>
              <a:off x="978926" y="3369547"/>
              <a:ext cx="407913" cy="491663"/>
            </a:xfrm>
            <a:custGeom>
              <a:avLst/>
              <a:gdLst/>
              <a:ahLst/>
              <a:cxnLst>
                <a:cxn ang="0">
                  <a:pos x="86" y="4"/>
                </a:cxn>
                <a:cxn ang="0">
                  <a:pos x="124" y="28"/>
                </a:cxn>
                <a:cxn ang="0">
                  <a:pos x="152" y="31"/>
                </a:cxn>
                <a:cxn ang="0">
                  <a:pos x="254" y="48"/>
                </a:cxn>
                <a:cxn ang="0">
                  <a:pos x="268" y="87"/>
                </a:cxn>
                <a:cxn ang="0">
                  <a:pos x="341" y="97"/>
                </a:cxn>
                <a:cxn ang="0">
                  <a:pos x="344" y="121"/>
                </a:cxn>
                <a:cxn ang="0">
                  <a:pos x="408" y="136"/>
                </a:cxn>
                <a:cxn ang="0">
                  <a:pos x="448" y="151"/>
                </a:cxn>
                <a:cxn ang="0">
                  <a:pos x="460" y="128"/>
                </a:cxn>
                <a:cxn ang="0">
                  <a:pos x="460" y="63"/>
                </a:cxn>
                <a:cxn ang="0">
                  <a:pos x="480" y="44"/>
                </a:cxn>
                <a:cxn ang="0">
                  <a:pos x="499" y="16"/>
                </a:cxn>
                <a:cxn ang="0">
                  <a:pos x="517" y="0"/>
                </a:cxn>
                <a:cxn ang="0">
                  <a:pos x="563" y="2"/>
                </a:cxn>
                <a:cxn ang="0">
                  <a:pos x="591" y="30"/>
                </a:cxn>
                <a:cxn ang="0">
                  <a:pos x="615" y="51"/>
                </a:cxn>
                <a:cxn ang="0">
                  <a:pos x="656" y="49"/>
                </a:cxn>
                <a:cxn ang="0">
                  <a:pos x="695" y="63"/>
                </a:cxn>
                <a:cxn ang="0">
                  <a:pos x="691" y="109"/>
                </a:cxn>
                <a:cxn ang="0">
                  <a:pos x="694" y="662"/>
                </a:cxn>
                <a:cxn ang="0">
                  <a:pos x="689" y="741"/>
                </a:cxn>
                <a:cxn ang="0">
                  <a:pos x="658" y="750"/>
                </a:cxn>
                <a:cxn ang="0">
                  <a:pos x="666" y="832"/>
                </a:cxn>
                <a:cxn ang="0">
                  <a:pos x="634" y="829"/>
                </a:cxn>
                <a:cxn ang="0">
                  <a:pos x="560" y="768"/>
                </a:cxn>
                <a:cxn ang="0">
                  <a:pos x="527" y="751"/>
                </a:cxn>
                <a:cxn ang="0">
                  <a:pos x="458" y="717"/>
                </a:cxn>
                <a:cxn ang="0">
                  <a:pos x="434" y="676"/>
                </a:cxn>
                <a:cxn ang="0">
                  <a:pos x="355" y="664"/>
                </a:cxn>
                <a:cxn ang="0">
                  <a:pos x="340" y="624"/>
                </a:cxn>
                <a:cxn ang="0">
                  <a:pos x="300" y="610"/>
                </a:cxn>
                <a:cxn ang="0">
                  <a:pos x="296" y="593"/>
                </a:cxn>
                <a:cxn ang="0">
                  <a:pos x="253" y="588"/>
                </a:cxn>
                <a:cxn ang="0">
                  <a:pos x="224" y="578"/>
                </a:cxn>
                <a:cxn ang="0">
                  <a:pos x="170" y="573"/>
                </a:cxn>
                <a:cxn ang="0">
                  <a:pos x="165" y="550"/>
                </a:cxn>
                <a:cxn ang="0">
                  <a:pos x="106" y="550"/>
                </a:cxn>
                <a:cxn ang="0">
                  <a:pos x="98" y="502"/>
                </a:cxn>
                <a:cxn ang="0">
                  <a:pos x="27" y="491"/>
                </a:cxn>
                <a:cxn ang="0">
                  <a:pos x="3" y="467"/>
                </a:cxn>
                <a:cxn ang="0">
                  <a:pos x="0" y="412"/>
                </a:cxn>
                <a:cxn ang="0">
                  <a:pos x="11" y="104"/>
                </a:cxn>
                <a:cxn ang="0">
                  <a:pos x="55" y="83"/>
                </a:cxn>
                <a:cxn ang="0">
                  <a:pos x="79" y="77"/>
                </a:cxn>
                <a:cxn ang="0">
                  <a:pos x="86" y="4"/>
                </a:cxn>
              </a:cxnLst>
              <a:rect l="0" t="0" r="r" b="b"/>
              <a:pathLst>
                <a:path w="695" h="832">
                  <a:moveTo>
                    <a:pt x="86" y="4"/>
                  </a:moveTo>
                  <a:lnTo>
                    <a:pt x="124" y="28"/>
                  </a:lnTo>
                  <a:lnTo>
                    <a:pt x="152" y="31"/>
                  </a:lnTo>
                  <a:lnTo>
                    <a:pt x="254" y="48"/>
                  </a:lnTo>
                  <a:lnTo>
                    <a:pt x="268" y="87"/>
                  </a:lnTo>
                  <a:lnTo>
                    <a:pt x="341" y="97"/>
                  </a:lnTo>
                  <a:lnTo>
                    <a:pt x="344" y="121"/>
                  </a:lnTo>
                  <a:lnTo>
                    <a:pt x="408" y="136"/>
                  </a:lnTo>
                  <a:lnTo>
                    <a:pt x="448" y="151"/>
                  </a:lnTo>
                  <a:lnTo>
                    <a:pt x="460" y="128"/>
                  </a:lnTo>
                  <a:lnTo>
                    <a:pt x="460" y="63"/>
                  </a:lnTo>
                  <a:lnTo>
                    <a:pt x="480" y="44"/>
                  </a:lnTo>
                  <a:lnTo>
                    <a:pt x="499" y="16"/>
                  </a:lnTo>
                  <a:lnTo>
                    <a:pt x="517" y="0"/>
                  </a:lnTo>
                  <a:lnTo>
                    <a:pt x="563" y="2"/>
                  </a:lnTo>
                  <a:lnTo>
                    <a:pt x="591" y="30"/>
                  </a:lnTo>
                  <a:lnTo>
                    <a:pt x="615" y="51"/>
                  </a:lnTo>
                  <a:lnTo>
                    <a:pt x="656" y="49"/>
                  </a:lnTo>
                  <a:lnTo>
                    <a:pt x="695" y="63"/>
                  </a:lnTo>
                  <a:lnTo>
                    <a:pt x="691" y="109"/>
                  </a:lnTo>
                  <a:lnTo>
                    <a:pt x="694" y="662"/>
                  </a:lnTo>
                  <a:lnTo>
                    <a:pt x="689" y="741"/>
                  </a:lnTo>
                  <a:lnTo>
                    <a:pt x="658" y="750"/>
                  </a:lnTo>
                  <a:lnTo>
                    <a:pt x="666" y="832"/>
                  </a:lnTo>
                  <a:lnTo>
                    <a:pt x="634" y="829"/>
                  </a:lnTo>
                  <a:lnTo>
                    <a:pt x="560" y="768"/>
                  </a:lnTo>
                  <a:lnTo>
                    <a:pt x="527" y="751"/>
                  </a:lnTo>
                  <a:lnTo>
                    <a:pt x="458" y="717"/>
                  </a:lnTo>
                  <a:lnTo>
                    <a:pt x="434" y="676"/>
                  </a:lnTo>
                  <a:lnTo>
                    <a:pt x="355" y="664"/>
                  </a:lnTo>
                  <a:lnTo>
                    <a:pt x="340" y="624"/>
                  </a:lnTo>
                  <a:lnTo>
                    <a:pt x="300" y="610"/>
                  </a:lnTo>
                  <a:lnTo>
                    <a:pt x="296" y="593"/>
                  </a:lnTo>
                  <a:lnTo>
                    <a:pt x="253" y="588"/>
                  </a:lnTo>
                  <a:lnTo>
                    <a:pt x="224" y="578"/>
                  </a:lnTo>
                  <a:lnTo>
                    <a:pt x="170" y="573"/>
                  </a:lnTo>
                  <a:lnTo>
                    <a:pt x="165" y="550"/>
                  </a:lnTo>
                  <a:lnTo>
                    <a:pt x="106" y="550"/>
                  </a:lnTo>
                  <a:lnTo>
                    <a:pt x="98" y="502"/>
                  </a:lnTo>
                  <a:lnTo>
                    <a:pt x="27" y="491"/>
                  </a:lnTo>
                  <a:lnTo>
                    <a:pt x="3" y="467"/>
                  </a:lnTo>
                  <a:lnTo>
                    <a:pt x="0" y="412"/>
                  </a:lnTo>
                  <a:lnTo>
                    <a:pt x="11" y="104"/>
                  </a:lnTo>
                  <a:lnTo>
                    <a:pt x="55" y="83"/>
                  </a:lnTo>
                  <a:lnTo>
                    <a:pt x="79" y="77"/>
                  </a:lnTo>
                  <a:lnTo>
                    <a:pt x="86" y="4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" name="Freeform 176"/>
            <p:cNvSpPr>
              <a:spLocks noChangeAspect="1"/>
            </p:cNvSpPr>
            <p:nvPr/>
          </p:nvSpPr>
          <p:spPr bwMode="auto">
            <a:xfrm>
              <a:off x="1304202" y="3713889"/>
              <a:ext cx="404396" cy="598160"/>
            </a:xfrm>
            <a:custGeom>
              <a:avLst/>
              <a:gdLst/>
              <a:ahLst/>
              <a:cxnLst>
                <a:cxn ang="0">
                  <a:pos x="106" y="384"/>
                </a:cxn>
                <a:cxn ang="0">
                  <a:pos x="50" y="444"/>
                </a:cxn>
                <a:cxn ang="0">
                  <a:pos x="5" y="494"/>
                </a:cxn>
                <a:cxn ang="0">
                  <a:pos x="33" y="537"/>
                </a:cxn>
                <a:cxn ang="0">
                  <a:pos x="61" y="583"/>
                </a:cxn>
                <a:cxn ang="0">
                  <a:pos x="54" y="621"/>
                </a:cxn>
                <a:cxn ang="0">
                  <a:pos x="97" y="699"/>
                </a:cxn>
                <a:cxn ang="0">
                  <a:pos x="113" y="749"/>
                </a:cxn>
                <a:cxn ang="0">
                  <a:pos x="148" y="769"/>
                </a:cxn>
                <a:cxn ang="0">
                  <a:pos x="202" y="820"/>
                </a:cxn>
                <a:cxn ang="0">
                  <a:pos x="236" y="881"/>
                </a:cxn>
                <a:cxn ang="0">
                  <a:pos x="254" y="912"/>
                </a:cxn>
                <a:cxn ang="0">
                  <a:pos x="267" y="960"/>
                </a:cxn>
                <a:cxn ang="0">
                  <a:pos x="388" y="992"/>
                </a:cxn>
                <a:cxn ang="0">
                  <a:pos x="419" y="1008"/>
                </a:cxn>
                <a:cxn ang="0">
                  <a:pos x="512" y="1010"/>
                </a:cxn>
                <a:cxn ang="0">
                  <a:pos x="625" y="945"/>
                </a:cxn>
                <a:cxn ang="0">
                  <a:pos x="607" y="881"/>
                </a:cxn>
                <a:cxn ang="0">
                  <a:pos x="570" y="852"/>
                </a:cxn>
                <a:cxn ang="0">
                  <a:pos x="543" y="811"/>
                </a:cxn>
                <a:cxn ang="0">
                  <a:pos x="565" y="761"/>
                </a:cxn>
                <a:cxn ang="0">
                  <a:pos x="615" y="656"/>
                </a:cxn>
                <a:cxn ang="0">
                  <a:pos x="680" y="542"/>
                </a:cxn>
                <a:cxn ang="0">
                  <a:pos x="642" y="409"/>
                </a:cxn>
                <a:cxn ang="0">
                  <a:pos x="685" y="375"/>
                </a:cxn>
                <a:cxn ang="0">
                  <a:pos x="664" y="292"/>
                </a:cxn>
                <a:cxn ang="0">
                  <a:pos x="691" y="147"/>
                </a:cxn>
                <a:cxn ang="0">
                  <a:pos x="664" y="47"/>
                </a:cxn>
                <a:cxn ang="0">
                  <a:pos x="526" y="64"/>
                </a:cxn>
                <a:cxn ang="0">
                  <a:pos x="202" y="40"/>
                </a:cxn>
                <a:cxn ang="0">
                  <a:pos x="139" y="79"/>
                </a:cxn>
                <a:cxn ang="0">
                  <a:pos x="103" y="167"/>
                </a:cxn>
              </a:cxnLst>
              <a:rect l="0" t="0" r="r" b="b"/>
              <a:pathLst>
                <a:path w="691" h="1010">
                  <a:moveTo>
                    <a:pt x="111" y="249"/>
                  </a:moveTo>
                  <a:lnTo>
                    <a:pt x="106" y="384"/>
                  </a:lnTo>
                  <a:lnTo>
                    <a:pt x="77" y="394"/>
                  </a:lnTo>
                  <a:lnTo>
                    <a:pt x="50" y="444"/>
                  </a:lnTo>
                  <a:lnTo>
                    <a:pt x="37" y="492"/>
                  </a:lnTo>
                  <a:lnTo>
                    <a:pt x="5" y="494"/>
                  </a:lnTo>
                  <a:lnTo>
                    <a:pt x="0" y="523"/>
                  </a:lnTo>
                  <a:lnTo>
                    <a:pt x="33" y="537"/>
                  </a:lnTo>
                  <a:lnTo>
                    <a:pt x="41" y="573"/>
                  </a:lnTo>
                  <a:lnTo>
                    <a:pt x="61" y="583"/>
                  </a:lnTo>
                  <a:lnTo>
                    <a:pt x="64" y="605"/>
                  </a:lnTo>
                  <a:lnTo>
                    <a:pt x="54" y="621"/>
                  </a:lnTo>
                  <a:lnTo>
                    <a:pt x="75" y="654"/>
                  </a:lnTo>
                  <a:lnTo>
                    <a:pt x="97" y="699"/>
                  </a:lnTo>
                  <a:lnTo>
                    <a:pt x="92" y="739"/>
                  </a:lnTo>
                  <a:lnTo>
                    <a:pt x="113" y="749"/>
                  </a:lnTo>
                  <a:lnTo>
                    <a:pt x="116" y="774"/>
                  </a:lnTo>
                  <a:lnTo>
                    <a:pt x="148" y="769"/>
                  </a:lnTo>
                  <a:lnTo>
                    <a:pt x="160" y="812"/>
                  </a:lnTo>
                  <a:lnTo>
                    <a:pt x="202" y="820"/>
                  </a:lnTo>
                  <a:lnTo>
                    <a:pt x="209" y="871"/>
                  </a:lnTo>
                  <a:lnTo>
                    <a:pt x="236" y="881"/>
                  </a:lnTo>
                  <a:lnTo>
                    <a:pt x="247" y="899"/>
                  </a:lnTo>
                  <a:lnTo>
                    <a:pt x="254" y="912"/>
                  </a:lnTo>
                  <a:lnTo>
                    <a:pt x="249" y="935"/>
                  </a:lnTo>
                  <a:lnTo>
                    <a:pt x="267" y="960"/>
                  </a:lnTo>
                  <a:lnTo>
                    <a:pt x="371" y="969"/>
                  </a:lnTo>
                  <a:lnTo>
                    <a:pt x="388" y="992"/>
                  </a:lnTo>
                  <a:lnTo>
                    <a:pt x="416" y="1000"/>
                  </a:lnTo>
                  <a:lnTo>
                    <a:pt x="419" y="1008"/>
                  </a:lnTo>
                  <a:lnTo>
                    <a:pt x="467" y="1008"/>
                  </a:lnTo>
                  <a:lnTo>
                    <a:pt x="512" y="1010"/>
                  </a:lnTo>
                  <a:lnTo>
                    <a:pt x="565" y="993"/>
                  </a:lnTo>
                  <a:lnTo>
                    <a:pt x="625" y="945"/>
                  </a:lnTo>
                  <a:lnTo>
                    <a:pt x="629" y="918"/>
                  </a:lnTo>
                  <a:lnTo>
                    <a:pt x="607" y="881"/>
                  </a:lnTo>
                  <a:lnTo>
                    <a:pt x="591" y="870"/>
                  </a:lnTo>
                  <a:lnTo>
                    <a:pt x="570" y="852"/>
                  </a:lnTo>
                  <a:lnTo>
                    <a:pt x="567" y="816"/>
                  </a:lnTo>
                  <a:lnTo>
                    <a:pt x="543" y="811"/>
                  </a:lnTo>
                  <a:lnTo>
                    <a:pt x="518" y="764"/>
                  </a:lnTo>
                  <a:lnTo>
                    <a:pt x="565" y="761"/>
                  </a:lnTo>
                  <a:lnTo>
                    <a:pt x="577" y="658"/>
                  </a:lnTo>
                  <a:lnTo>
                    <a:pt x="615" y="656"/>
                  </a:lnTo>
                  <a:lnTo>
                    <a:pt x="622" y="551"/>
                  </a:lnTo>
                  <a:lnTo>
                    <a:pt x="680" y="542"/>
                  </a:lnTo>
                  <a:lnTo>
                    <a:pt x="674" y="416"/>
                  </a:lnTo>
                  <a:lnTo>
                    <a:pt x="642" y="409"/>
                  </a:lnTo>
                  <a:lnTo>
                    <a:pt x="644" y="374"/>
                  </a:lnTo>
                  <a:lnTo>
                    <a:pt x="685" y="375"/>
                  </a:lnTo>
                  <a:lnTo>
                    <a:pt x="681" y="337"/>
                  </a:lnTo>
                  <a:lnTo>
                    <a:pt x="664" y="292"/>
                  </a:lnTo>
                  <a:lnTo>
                    <a:pt x="660" y="233"/>
                  </a:lnTo>
                  <a:lnTo>
                    <a:pt x="691" y="147"/>
                  </a:lnTo>
                  <a:lnTo>
                    <a:pt x="688" y="103"/>
                  </a:lnTo>
                  <a:lnTo>
                    <a:pt x="664" y="47"/>
                  </a:lnTo>
                  <a:lnTo>
                    <a:pt x="605" y="0"/>
                  </a:lnTo>
                  <a:lnTo>
                    <a:pt x="526" y="64"/>
                  </a:lnTo>
                  <a:lnTo>
                    <a:pt x="498" y="40"/>
                  </a:lnTo>
                  <a:lnTo>
                    <a:pt x="202" y="40"/>
                  </a:lnTo>
                  <a:lnTo>
                    <a:pt x="167" y="64"/>
                  </a:lnTo>
                  <a:lnTo>
                    <a:pt x="139" y="79"/>
                  </a:lnTo>
                  <a:lnTo>
                    <a:pt x="134" y="158"/>
                  </a:lnTo>
                  <a:lnTo>
                    <a:pt x="103" y="167"/>
                  </a:lnTo>
                  <a:lnTo>
                    <a:pt x="111" y="24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" name="Freeform 177"/>
            <p:cNvSpPr>
              <a:spLocks noChangeAspect="1"/>
            </p:cNvSpPr>
            <p:nvPr/>
          </p:nvSpPr>
          <p:spPr bwMode="auto">
            <a:xfrm>
              <a:off x="3069479" y="3536393"/>
              <a:ext cx="73846" cy="42599"/>
            </a:xfrm>
            <a:custGeom>
              <a:avLst/>
              <a:gdLst/>
              <a:ahLst/>
              <a:cxnLst>
                <a:cxn ang="0">
                  <a:pos x="111" y="71"/>
                </a:cxn>
                <a:cxn ang="0">
                  <a:pos x="58" y="67"/>
                </a:cxn>
                <a:cxn ang="0">
                  <a:pos x="17" y="52"/>
                </a:cxn>
                <a:cxn ang="0">
                  <a:pos x="0" y="0"/>
                </a:cxn>
                <a:cxn ang="0">
                  <a:pos x="51" y="24"/>
                </a:cxn>
                <a:cxn ang="0">
                  <a:pos x="126" y="23"/>
                </a:cxn>
                <a:cxn ang="0">
                  <a:pos x="111" y="71"/>
                </a:cxn>
              </a:cxnLst>
              <a:rect l="0" t="0" r="r" b="b"/>
              <a:pathLst>
                <a:path w="126" h="71">
                  <a:moveTo>
                    <a:pt x="111" y="71"/>
                  </a:moveTo>
                  <a:lnTo>
                    <a:pt x="58" y="67"/>
                  </a:lnTo>
                  <a:lnTo>
                    <a:pt x="17" y="52"/>
                  </a:lnTo>
                  <a:lnTo>
                    <a:pt x="0" y="0"/>
                  </a:lnTo>
                  <a:lnTo>
                    <a:pt x="51" y="24"/>
                  </a:lnTo>
                  <a:lnTo>
                    <a:pt x="126" y="23"/>
                  </a:lnTo>
                  <a:lnTo>
                    <a:pt x="111" y="7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8" name="Freeform 178"/>
            <p:cNvSpPr>
              <a:spLocks noChangeAspect="1"/>
            </p:cNvSpPr>
            <p:nvPr/>
          </p:nvSpPr>
          <p:spPr bwMode="auto">
            <a:xfrm>
              <a:off x="957828" y="4352873"/>
              <a:ext cx="170550" cy="202345"/>
            </a:xfrm>
            <a:custGeom>
              <a:avLst/>
              <a:gdLst/>
              <a:ahLst/>
              <a:cxnLst>
                <a:cxn ang="0">
                  <a:pos x="215" y="0"/>
                </a:cxn>
                <a:cxn ang="0">
                  <a:pos x="142" y="6"/>
                </a:cxn>
                <a:cxn ang="0">
                  <a:pos x="117" y="28"/>
                </a:cxn>
                <a:cxn ang="0">
                  <a:pos x="117" y="52"/>
                </a:cxn>
                <a:cxn ang="0">
                  <a:pos x="105" y="85"/>
                </a:cxn>
                <a:cxn ang="0">
                  <a:pos x="57" y="88"/>
                </a:cxn>
                <a:cxn ang="0">
                  <a:pos x="46" y="75"/>
                </a:cxn>
                <a:cxn ang="0">
                  <a:pos x="46" y="136"/>
                </a:cxn>
                <a:cxn ang="0">
                  <a:pos x="8" y="152"/>
                </a:cxn>
                <a:cxn ang="0">
                  <a:pos x="0" y="166"/>
                </a:cxn>
                <a:cxn ang="0">
                  <a:pos x="22" y="176"/>
                </a:cxn>
                <a:cxn ang="0">
                  <a:pos x="21" y="219"/>
                </a:cxn>
                <a:cxn ang="0">
                  <a:pos x="77" y="273"/>
                </a:cxn>
                <a:cxn ang="0">
                  <a:pos x="121" y="324"/>
                </a:cxn>
                <a:cxn ang="0">
                  <a:pos x="139" y="343"/>
                </a:cxn>
                <a:cxn ang="0">
                  <a:pos x="155" y="321"/>
                </a:cxn>
                <a:cxn ang="0">
                  <a:pos x="170" y="283"/>
                </a:cxn>
                <a:cxn ang="0">
                  <a:pos x="149" y="267"/>
                </a:cxn>
                <a:cxn ang="0">
                  <a:pos x="145" y="242"/>
                </a:cxn>
                <a:cxn ang="0">
                  <a:pos x="176" y="228"/>
                </a:cxn>
                <a:cxn ang="0">
                  <a:pos x="200" y="221"/>
                </a:cxn>
                <a:cxn ang="0">
                  <a:pos x="224" y="253"/>
                </a:cxn>
                <a:cxn ang="0">
                  <a:pos x="262" y="238"/>
                </a:cxn>
                <a:cxn ang="0">
                  <a:pos x="290" y="194"/>
                </a:cxn>
                <a:cxn ang="0">
                  <a:pos x="283" y="150"/>
                </a:cxn>
                <a:cxn ang="0">
                  <a:pos x="259" y="129"/>
                </a:cxn>
                <a:cxn ang="0">
                  <a:pos x="245" y="97"/>
                </a:cxn>
                <a:cxn ang="0">
                  <a:pos x="257" y="73"/>
                </a:cxn>
                <a:cxn ang="0">
                  <a:pos x="248" y="43"/>
                </a:cxn>
                <a:cxn ang="0">
                  <a:pos x="215" y="42"/>
                </a:cxn>
                <a:cxn ang="0">
                  <a:pos x="215" y="0"/>
                </a:cxn>
              </a:cxnLst>
              <a:rect l="0" t="0" r="r" b="b"/>
              <a:pathLst>
                <a:path w="290" h="343">
                  <a:moveTo>
                    <a:pt x="215" y="0"/>
                  </a:moveTo>
                  <a:lnTo>
                    <a:pt x="142" y="6"/>
                  </a:lnTo>
                  <a:lnTo>
                    <a:pt x="117" y="28"/>
                  </a:lnTo>
                  <a:lnTo>
                    <a:pt x="117" y="52"/>
                  </a:lnTo>
                  <a:lnTo>
                    <a:pt x="105" y="85"/>
                  </a:lnTo>
                  <a:lnTo>
                    <a:pt x="57" y="88"/>
                  </a:lnTo>
                  <a:lnTo>
                    <a:pt x="46" y="75"/>
                  </a:lnTo>
                  <a:lnTo>
                    <a:pt x="46" y="136"/>
                  </a:lnTo>
                  <a:lnTo>
                    <a:pt x="8" y="152"/>
                  </a:lnTo>
                  <a:lnTo>
                    <a:pt x="0" y="166"/>
                  </a:lnTo>
                  <a:lnTo>
                    <a:pt x="22" y="176"/>
                  </a:lnTo>
                  <a:lnTo>
                    <a:pt x="21" y="219"/>
                  </a:lnTo>
                  <a:lnTo>
                    <a:pt x="77" y="273"/>
                  </a:lnTo>
                  <a:lnTo>
                    <a:pt x="121" y="324"/>
                  </a:lnTo>
                  <a:lnTo>
                    <a:pt x="139" y="343"/>
                  </a:lnTo>
                  <a:lnTo>
                    <a:pt x="155" y="321"/>
                  </a:lnTo>
                  <a:lnTo>
                    <a:pt x="170" y="283"/>
                  </a:lnTo>
                  <a:lnTo>
                    <a:pt x="149" y="267"/>
                  </a:lnTo>
                  <a:lnTo>
                    <a:pt x="145" y="242"/>
                  </a:lnTo>
                  <a:lnTo>
                    <a:pt x="176" y="228"/>
                  </a:lnTo>
                  <a:lnTo>
                    <a:pt x="200" y="221"/>
                  </a:lnTo>
                  <a:lnTo>
                    <a:pt x="224" y="253"/>
                  </a:lnTo>
                  <a:lnTo>
                    <a:pt x="262" y="238"/>
                  </a:lnTo>
                  <a:lnTo>
                    <a:pt x="290" y="194"/>
                  </a:lnTo>
                  <a:lnTo>
                    <a:pt x="283" y="150"/>
                  </a:lnTo>
                  <a:lnTo>
                    <a:pt x="259" y="129"/>
                  </a:lnTo>
                  <a:lnTo>
                    <a:pt x="245" y="97"/>
                  </a:lnTo>
                  <a:lnTo>
                    <a:pt x="257" y="73"/>
                  </a:lnTo>
                  <a:lnTo>
                    <a:pt x="248" y="43"/>
                  </a:lnTo>
                  <a:lnTo>
                    <a:pt x="215" y="42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" name="Freeform 179"/>
            <p:cNvSpPr>
              <a:spLocks noChangeAspect="1"/>
            </p:cNvSpPr>
            <p:nvPr/>
          </p:nvSpPr>
          <p:spPr bwMode="auto">
            <a:xfrm>
              <a:off x="1638268" y="3319849"/>
              <a:ext cx="38681" cy="60349"/>
            </a:xfrm>
            <a:custGeom>
              <a:avLst/>
              <a:gdLst/>
              <a:ahLst/>
              <a:cxnLst>
                <a:cxn ang="0">
                  <a:pos x="0" y="103"/>
                </a:cxn>
                <a:cxn ang="0">
                  <a:pos x="42" y="79"/>
                </a:cxn>
                <a:cxn ang="0">
                  <a:pos x="66" y="27"/>
                </a:cxn>
                <a:cxn ang="0">
                  <a:pos x="27" y="0"/>
                </a:cxn>
                <a:cxn ang="0">
                  <a:pos x="0" y="103"/>
                </a:cxn>
              </a:cxnLst>
              <a:rect l="0" t="0" r="r" b="b"/>
              <a:pathLst>
                <a:path w="66" h="103">
                  <a:moveTo>
                    <a:pt x="0" y="103"/>
                  </a:moveTo>
                  <a:lnTo>
                    <a:pt x="42" y="79"/>
                  </a:lnTo>
                  <a:lnTo>
                    <a:pt x="66" y="27"/>
                  </a:lnTo>
                  <a:lnTo>
                    <a:pt x="27" y="0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0" name="Freeform 180"/>
            <p:cNvSpPr>
              <a:spLocks noChangeAspect="1"/>
            </p:cNvSpPr>
            <p:nvPr/>
          </p:nvSpPr>
          <p:spPr bwMode="auto">
            <a:xfrm>
              <a:off x="7067088" y="4102275"/>
              <a:ext cx="158242" cy="92298"/>
            </a:xfrm>
            <a:custGeom>
              <a:avLst/>
              <a:gdLst/>
              <a:ahLst/>
              <a:cxnLst>
                <a:cxn ang="0">
                  <a:pos x="39" y="15"/>
                </a:cxn>
                <a:cxn ang="0">
                  <a:pos x="0" y="35"/>
                </a:cxn>
                <a:cxn ang="0">
                  <a:pos x="4" y="87"/>
                </a:cxn>
                <a:cxn ang="0">
                  <a:pos x="95" y="98"/>
                </a:cxn>
                <a:cxn ang="0">
                  <a:pos x="130" y="130"/>
                </a:cxn>
                <a:cxn ang="0">
                  <a:pos x="170" y="111"/>
                </a:cxn>
                <a:cxn ang="0">
                  <a:pos x="154" y="71"/>
                </a:cxn>
                <a:cxn ang="0">
                  <a:pos x="198" y="67"/>
                </a:cxn>
                <a:cxn ang="0">
                  <a:pos x="241" y="122"/>
                </a:cxn>
                <a:cxn ang="0">
                  <a:pos x="260" y="157"/>
                </a:cxn>
                <a:cxn ang="0">
                  <a:pos x="269" y="56"/>
                </a:cxn>
                <a:cxn ang="0">
                  <a:pos x="214" y="15"/>
                </a:cxn>
                <a:cxn ang="0">
                  <a:pos x="162" y="0"/>
                </a:cxn>
                <a:cxn ang="0">
                  <a:pos x="126" y="35"/>
                </a:cxn>
                <a:cxn ang="0">
                  <a:pos x="39" y="15"/>
                </a:cxn>
              </a:cxnLst>
              <a:rect l="0" t="0" r="r" b="b"/>
              <a:pathLst>
                <a:path w="269" h="157">
                  <a:moveTo>
                    <a:pt x="39" y="15"/>
                  </a:moveTo>
                  <a:lnTo>
                    <a:pt x="0" y="35"/>
                  </a:lnTo>
                  <a:lnTo>
                    <a:pt x="4" y="87"/>
                  </a:lnTo>
                  <a:lnTo>
                    <a:pt x="95" y="98"/>
                  </a:lnTo>
                  <a:lnTo>
                    <a:pt x="130" y="130"/>
                  </a:lnTo>
                  <a:lnTo>
                    <a:pt x="170" y="111"/>
                  </a:lnTo>
                  <a:lnTo>
                    <a:pt x="154" y="71"/>
                  </a:lnTo>
                  <a:lnTo>
                    <a:pt x="198" y="67"/>
                  </a:lnTo>
                  <a:lnTo>
                    <a:pt x="241" y="122"/>
                  </a:lnTo>
                  <a:lnTo>
                    <a:pt x="260" y="157"/>
                  </a:lnTo>
                  <a:lnTo>
                    <a:pt x="269" y="56"/>
                  </a:lnTo>
                  <a:lnTo>
                    <a:pt x="214" y="15"/>
                  </a:lnTo>
                  <a:lnTo>
                    <a:pt x="162" y="0"/>
                  </a:lnTo>
                  <a:lnTo>
                    <a:pt x="126" y="35"/>
                  </a:lnTo>
                  <a:lnTo>
                    <a:pt x="39" y="1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1" name="Freeform 181"/>
            <p:cNvSpPr>
              <a:spLocks noChangeAspect="1"/>
            </p:cNvSpPr>
            <p:nvPr/>
          </p:nvSpPr>
          <p:spPr bwMode="auto">
            <a:xfrm>
              <a:off x="7126869" y="4368519"/>
              <a:ext cx="203956" cy="188145"/>
            </a:xfrm>
            <a:custGeom>
              <a:avLst/>
              <a:gdLst/>
              <a:ahLst/>
              <a:cxnLst>
                <a:cxn ang="0">
                  <a:pos x="348" y="151"/>
                </a:cxn>
                <a:cxn ang="0">
                  <a:pos x="309" y="99"/>
                </a:cxn>
                <a:cxn ang="0">
                  <a:pos x="261" y="68"/>
                </a:cxn>
                <a:cxn ang="0">
                  <a:pos x="226" y="36"/>
                </a:cxn>
                <a:cxn ang="0">
                  <a:pos x="151" y="40"/>
                </a:cxn>
                <a:cxn ang="0">
                  <a:pos x="84" y="0"/>
                </a:cxn>
                <a:cxn ang="0">
                  <a:pos x="44" y="20"/>
                </a:cxn>
                <a:cxn ang="0">
                  <a:pos x="37" y="75"/>
                </a:cxn>
                <a:cxn ang="0">
                  <a:pos x="16" y="103"/>
                </a:cxn>
                <a:cxn ang="0">
                  <a:pos x="0" y="139"/>
                </a:cxn>
                <a:cxn ang="0">
                  <a:pos x="16" y="174"/>
                </a:cxn>
                <a:cxn ang="0">
                  <a:pos x="44" y="202"/>
                </a:cxn>
                <a:cxn ang="0">
                  <a:pos x="52" y="237"/>
                </a:cxn>
                <a:cxn ang="0">
                  <a:pos x="52" y="285"/>
                </a:cxn>
                <a:cxn ang="0">
                  <a:pos x="83" y="320"/>
                </a:cxn>
                <a:cxn ang="0">
                  <a:pos x="131" y="285"/>
                </a:cxn>
                <a:cxn ang="0">
                  <a:pos x="193" y="241"/>
                </a:cxn>
                <a:cxn ang="0">
                  <a:pos x="324" y="182"/>
                </a:cxn>
                <a:cxn ang="0">
                  <a:pos x="348" y="151"/>
                </a:cxn>
              </a:cxnLst>
              <a:rect l="0" t="0" r="r" b="b"/>
              <a:pathLst>
                <a:path w="348" h="320">
                  <a:moveTo>
                    <a:pt x="348" y="151"/>
                  </a:moveTo>
                  <a:lnTo>
                    <a:pt x="309" y="99"/>
                  </a:lnTo>
                  <a:lnTo>
                    <a:pt x="261" y="68"/>
                  </a:lnTo>
                  <a:lnTo>
                    <a:pt x="226" y="36"/>
                  </a:lnTo>
                  <a:lnTo>
                    <a:pt x="151" y="40"/>
                  </a:lnTo>
                  <a:lnTo>
                    <a:pt x="84" y="0"/>
                  </a:lnTo>
                  <a:lnTo>
                    <a:pt x="44" y="20"/>
                  </a:lnTo>
                  <a:lnTo>
                    <a:pt x="37" y="75"/>
                  </a:lnTo>
                  <a:lnTo>
                    <a:pt x="16" y="103"/>
                  </a:lnTo>
                  <a:lnTo>
                    <a:pt x="0" y="139"/>
                  </a:lnTo>
                  <a:lnTo>
                    <a:pt x="16" y="174"/>
                  </a:lnTo>
                  <a:lnTo>
                    <a:pt x="44" y="202"/>
                  </a:lnTo>
                  <a:lnTo>
                    <a:pt x="52" y="237"/>
                  </a:lnTo>
                  <a:lnTo>
                    <a:pt x="52" y="285"/>
                  </a:lnTo>
                  <a:lnTo>
                    <a:pt x="83" y="320"/>
                  </a:lnTo>
                  <a:lnTo>
                    <a:pt x="131" y="285"/>
                  </a:lnTo>
                  <a:lnTo>
                    <a:pt x="193" y="241"/>
                  </a:lnTo>
                  <a:lnTo>
                    <a:pt x="324" y="182"/>
                  </a:lnTo>
                  <a:lnTo>
                    <a:pt x="348" y="15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2" name="Freeform 182"/>
            <p:cNvSpPr>
              <a:spLocks noChangeAspect="1"/>
            </p:cNvSpPr>
            <p:nvPr/>
          </p:nvSpPr>
          <p:spPr bwMode="auto">
            <a:xfrm>
              <a:off x="7656100" y="4135999"/>
              <a:ext cx="116044" cy="232519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55" y="46"/>
                </a:cxn>
                <a:cxn ang="0">
                  <a:pos x="37" y="66"/>
                </a:cxn>
                <a:cxn ang="0">
                  <a:pos x="27" y="90"/>
                </a:cxn>
                <a:cxn ang="0">
                  <a:pos x="2" y="115"/>
                </a:cxn>
                <a:cxn ang="0">
                  <a:pos x="0" y="160"/>
                </a:cxn>
                <a:cxn ang="0">
                  <a:pos x="20" y="187"/>
                </a:cxn>
                <a:cxn ang="0">
                  <a:pos x="21" y="219"/>
                </a:cxn>
                <a:cxn ang="0">
                  <a:pos x="59" y="233"/>
                </a:cxn>
                <a:cxn ang="0">
                  <a:pos x="67" y="284"/>
                </a:cxn>
                <a:cxn ang="0">
                  <a:pos x="55" y="321"/>
                </a:cxn>
                <a:cxn ang="0">
                  <a:pos x="76" y="366"/>
                </a:cxn>
                <a:cxn ang="0">
                  <a:pos x="99" y="391"/>
                </a:cxn>
                <a:cxn ang="0">
                  <a:pos x="130" y="390"/>
                </a:cxn>
                <a:cxn ang="0">
                  <a:pos x="141" y="370"/>
                </a:cxn>
                <a:cxn ang="0">
                  <a:pos x="179" y="367"/>
                </a:cxn>
                <a:cxn ang="0">
                  <a:pos x="189" y="344"/>
                </a:cxn>
                <a:cxn ang="0">
                  <a:pos x="185" y="298"/>
                </a:cxn>
                <a:cxn ang="0">
                  <a:pos x="160" y="283"/>
                </a:cxn>
                <a:cxn ang="0">
                  <a:pos x="141" y="263"/>
                </a:cxn>
                <a:cxn ang="0">
                  <a:pos x="140" y="221"/>
                </a:cxn>
                <a:cxn ang="0">
                  <a:pos x="162" y="208"/>
                </a:cxn>
                <a:cxn ang="0">
                  <a:pos x="195" y="210"/>
                </a:cxn>
                <a:cxn ang="0">
                  <a:pos x="199" y="162"/>
                </a:cxn>
                <a:cxn ang="0">
                  <a:pos x="193" y="112"/>
                </a:cxn>
                <a:cxn ang="0">
                  <a:pos x="174" y="97"/>
                </a:cxn>
                <a:cxn ang="0">
                  <a:pos x="136" y="93"/>
                </a:cxn>
                <a:cxn ang="0">
                  <a:pos x="130" y="49"/>
                </a:cxn>
                <a:cxn ang="0">
                  <a:pos x="104" y="46"/>
                </a:cxn>
                <a:cxn ang="0">
                  <a:pos x="89" y="5"/>
                </a:cxn>
                <a:cxn ang="0">
                  <a:pos x="54" y="0"/>
                </a:cxn>
              </a:cxnLst>
              <a:rect l="0" t="0" r="r" b="b"/>
              <a:pathLst>
                <a:path w="199" h="391">
                  <a:moveTo>
                    <a:pt x="54" y="0"/>
                  </a:moveTo>
                  <a:lnTo>
                    <a:pt x="55" y="46"/>
                  </a:lnTo>
                  <a:lnTo>
                    <a:pt x="37" y="66"/>
                  </a:lnTo>
                  <a:lnTo>
                    <a:pt x="27" y="90"/>
                  </a:lnTo>
                  <a:lnTo>
                    <a:pt x="2" y="115"/>
                  </a:lnTo>
                  <a:lnTo>
                    <a:pt x="0" y="160"/>
                  </a:lnTo>
                  <a:lnTo>
                    <a:pt x="20" y="187"/>
                  </a:lnTo>
                  <a:lnTo>
                    <a:pt x="21" y="219"/>
                  </a:lnTo>
                  <a:lnTo>
                    <a:pt x="59" y="233"/>
                  </a:lnTo>
                  <a:lnTo>
                    <a:pt x="67" y="284"/>
                  </a:lnTo>
                  <a:lnTo>
                    <a:pt x="55" y="321"/>
                  </a:lnTo>
                  <a:lnTo>
                    <a:pt x="76" y="366"/>
                  </a:lnTo>
                  <a:lnTo>
                    <a:pt x="99" y="391"/>
                  </a:lnTo>
                  <a:lnTo>
                    <a:pt x="130" y="390"/>
                  </a:lnTo>
                  <a:lnTo>
                    <a:pt x="141" y="370"/>
                  </a:lnTo>
                  <a:lnTo>
                    <a:pt x="179" y="367"/>
                  </a:lnTo>
                  <a:lnTo>
                    <a:pt x="189" y="344"/>
                  </a:lnTo>
                  <a:lnTo>
                    <a:pt x="185" y="298"/>
                  </a:lnTo>
                  <a:lnTo>
                    <a:pt x="160" y="283"/>
                  </a:lnTo>
                  <a:lnTo>
                    <a:pt x="141" y="263"/>
                  </a:lnTo>
                  <a:lnTo>
                    <a:pt x="140" y="221"/>
                  </a:lnTo>
                  <a:lnTo>
                    <a:pt x="162" y="208"/>
                  </a:lnTo>
                  <a:lnTo>
                    <a:pt x="195" y="210"/>
                  </a:lnTo>
                  <a:lnTo>
                    <a:pt x="199" y="162"/>
                  </a:lnTo>
                  <a:lnTo>
                    <a:pt x="193" y="112"/>
                  </a:lnTo>
                  <a:lnTo>
                    <a:pt x="174" y="97"/>
                  </a:lnTo>
                  <a:lnTo>
                    <a:pt x="136" y="93"/>
                  </a:lnTo>
                  <a:lnTo>
                    <a:pt x="130" y="49"/>
                  </a:lnTo>
                  <a:lnTo>
                    <a:pt x="104" y="46"/>
                  </a:lnTo>
                  <a:lnTo>
                    <a:pt x="89" y="5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3" name="Freeform 183"/>
            <p:cNvSpPr>
              <a:spLocks noChangeAspect="1"/>
            </p:cNvSpPr>
            <p:nvPr/>
          </p:nvSpPr>
          <p:spPr bwMode="auto">
            <a:xfrm>
              <a:off x="7738738" y="4205223"/>
              <a:ext cx="110769" cy="149096"/>
            </a:xfrm>
            <a:custGeom>
              <a:avLst/>
              <a:gdLst/>
              <a:ahLst/>
              <a:cxnLst>
                <a:cxn ang="0">
                  <a:pos x="59" y="45"/>
                </a:cxn>
                <a:cxn ang="0">
                  <a:pos x="55" y="93"/>
                </a:cxn>
                <a:cxn ang="0">
                  <a:pos x="22" y="91"/>
                </a:cxn>
                <a:cxn ang="0">
                  <a:pos x="0" y="104"/>
                </a:cxn>
                <a:cxn ang="0">
                  <a:pos x="1" y="146"/>
                </a:cxn>
                <a:cxn ang="0">
                  <a:pos x="20" y="166"/>
                </a:cxn>
                <a:cxn ang="0">
                  <a:pos x="45" y="181"/>
                </a:cxn>
                <a:cxn ang="0">
                  <a:pos x="49" y="227"/>
                </a:cxn>
                <a:cxn ang="0">
                  <a:pos x="39" y="250"/>
                </a:cxn>
                <a:cxn ang="0">
                  <a:pos x="94" y="249"/>
                </a:cxn>
                <a:cxn ang="0">
                  <a:pos x="97" y="207"/>
                </a:cxn>
                <a:cxn ang="0">
                  <a:pos x="163" y="204"/>
                </a:cxn>
                <a:cxn ang="0">
                  <a:pos x="177" y="191"/>
                </a:cxn>
                <a:cxn ang="0">
                  <a:pos x="177" y="57"/>
                </a:cxn>
                <a:cxn ang="0">
                  <a:pos x="190" y="32"/>
                </a:cxn>
                <a:cxn ang="0">
                  <a:pos x="172" y="1"/>
                </a:cxn>
                <a:cxn ang="0">
                  <a:pos x="118" y="0"/>
                </a:cxn>
                <a:cxn ang="0">
                  <a:pos x="101" y="25"/>
                </a:cxn>
                <a:cxn ang="0">
                  <a:pos x="59" y="45"/>
                </a:cxn>
              </a:cxnLst>
              <a:rect l="0" t="0" r="r" b="b"/>
              <a:pathLst>
                <a:path w="190" h="250">
                  <a:moveTo>
                    <a:pt x="59" y="45"/>
                  </a:moveTo>
                  <a:lnTo>
                    <a:pt x="55" y="93"/>
                  </a:lnTo>
                  <a:lnTo>
                    <a:pt x="22" y="91"/>
                  </a:lnTo>
                  <a:lnTo>
                    <a:pt x="0" y="104"/>
                  </a:lnTo>
                  <a:lnTo>
                    <a:pt x="1" y="146"/>
                  </a:lnTo>
                  <a:lnTo>
                    <a:pt x="20" y="166"/>
                  </a:lnTo>
                  <a:lnTo>
                    <a:pt x="45" y="181"/>
                  </a:lnTo>
                  <a:lnTo>
                    <a:pt x="49" y="227"/>
                  </a:lnTo>
                  <a:lnTo>
                    <a:pt x="39" y="250"/>
                  </a:lnTo>
                  <a:lnTo>
                    <a:pt x="94" y="249"/>
                  </a:lnTo>
                  <a:lnTo>
                    <a:pt x="97" y="207"/>
                  </a:lnTo>
                  <a:lnTo>
                    <a:pt x="163" y="204"/>
                  </a:lnTo>
                  <a:lnTo>
                    <a:pt x="177" y="191"/>
                  </a:lnTo>
                  <a:lnTo>
                    <a:pt x="177" y="57"/>
                  </a:lnTo>
                  <a:lnTo>
                    <a:pt x="190" y="32"/>
                  </a:lnTo>
                  <a:lnTo>
                    <a:pt x="172" y="1"/>
                  </a:lnTo>
                  <a:lnTo>
                    <a:pt x="118" y="0"/>
                  </a:lnTo>
                  <a:lnTo>
                    <a:pt x="101" y="25"/>
                  </a:lnTo>
                  <a:lnTo>
                    <a:pt x="59" y="4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4" name="Freeform 184"/>
            <p:cNvSpPr>
              <a:spLocks noChangeAspect="1"/>
            </p:cNvSpPr>
            <p:nvPr/>
          </p:nvSpPr>
          <p:spPr bwMode="auto">
            <a:xfrm>
              <a:off x="3899370" y="3829261"/>
              <a:ext cx="93187" cy="145546"/>
            </a:xfrm>
            <a:custGeom>
              <a:avLst/>
              <a:gdLst/>
              <a:ahLst/>
              <a:cxnLst>
                <a:cxn ang="0">
                  <a:pos x="74" y="0"/>
                </a:cxn>
                <a:cxn ang="0">
                  <a:pos x="46" y="52"/>
                </a:cxn>
                <a:cxn ang="0">
                  <a:pos x="31" y="119"/>
                </a:cxn>
                <a:cxn ang="0">
                  <a:pos x="0" y="146"/>
                </a:cxn>
                <a:cxn ang="0">
                  <a:pos x="7" y="210"/>
                </a:cxn>
                <a:cxn ang="0">
                  <a:pos x="43" y="218"/>
                </a:cxn>
                <a:cxn ang="0">
                  <a:pos x="63" y="245"/>
                </a:cxn>
                <a:cxn ang="0">
                  <a:pos x="110" y="242"/>
                </a:cxn>
                <a:cxn ang="0">
                  <a:pos x="157" y="225"/>
                </a:cxn>
                <a:cxn ang="0">
                  <a:pos x="142" y="162"/>
                </a:cxn>
                <a:cxn ang="0">
                  <a:pos x="149" y="119"/>
                </a:cxn>
                <a:cxn ang="0">
                  <a:pos x="149" y="87"/>
                </a:cxn>
                <a:cxn ang="0">
                  <a:pos x="134" y="32"/>
                </a:cxn>
                <a:cxn ang="0">
                  <a:pos x="122" y="4"/>
                </a:cxn>
                <a:cxn ang="0">
                  <a:pos x="74" y="0"/>
                </a:cxn>
              </a:cxnLst>
              <a:rect l="0" t="0" r="r" b="b"/>
              <a:pathLst>
                <a:path w="157" h="245">
                  <a:moveTo>
                    <a:pt x="74" y="0"/>
                  </a:moveTo>
                  <a:lnTo>
                    <a:pt x="46" y="52"/>
                  </a:lnTo>
                  <a:lnTo>
                    <a:pt x="31" y="119"/>
                  </a:lnTo>
                  <a:lnTo>
                    <a:pt x="0" y="146"/>
                  </a:lnTo>
                  <a:lnTo>
                    <a:pt x="7" y="210"/>
                  </a:lnTo>
                  <a:lnTo>
                    <a:pt x="43" y="218"/>
                  </a:lnTo>
                  <a:lnTo>
                    <a:pt x="63" y="245"/>
                  </a:lnTo>
                  <a:lnTo>
                    <a:pt x="110" y="242"/>
                  </a:lnTo>
                  <a:lnTo>
                    <a:pt x="157" y="225"/>
                  </a:lnTo>
                  <a:lnTo>
                    <a:pt x="142" y="162"/>
                  </a:lnTo>
                  <a:lnTo>
                    <a:pt x="149" y="119"/>
                  </a:lnTo>
                  <a:lnTo>
                    <a:pt x="149" y="87"/>
                  </a:lnTo>
                  <a:lnTo>
                    <a:pt x="134" y="32"/>
                  </a:lnTo>
                  <a:lnTo>
                    <a:pt x="122" y="4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5" name="Freeform 185"/>
            <p:cNvSpPr>
              <a:spLocks noChangeAspect="1"/>
            </p:cNvSpPr>
            <p:nvPr/>
          </p:nvSpPr>
          <p:spPr bwMode="auto">
            <a:xfrm>
              <a:off x="3922227" y="4001432"/>
              <a:ext cx="52747" cy="46149"/>
            </a:xfrm>
            <a:custGeom>
              <a:avLst/>
              <a:gdLst/>
              <a:ahLst/>
              <a:cxnLst>
                <a:cxn ang="0">
                  <a:pos x="51" y="18"/>
                </a:cxn>
                <a:cxn ang="0">
                  <a:pos x="4" y="0"/>
                </a:cxn>
                <a:cxn ang="0">
                  <a:pos x="0" y="39"/>
                </a:cxn>
                <a:cxn ang="0">
                  <a:pos x="27" y="71"/>
                </a:cxn>
                <a:cxn ang="0">
                  <a:pos x="55" y="79"/>
                </a:cxn>
                <a:cxn ang="0">
                  <a:pos x="55" y="79"/>
                </a:cxn>
                <a:cxn ang="0">
                  <a:pos x="61" y="78"/>
                </a:cxn>
                <a:cxn ang="0">
                  <a:pos x="68" y="77"/>
                </a:cxn>
                <a:cxn ang="0">
                  <a:pos x="74" y="74"/>
                </a:cxn>
                <a:cxn ang="0">
                  <a:pos x="80" y="71"/>
                </a:cxn>
                <a:cxn ang="0">
                  <a:pos x="85" y="66"/>
                </a:cxn>
                <a:cxn ang="0">
                  <a:pos x="86" y="63"/>
                </a:cxn>
                <a:cxn ang="0">
                  <a:pos x="88" y="59"/>
                </a:cxn>
                <a:cxn ang="0">
                  <a:pos x="88" y="56"/>
                </a:cxn>
                <a:cxn ang="0">
                  <a:pos x="86" y="51"/>
                </a:cxn>
                <a:cxn ang="0">
                  <a:pos x="86" y="51"/>
                </a:cxn>
                <a:cxn ang="0">
                  <a:pos x="83" y="43"/>
                </a:cxn>
                <a:cxn ang="0">
                  <a:pos x="78" y="35"/>
                </a:cxn>
                <a:cxn ang="0">
                  <a:pos x="73" y="30"/>
                </a:cxn>
                <a:cxn ang="0">
                  <a:pos x="66" y="25"/>
                </a:cxn>
                <a:cxn ang="0">
                  <a:pos x="55" y="19"/>
                </a:cxn>
                <a:cxn ang="0">
                  <a:pos x="51" y="18"/>
                </a:cxn>
              </a:cxnLst>
              <a:rect l="0" t="0" r="r" b="b"/>
              <a:pathLst>
                <a:path w="88" h="79">
                  <a:moveTo>
                    <a:pt x="51" y="18"/>
                  </a:moveTo>
                  <a:lnTo>
                    <a:pt x="4" y="0"/>
                  </a:lnTo>
                  <a:lnTo>
                    <a:pt x="0" y="39"/>
                  </a:lnTo>
                  <a:lnTo>
                    <a:pt x="27" y="71"/>
                  </a:lnTo>
                  <a:lnTo>
                    <a:pt x="55" y="79"/>
                  </a:lnTo>
                  <a:lnTo>
                    <a:pt x="55" y="79"/>
                  </a:lnTo>
                  <a:lnTo>
                    <a:pt x="61" y="78"/>
                  </a:lnTo>
                  <a:lnTo>
                    <a:pt x="68" y="77"/>
                  </a:lnTo>
                  <a:lnTo>
                    <a:pt x="74" y="74"/>
                  </a:lnTo>
                  <a:lnTo>
                    <a:pt x="80" y="71"/>
                  </a:lnTo>
                  <a:lnTo>
                    <a:pt x="85" y="66"/>
                  </a:lnTo>
                  <a:lnTo>
                    <a:pt x="86" y="63"/>
                  </a:lnTo>
                  <a:lnTo>
                    <a:pt x="88" y="59"/>
                  </a:lnTo>
                  <a:lnTo>
                    <a:pt x="88" y="56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3" y="43"/>
                  </a:lnTo>
                  <a:lnTo>
                    <a:pt x="78" y="35"/>
                  </a:lnTo>
                  <a:lnTo>
                    <a:pt x="73" y="30"/>
                  </a:lnTo>
                  <a:lnTo>
                    <a:pt x="66" y="25"/>
                  </a:lnTo>
                  <a:lnTo>
                    <a:pt x="55" y="19"/>
                  </a:lnTo>
                  <a:lnTo>
                    <a:pt x="51" y="1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6" name="Freeform 186"/>
            <p:cNvSpPr>
              <a:spLocks noChangeAspect="1"/>
            </p:cNvSpPr>
            <p:nvPr/>
          </p:nvSpPr>
          <p:spPr bwMode="auto">
            <a:xfrm>
              <a:off x="3922227" y="4001432"/>
              <a:ext cx="52747" cy="46149"/>
            </a:xfrm>
            <a:custGeom>
              <a:avLst/>
              <a:gdLst/>
              <a:ahLst/>
              <a:cxnLst>
                <a:cxn ang="0">
                  <a:pos x="51" y="18"/>
                </a:cxn>
                <a:cxn ang="0">
                  <a:pos x="4" y="0"/>
                </a:cxn>
                <a:cxn ang="0">
                  <a:pos x="0" y="39"/>
                </a:cxn>
                <a:cxn ang="0">
                  <a:pos x="27" y="71"/>
                </a:cxn>
                <a:cxn ang="0">
                  <a:pos x="55" y="79"/>
                </a:cxn>
                <a:cxn ang="0">
                  <a:pos x="55" y="79"/>
                </a:cxn>
                <a:cxn ang="0">
                  <a:pos x="61" y="78"/>
                </a:cxn>
                <a:cxn ang="0">
                  <a:pos x="68" y="77"/>
                </a:cxn>
                <a:cxn ang="0">
                  <a:pos x="74" y="74"/>
                </a:cxn>
                <a:cxn ang="0">
                  <a:pos x="80" y="71"/>
                </a:cxn>
                <a:cxn ang="0">
                  <a:pos x="85" y="66"/>
                </a:cxn>
                <a:cxn ang="0">
                  <a:pos x="86" y="63"/>
                </a:cxn>
                <a:cxn ang="0">
                  <a:pos x="88" y="59"/>
                </a:cxn>
                <a:cxn ang="0">
                  <a:pos x="88" y="56"/>
                </a:cxn>
                <a:cxn ang="0">
                  <a:pos x="86" y="51"/>
                </a:cxn>
                <a:cxn ang="0">
                  <a:pos x="86" y="51"/>
                </a:cxn>
                <a:cxn ang="0">
                  <a:pos x="83" y="43"/>
                </a:cxn>
                <a:cxn ang="0">
                  <a:pos x="78" y="35"/>
                </a:cxn>
                <a:cxn ang="0">
                  <a:pos x="73" y="30"/>
                </a:cxn>
                <a:cxn ang="0">
                  <a:pos x="66" y="25"/>
                </a:cxn>
                <a:cxn ang="0">
                  <a:pos x="55" y="19"/>
                </a:cxn>
                <a:cxn ang="0">
                  <a:pos x="51" y="18"/>
                </a:cxn>
              </a:cxnLst>
              <a:rect l="0" t="0" r="r" b="b"/>
              <a:pathLst>
                <a:path w="88" h="79">
                  <a:moveTo>
                    <a:pt x="51" y="18"/>
                  </a:moveTo>
                  <a:lnTo>
                    <a:pt x="4" y="0"/>
                  </a:lnTo>
                  <a:lnTo>
                    <a:pt x="0" y="39"/>
                  </a:lnTo>
                  <a:lnTo>
                    <a:pt x="27" y="71"/>
                  </a:lnTo>
                  <a:lnTo>
                    <a:pt x="55" y="79"/>
                  </a:lnTo>
                  <a:lnTo>
                    <a:pt x="55" y="79"/>
                  </a:lnTo>
                  <a:lnTo>
                    <a:pt x="61" y="78"/>
                  </a:lnTo>
                  <a:lnTo>
                    <a:pt x="68" y="77"/>
                  </a:lnTo>
                  <a:lnTo>
                    <a:pt x="74" y="74"/>
                  </a:lnTo>
                  <a:lnTo>
                    <a:pt x="80" y="71"/>
                  </a:lnTo>
                  <a:lnTo>
                    <a:pt x="85" y="66"/>
                  </a:lnTo>
                  <a:lnTo>
                    <a:pt x="86" y="63"/>
                  </a:lnTo>
                  <a:lnTo>
                    <a:pt x="88" y="59"/>
                  </a:lnTo>
                  <a:lnTo>
                    <a:pt x="88" y="56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3" y="43"/>
                  </a:lnTo>
                  <a:lnTo>
                    <a:pt x="78" y="35"/>
                  </a:lnTo>
                  <a:lnTo>
                    <a:pt x="73" y="30"/>
                  </a:lnTo>
                  <a:lnTo>
                    <a:pt x="66" y="25"/>
                  </a:lnTo>
                  <a:lnTo>
                    <a:pt x="55" y="19"/>
                  </a:lnTo>
                  <a:lnTo>
                    <a:pt x="51" y="18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7" name="Freeform 187"/>
            <p:cNvSpPr>
              <a:spLocks noChangeAspect="1"/>
            </p:cNvSpPr>
            <p:nvPr/>
          </p:nvSpPr>
          <p:spPr bwMode="auto">
            <a:xfrm>
              <a:off x="3994315" y="3985457"/>
              <a:ext cx="56264" cy="40824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46"/>
                </a:cxn>
                <a:cxn ang="0">
                  <a:pos x="31" y="66"/>
                </a:cxn>
                <a:cxn ang="0">
                  <a:pos x="94" y="70"/>
                </a:cxn>
                <a:cxn ang="0">
                  <a:pos x="94" y="31"/>
                </a:cxn>
                <a:cxn ang="0">
                  <a:pos x="46" y="0"/>
                </a:cxn>
                <a:cxn ang="0">
                  <a:pos x="4" y="8"/>
                </a:cxn>
              </a:cxnLst>
              <a:rect l="0" t="0" r="r" b="b"/>
              <a:pathLst>
                <a:path w="94" h="70">
                  <a:moveTo>
                    <a:pt x="4" y="8"/>
                  </a:moveTo>
                  <a:lnTo>
                    <a:pt x="0" y="46"/>
                  </a:lnTo>
                  <a:lnTo>
                    <a:pt x="31" y="66"/>
                  </a:lnTo>
                  <a:lnTo>
                    <a:pt x="94" y="70"/>
                  </a:lnTo>
                  <a:lnTo>
                    <a:pt x="94" y="31"/>
                  </a:lnTo>
                  <a:lnTo>
                    <a:pt x="46" y="0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8" name="Freeform 188"/>
            <p:cNvSpPr>
              <a:spLocks noChangeAspect="1"/>
            </p:cNvSpPr>
            <p:nvPr/>
          </p:nvSpPr>
          <p:spPr bwMode="auto">
            <a:xfrm>
              <a:off x="3994315" y="3985457"/>
              <a:ext cx="56264" cy="40824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46"/>
                </a:cxn>
                <a:cxn ang="0">
                  <a:pos x="31" y="66"/>
                </a:cxn>
                <a:cxn ang="0">
                  <a:pos x="94" y="70"/>
                </a:cxn>
                <a:cxn ang="0">
                  <a:pos x="94" y="31"/>
                </a:cxn>
                <a:cxn ang="0">
                  <a:pos x="46" y="0"/>
                </a:cxn>
                <a:cxn ang="0">
                  <a:pos x="4" y="8"/>
                </a:cxn>
              </a:cxnLst>
              <a:rect l="0" t="0" r="r" b="b"/>
              <a:pathLst>
                <a:path w="94" h="70">
                  <a:moveTo>
                    <a:pt x="4" y="8"/>
                  </a:moveTo>
                  <a:lnTo>
                    <a:pt x="0" y="46"/>
                  </a:lnTo>
                  <a:lnTo>
                    <a:pt x="31" y="66"/>
                  </a:lnTo>
                  <a:lnTo>
                    <a:pt x="94" y="70"/>
                  </a:lnTo>
                  <a:lnTo>
                    <a:pt x="94" y="31"/>
                  </a:lnTo>
                  <a:lnTo>
                    <a:pt x="46" y="0"/>
                  </a:lnTo>
                  <a:lnTo>
                    <a:pt x="4" y="8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9" name="Freeform 189"/>
            <p:cNvSpPr>
              <a:spLocks noChangeAspect="1"/>
            </p:cNvSpPr>
            <p:nvPr/>
          </p:nvSpPr>
          <p:spPr bwMode="auto">
            <a:xfrm>
              <a:off x="3985524" y="4054680"/>
              <a:ext cx="36923" cy="37274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0" y="35"/>
                </a:cxn>
                <a:cxn ang="0">
                  <a:pos x="16" y="62"/>
                </a:cxn>
                <a:cxn ang="0">
                  <a:pos x="62" y="47"/>
                </a:cxn>
                <a:cxn ang="0">
                  <a:pos x="51" y="11"/>
                </a:cxn>
                <a:cxn ang="0">
                  <a:pos x="13" y="0"/>
                </a:cxn>
              </a:cxnLst>
              <a:rect l="0" t="0" r="r" b="b"/>
              <a:pathLst>
                <a:path w="62" h="62">
                  <a:moveTo>
                    <a:pt x="13" y="0"/>
                  </a:moveTo>
                  <a:lnTo>
                    <a:pt x="0" y="35"/>
                  </a:lnTo>
                  <a:lnTo>
                    <a:pt x="16" y="62"/>
                  </a:lnTo>
                  <a:lnTo>
                    <a:pt x="62" y="47"/>
                  </a:lnTo>
                  <a:lnTo>
                    <a:pt x="51" y="11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0" name="Freeform 190"/>
            <p:cNvSpPr>
              <a:spLocks noChangeAspect="1"/>
            </p:cNvSpPr>
            <p:nvPr/>
          </p:nvSpPr>
          <p:spPr bwMode="auto">
            <a:xfrm>
              <a:off x="3985524" y="4054680"/>
              <a:ext cx="36923" cy="37274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0" y="35"/>
                </a:cxn>
                <a:cxn ang="0">
                  <a:pos x="16" y="62"/>
                </a:cxn>
                <a:cxn ang="0">
                  <a:pos x="62" y="47"/>
                </a:cxn>
                <a:cxn ang="0">
                  <a:pos x="51" y="11"/>
                </a:cxn>
                <a:cxn ang="0">
                  <a:pos x="13" y="0"/>
                </a:cxn>
              </a:cxnLst>
              <a:rect l="0" t="0" r="r" b="b"/>
              <a:pathLst>
                <a:path w="62" h="62">
                  <a:moveTo>
                    <a:pt x="13" y="0"/>
                  </a:moveTo>
                  <a:lnTo>
                    <a:pt x="0" y="35"/>
                  </a:lnTo>
                  <a:lnTo>
                    <a:pt x="16" y="62"/>
                  </a:lnTo>
                  <a:lnTo>
                    <a:pt x="62" y="47"/>
                  </a:lnTo>
                  <a:lnTo>
                    <a:pt x="51" y="11"/>
                  </a:lnTo>
                  <a:lnTo>
                    <a:pt x="13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1" name="Freeform 191"/>
            <p:cNvSpPr>
              <a:spLocks noChangeAspect="1"/>
            </p:cNvSpPr>
            <p:nvPr/>
          </p:nvSpPr>
          <p:spPr bwMode="auto">
            <a:xfrm>
              <a:off x="4054095" y="4047580"/>
              <a:ext cx="33407" cy="23074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8" y="39"/>
                </a:cxn>
                <a:cxn ang="0">
                  <a:pos x="32" y="39"/>
                </a:cxn>
                <a:cxn ang="0">
                  <a:pos x="51" y="28"/>
                </a:cxn>
                <a:cxn ang="0">
                  <a:pos x="55" y="0"/>
                </a:cxn>
                <a:cxn ang="0">
                  <a:pos x="23" y="0"/>
                </a:cxn>
                <a:cxn ang="0">
                  <a:pos x="0" y="12"/>
                </a:cxn>
              </a:cxnLst>
              <a:rect l="0" t="0" r="r" b="b"/>
              <a:pathLst>
                <a:path w="55" h="39">
                  <a:moveTo>
                    <a:pt x="0" y="12"/>
                  </a:moveTo>
                  <a:lnTo>
                    <a:pt x="8" y="39"/>
                  </a:lnTo>
                  <a:lnTo>
                    <a:pt x="32" y="39"/>
                  </a:lnTo>
                  <a:lnTo>
                    <a:pt x="51" y="28"/>
                  </a:lnTo>
                  <a:lnTo>
                    <a:pt x="55" y="0"/>
                  </a:lnTo>
                  <a:lnTo>
                    <a:pt x="23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2" name="Freeform 192"/>
            <p:cNvSpPr>
              <a:spLocks noChangeAspect="1"/>
            </p:cNvSpPr>
            <p:nvPr/>
          </p:nvSpPr>
          <p:spPr bwMode="auto">
            <a:xfrm>
              <a:off x="4024205" y="4120354"/>
              <a:ext cx="87912" cy="120697"/>
            </a:xfrm>
            <a:custGeom>
              <a:avLst/>
              <a:gdLst/>
              <a:ahLst/>
              <a:cxnLst>
                <a:cxn ang="0">
                  <a:pos x="91" y="0"/>
                </a:cxn>
                <a:cxn ang="0">
                  <a:pos x="47" y="32"/>
                </a:cxn>
                <a:cxn ang="0">
                  <a:pos x="0" y="83"/>
                </a:cxn>
                <a:cxn ang="0">
                  <a:pos x="23" y="119"/>
                </a:cxn>
                <a:cxn ang="0">
                  <a:pos x="59" y="166"/>
                </a:cxn>
                <a:cxn ang="0">
                  <a:pos x="95" y="206"/>
                </a:cxn>
                <a:cxn ang="0">
                  <a:pos x="122" y="166"/>
                </a:cxn>
                <a:cxn ang="0">
                  <a:pos x="150" y="142"/>
                </a:cxn>
                <a:cxn ang="0">
                  <a:pos x="150" y="55"/>
                </a:cxn>
                <a:cxn ang="0">
                  <a:pos x="130" y="20"/>
                </a:cxn>
                <a:cxn ang="0">
                  <a:pos x="91" y="0"/>
                </a:cxn>
              </a:cxnLst>
              <a:rect l="0" t="0" r="r" b="b"/>
              <a:pathLst>
                <a:path w="150" h="206">
                  <a:moveTo>
                    <a:pt x="91" y="0"/>
                  </a:moveTo>
                  <a:lnTo>
                    <a:pt x="47" y="32"/>
                  </a:lnTo>
                  <a:lnTo>
                    <a:pt x="0" y="83"/>
                  </a:lnTo>
                  <a:lnTo>
                    <a:pt x="23" y="119"/>
                  </a:lnTo>
                  <a:lnTo>
                    <a:pt x="59" y="166"/>
                  </a:lnTo>
                  <a:lnTo>
                    <a:pt x="95" y="206"/>
                  </a:lnTo>
                  <a:lnTo>
                    <a:pt x="122" y="166"/>
                  </a:lnTo>
                  <a:lnTo>
                    <a:pt x="150" y="142"/>
                  </a:lnTo>
                  <a:lnTo>
                    <a:pt x="150" y="55"/>
                  </a:lnTo>
                  <a:lnTo>
                    <a:pt x="130" y="2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3" name="Freeform 193"/>
            <p:cNvSpPr>
              <a:spLocks noChangeAspect="1"/>
            </p:cNvSpPr>
            <p:nvPr/>
          </p:nvSpPr>
          <p:spPr bwMode="auto">
            <a:xfrm>
              <a:off x="3974974" y="4127454"/>
              <a:ext cx="49231" cy="67448"/>
            </a:xfrm>
            <a:custGeom>
              <a:avLst/>
              <a:gdLst/>
              <a:ahLst/>
              <a:cxnLst>
                <a:cxn ang="0">
                  <a:pos x="58" y="0"/>
                </a:cxn>
                <a:cxn ang="0">
                  <a:pos x="28" y="34"/>
                </a:cxn>
                <a:cxn ang="0">
                  <a:pos x="9" y="82"/>
                </a:cxn>
                <a:cxn ang="0">
                  <a:pos x="0" y="113"/>
                </a:cxn>
                <a:cxn ang="0">
                  <a:pos x="44" y="97"/>
                </a:cxn>
                <a:cxn ang="0">
                  <a:pos x="68" y="58"/>
                </a:cxn>
                <a:cxn ang="0">
                  <a:pos x="84" y="14"/>
                </a:cxn>
                <a:cxn ang="0">
                  <a:pos x="58" y="0"/>
                </a:cxn>
              </a:cxnLst>
              <a:rect l="0" t="0" r="r" b="b"/>
              <a:pathLst>
                <a:path w="84" h="113">
                  <a:moveTo>
                    <a:pt x="58" y="0"/>
                  </a:moveTo>
                  <a:lnTo>
                    <a:pt x="28" y="34"/>
                  </a:lnTo>
                  <a:lnTo>
                    <a:pt x="9" y="82"/>
                  </a:lnTo>
                  <a:lnTo>
                    <a:pt x="0" y="113"/>
                  </a:lnTo>
                  <a:lnTo>
                    <a:pt x="44" y="97"/>
                  </a:lnTo>
                  <a:lnTo>
                    <a:pt x="68" y="58"/>
                  </a:lnTo>
                  <a:lnTo>
                    <a:pt x="84" y="1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4" name="Freeform 194"/>
            <p:cNvSpPr>
              <a:spLocks noChangeAspect="1"/>
            </p:cNvSpPr>
            <p:nvPr/>
          </p:nvSpPr>
          <p:spPr bwMode="auto">
            <a:xfrm>
              <a:off x="3974974" y="4127454"/>
              <a:ext cx="49231" cy="67448"/>
            </a:xfrm>
            <a:custGeom>
              <a:avLst/>
              <a:gdLst/>
              <a:ahLst/>
              <a:cxnLst>
                <a:cxn ang="0">
                  <a:pos x="58" y="0"/>
                </a:cxn>
                <a:cxn ang="0">
                  <a:pos x="28" y="34"/>
                </a:cxn>
                <a:cxn ang="0">
                  <a:pos x="9" y="82"/>
                </a:cxn>
                <a:cxn ang="0">
                  <a:pos x="0" y="113"/>
                </a:cxn>
                <a:cxn ang="0">
                  <a:pos x="44" y="97"/>
                </a:cxn>
                <a:cxn ang="0">
                  <a:pos x="68" y="58"/>
                </a:cxn>
                <a:cxn ang="0">
                  <a:pos x="84" y="14"/>
                </a:cxn>
                <a:cxn ang="0">
                  <a:pos x="58" y="0"/>
                </a:cxn>
              </a:cxnLst>
              <a:rect l="0" t="0" r="r" b="b"/>
              <a:pathLst>
                <a:path w="84" h="113">
                  <a:moveTo>
                    <a:pt x="58" y="0"/>
                  </a:moveTo>
                  <a:lnTo>
                    <a:pt x="28" y="34"/>
                  </a:lnTo>
                  <a:lnTo>
                    <a:pt x="9" y="82"/>
                  </a:lnTo>
                  <a:lnTo>
                    <a:pt x="0" y="113"/>
                  </a:lnTo>
                  <a:lnTo>
                    <a:pt x="44" y="97"/>
                  </a:lnTo>
                  <a:lnTo>
                    <a:pt x="68" y="58"/>
                  </a:lnTo>
                  <a:lnTo>
                    <a:pt x="84" y="14"/>
                  </a:lnTo>
                  <a:lnTo>
                    <a:pt x="58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5" name="Freeform 195"/>
            <p:cNvSpPr>
              <a:spLocks noChangeAspect="1"/>
            </p:cNvSpPr>
            <p:nvPr/>
          </p:nvSpPr>
          <p:spPr bwMode="auto">
            <a:xfrm>
              <a:off x="4029480" y="4088404"/>
              <a:ext cx="19341" cy="23074"/>
            </a:xfrm>
            <a:custGeom>
              <a:avLst/>
              <a:gdLst/>
              <a:ahLst/>
              <a:cxnLst>
                <a:cxn ang="0">
                  <a:pos x="16" y="39"/>
                </a:cxn>
                <a:cxn ang="0">
                  <a:pos x="16" y="39"/>
                </a:cxn>
                <a:cxn ang="0">
                  <a:pos x="13" y="39"/>
                </a:cxn>
                <a:cxn ang="0">
                  <a:pos x="10" y="38"/>
                </a:cxn>
                <a:cxn ang="0">
                  <a:pos x="5" y="33"/>
                </a:cxn>
                <a:cxn ang="0">
                  <a:pos x="1" y="27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1" y="12"/>
                </a:cxn>
                <a:cxn ang="0">
                  <a:pos x="5" y="5"/>
                </a:cxn>
                <a:cxn ang="0">
                  <a:pos x="10" y="2"/>
                </a:cxn>
                <a:cxn ang="0">
                  <a:pos x="13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3" y="2"/>
                </a:cxn>
                <a:cxn ang="0">
                  <a:pos x="29" y="5"/>
                </a:cxn>
                <a:cxn ang="0">
                  <a:pos x="32" y="12"/>
                </a:cxn>
                <a:cxn ang="0">
                  <a:pos x="34" y="19"/>
                </a:cxn>
                <a:cxn ang="0">
                  <a:pos x="34" y="19"/>
                </a:cxn>
                <a:cxn ang="0">
                  <a:pos x="32" y="27"/>
                </a:cxn>
                <a:cxn ang="0">
                  <a:pos x="29" y="33"/>
                </a:cxn>
                <a:cxn ang="0">
                  <a:pos x="23" y="38"/>
                </a:cxn>
                <a:cxn ang="0">
                  <a:pos x="20" y="39"/>
                </a:cxn>
                <a:cxn ang="0">
                  <a:pos x="16" y="39"/>
                </a:cxn>
                <a:cxn ang="0">
                  <a:pos x="16" y="39"/>
                </a:cxn>
              </a:cxnLst>
              <a:rect l="0" t="0" r="r" b="b"/>
              <a:pathLst>
                <a:path w="34" h="39">
                  <a:moveTo>
                    <a:pt x="16" y="39"/>
                  </a:moveTo>
                  <a:lnTo>
                    <a:pt x="16" y="39"/>
                  </a:lnTo>
                  <a:lnTo>
                    <a:pt x="13" y="39"/>
                  </a:lnTo>
                  <a:lnTo>
                    <a:pt x="10" y="38"/>
                  </a:lnTo>
                  <a:lnTo>
                    <a:pt x="5" y="33"/>
                  </a:lnTo>
                  <a:lnTo>
                    <a:pt x="1" y="27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1" y="12"/>
                  </a:lnTo>
                  <a:lnTo>
                    <a:pt x="5" y="5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3" y="2"/>
                  </a:lnTo>
                  <a:lnTo>
                    <a:pt x="29" y="5"/>
                  </a:lnTo>
                  <a:lnTo>
                    <a:pt x="32" y="12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2" y="27"/>
                  </a:lnTo>
                  <a:lnTo>
                    <a:pt x="29" y="33"/>
                  </a:lnTo>
                  <a:lnTo>
                    <a:pt x="23" y="38"/>
                  </a:lnTo>
                  <a:lnTo>
                    <a:pt x="20" y="39"/>
                  </a:lnTo>
                  <a:lnTo>
                    <a:pt x="16" y="39"/>
                  </a:lnTo>
                  <a:lnTo>
                    <a:pt x="16" y="3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6" name="Freeform 196"/>
            <p:cNvSpPr>
              <a:spLocks noChangeAspect="1"/>
            </p:cNvSpPr>
            <p:nvPr/>
          </p:nvSpPr>
          <p:spPr bwMode="auto">
            <a:xfrm>
              <a:off x="500684" y="4106154"/>
              <a:ext cx="172308" cy="173946"/>
            </a:xfrm>
            <a:custGeom>
              <a:avLst/>
              <a:gdLst/>
              <a:ahLst/>
              <a:cxnLst>
                <a:cxn ang="0">
                  <a:pos x="99" y="292"/>
                </a:cxn>
                <a:cxn ang="0">
                  <a:pos x="48" y="272"/>
                </a:cxn>
                <a:cxn ang="0">
                  <a:pos x="40" y="221"/>
                </a:cxn>
                <a:cxn ang="0">
                  <a:pos x="12" y="213"/>
                </a:cxn>
                <a:cxn ang="0">
                  <a:pos x="0" y="170"/>
                </a:cxn>
                <a:cxn ang="0">
                  <a:pos x="12" y="110"/>
                </a:cxn>
                <a:cxn ang="0">
                  <a:pos x="64" y="75"/>
                </a:cxn>
                <a:cxn ang="0">
                  <a:pos x="31" y="47"/>
                </a:cxn>
                <a:cxn ang="0">
                  <a:pos x="48" y="12"/>
                </a:cxn>
                <a:cxn ang="0">
                  <a:pos x="86" y="7"/>
                </a:cxn>
                <a:cxn ang="0">
                  <a:pos x="142" y="0"/>
                </a:cxn>
                <a:cxn ang="0">
                  <a:pos x="171" y="20"/>
                </a:cxn>
                <a:cxn ang="0">
                  <a:pos x="261" y="23"/>
                </a:cxn>
                <a:cxn ang="0">
                  <a:pos x="265" y="67"/>
                </a:cxn>
                <a:cxn ang="0">
                  <a:pos x="292" y="82"/>
                </a:cxn>
                <a:cxn ang="0">
                  <a:pos x="289" y="119"/>
                </a:cxn>
                <a:cxn ang="0">
                  <a:pos x="265" y="123"/>
                </a:cxn>
                <a:cxn ang="0">
                  <a:pos x="257" y="193"/>
                </a:cxn>
                <a:cxn ang="0">
                  <a:pos x="265" y="268"/>
                </a:cxn>
                <a:cxn ang="0">
                  <a:pos x="152" y="271"/>
                </a:cxn>
                <a:cxn ang="0">
                  <a:pos x="99" y="292"/>
                </a:cxn>
              </a:cxnLst>
              <a:rect l="0" t="0" r="r" b="b"/>
              <a:pathLst>
                <a:path w="292" h="292">
                  <a:moveTo>
                    <a:pt x="99" y="292"/>
                  </a:moveTo>
                  <a:lnTo>
                    <a:pt x="48" y="272"/>
                  </a:lnTo>
                  <a:lnTo>
                    <a:pt x="40" y="221"/>
                  </a:lnTo>
                  <a:lnTo>
                    <a:pt x="12" y="213"/>
                  </a:lnTo>
                  <a:lnTo>
                    <a:pt x="0" y="170"/>
                  </a:lnTo>
                  <a:lnTo>
                    <a:pt x="12" y="110"/>
                  </a:lnTo>
                  <a:lnTo>
                    <a:pt x="64" y="75"/>
                  </a:lnTo>
                  <a:lnTo>
                    <a:pt x="31" y="47"/>
                  </a:lnTo>
                  <a:lnTo>
                    <a:pt x="48" y="12"/>
                  </a:lnTo>
                  <a:lnTo>
                    <a:pt x="86" y="7"/>
                  </a:lnTo>
                  <a:lnTo>
                    <a:pt x="142" y="0"/>
                  </a:lnTo>
                  <a:lnTo>
                    <a:pt x="171" y="20"/>
                  </a:lnTo>
                  <a:lnTo>
                    <a:pt x="261" y="23"/>
                  </a:lnTo>
                  <a:lnTo>
                    <a:pt x="265" y="67"/>
                  </a:lnTo>
                  <a:lnTo>
                    <a:pt x="292" y="82"/>
                  </a:lnTo>
                  <a:lnTo>
                    <a:pt x="289" y="119"/>
                  </a:lnTo>
                  <a:lnTo>
                    <a:pt x="265" y="123"/>
                  </a:lnTo>
                  <a:lnTo>
                    <a:pt x="257" y="193"/>
                  </a:lnTo>
                  <a:lnTo>
                    <a:pt x="265" y="268"/>
                  </a:lnTo>
                  <a:lnTo>
                    <a:pt x="152" y="271"/>
                  </a:lnTo>
                  <a:lnTo>
                    <a:pt x="99" y="29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7" name="Freeform 197"/>
            <p:cNvSpPr>
              <a:spLocks noChangeAspect="1"/>
            </p:cNvSpPr>
            <p:nvPr/>
          </p:nvSpPr>
          <p:spPr bwMode="auto">
            <a:xfrm>
              <a:off x="7313243" y="4265571"/>
              <a:ext cx="1060221" cy="1201645"/>
            </a:xfrm>
            <a:custGeom>
              <a:avLst/>
              <a:gdLst/>
              <a:ahLst/>
              <a:cxnLst>
                <a:cxn ang="0">
                  <a:pos x="186" y="184"/>
                </a:cxn>
                <a:cxn ang="0">
                  <a:pos x="199" y="315"/>
                </a:cxn>
                <a:cxn ang="0">
                  <a:pos x="183" y="419"/>
                </a:cxn>
                <a:cxn ang="0">
                  <a:pos x="93" y="471"/>
                </a:cxn>
                <a:cxn ang="0">
                  <a:pos x="58" y="565"/>
                </a:cxn>
                <a:cxn ang="0">
                  <a:pos x="0" y="636"/>
                </a:cxn>
                <a:cxn ang="0">
                  <a:pos x="56" y="726"/>
                </a:cxn>
                <a:cxn ang="0">
                  <a:pos x="135" y="763"/>
                </a:cxn>
                <a:cxn ang="0">
                  <a:pos x="228" y="820"/>
                </a:cxn>
                <a:cxn ang="0">
                  <a:pos x="306" y="798"/>
                </a:cxn>
                <a:cxn ang="0">
                  <a:pos x="347" y="747"/>
                </a:cxn>
                <a:cxn ang="0">
                  <a:pos x="430" y="881"/>
                </a:cxn>
                <a:cxn ang="0">
                  <a:pos x="519" y="908"/>
                </a:cxn>
                <a:cxn ang="0">
                  <a:pos x="602" y="949"/>
                </a:cxn>
                <a:cxn ang="0">
                  <a:pos x="657" y="1004"/>
                </a:cxn>
                <a:cxn ang="0">
                  <a:pos x="648" y="1091"/>
                </a:cxn>
                <a:cxn ang="0">
                  <a:pos x="730" y="1140"/>
                </a:cxn>
                <a:cxn ang="0">
                  <a:pos x="778" y="1191"/>
                </a:cxn>
                <a:cxn ang="0">
                  <a:pos x="732" y="1284"/>
                </a:cxn>
                <a:cxn ang="0">
                  <a:pos x="771" y="1370"/>
                </a:cxn>
                <a:cxn ang="0">
                  <a:pos x="848" y="1411"/>
                </a:cxn>
                <a:cxn ang="0">
                  <a:pos x="936" y="1470"/>
                </a:cxn>
                <a:cxn ang="0">
                  <a:pos x="957" y="1649"/>
                </a:cxn>
                <a:cxn ang="0">
                  <a:pos x="950" y="1690"/>
                </a:cxn>
                <a:cxn ang="0">
                  <a:pos x="881" y="1765"/>
                </a:cxn>
                <a:cxn ang="0">
                  <a:pos x="854" y="1849"/>
                </a:cxn>
                <a:cxn ang="0">
                  <a:pos x="1016" y="1994"/>
                </a:cxn>
                <a:cxn ang="0">
                  <a:pos x="1051" y="1937"/>
                </a:cxn>
                <a:cxn ang="0">
                  <a:pos x="1081" y="1841"/>
                </a:cxn>
                <a:cxn ang="0">
                  <a:pos x="1075" y="1910"/>
                </a:cxn>
                <a:cxn ang="0">
                  <a:pos x="1153" y="1834"/>
                </a:cxn>
                <a:cxn ang="0">
                  <a:pos x="1213" y="1586"/>
                </a:cxn>
                <a:cxn ang="0">
                  <a:pos x="1275" y="1508"/>
                </a:cxn>
                <a:cxn ang="0">
                  <a:pos x="1443" y="1443"/>
                </a:cxn>
                <a:cxn ang="0">
                  <a:pos x="1538" y="1331"/>
                </a:cxn>
                <a:cxn ang="0">
                  <a:pos x="1587" y="1159"/>
                </a:cxn>
                <a:cxn ang="0">
                  <a:pos x="1663" y="888"/>
                </a:cxn>
                <a:cxn ang="0">
                  <a:pos x="1695" y="783"/>
                </a:cxn>
                <a:cxn ang="0">
                  <a:pos x="1766" y="718"/>
                </a:cxn>
                <a:cxn ang="0">
                  <a:pos x="1783" y="630"/>
                </a:cxn>
                <a:cxn ang="0">
                  <a:pos x="1781" y="585"/>
                </a:cxn>
                <a:cxn ang="0">
                  <a:pos x="1718" y="473"/>
                </a:cxn>
                <a:cxn ang="0">
                  <a:pos x="1625" y="413"/>
                </a:cxn>
                <a:cxn ang="0">
                  <a:pos x="1540" y="364"/>
                </a:cxn>
                <a:cxn ang="0">
                  <a:pos x="1443" y="350"/>
                </a:cxn>
                <a:cxn ang="0">
                  <a:pos x="1350" y="291"/>
                </a:cxn>
                <a:cxn ang="0">
                  <a:pos x="1220" y="267"/>
                </a:cxn>
                <a:cxn ang="0">
                  <a:pos x="1133" y="325"/>
                </a:cxn>
                <a:cxn ang="0">
                  <a:pos x="1147" y="236"/>
                </a:cxn>
                <a:cxn ang="0">
                  <a:pos x="1058" y="287"/>
                </a:cxn>
                <a:cxn ang="0">
                  <a:pos x="1048" y="260"/>
                </a:cxn>
                <a:cxn ang="0">
                  <a:pos x="1105" y="157"/>
                </a:cxn>
                <a:cxn ang="0">
                  <a:pos x="1009" y="48"/>
                </a:cxn>
                <a:cxn ang="0">
                  <a:pos x="955" y="127"/>
                </a:cxn>
                <a:cxn ang="0">
                  <a:pos x="823" y="105"/>
                </a:cxn>
                <a:cxn ang="0">
                  <a:pos x="727" y="151"/>
                </a:cxn>
                <a:cxn ang="0">
                  <a:pos x="662" y="147"/>
                </a:cxn>
                <a:cxn ang="0">
                  <a:pos x="645" y="14"/>
                </a:cxn>
                <a:cxn ang="0">
                  <a:pos x="514" y="36"/>
                </a:cxn>
                <a:cxn ang="0">
                  <a:pos x="430" y="26"/>
                </a:cxn>
                <a:cxn ang="0">
                  <a:pos x="457" y="115"/>
                </a:cxn>
                <a:cxn ang="0">
                  <a:pos x="372" y="186"/>
                </a:cxn>
                <a:cxn ang="0">
                  <a:pos x="285" y="125"/>
                </a:cxn>
              </a:cxnLst>
              <a:rect l="0" t="0" r="r" b="b"/>
              <a:pathLst>
                <a:path w="1811" h="2030">
                  <a:moveTo>
                    <a:pt x="285" y="125"/>
                  </a:moveTo>
                  <a:lnTo>
                    <a:pt x="206" y="153"/>
                  </a:lnTo>
                  <a:lnTo>
                    <a:pt x="186" y="184"/>
                  </a:lnTo>
                  <a:lnTo>
                    <a:pt x="210" y="208"/>
                  </a:lnTo>
                  <a:lnTo>
                    <a:pt x="186" y="223"/>
                  </a:lnTo>
                  <a:lnTo>
                    <a:pt x="199" y="315"/>
                  </a:lnTo>
                  <a:lnTo>
                    <a:pt x="199" y="354"/>
                  </a:lnTo>
                  <a:lnTo>
                    <a:pt x="151" y="358"/>
                  </a:lnTo>
                  <a:lnTo>
                    <a:pt x="183" y="419"/>
                  </a:lnTo>
                  <a:lnTo>
                    <a:pt x="170" y="461"/>
                  </a:lnTo>
                  <a:lnTo>
                    <a:pt x="135" y="481"/>
                  </a:lnTo>
                  <a:lnTo>
                    <a:pt x="93" y="471"/>
                  </a:lnTo>
                  <a:lnTo>
                    <a:pt x="62" y="492"/>
                  </a:lnTo>
                  <a:lnTo>
                    <a:pt x="49" y="534"/>
                  </a:lnTo>
                  <a:lnTo>
                    <a:pt x="58" y="565"/>
                  </a:lnTo>
                  <a:lnTo>
                    <a:pt x="38" y="582"/>
                  </a:lnTo>
                  <a:lnTo>
                    <a:pt x="11" y="595"/>
                  </a:lnTo>
                  <a:lnTo>
                    <a:pt x="0" y="636"/>
                  </a:lnTo>
                  <a:lnTo>
                    <a:pt x="12" y="668"/>
                  </a:lnTo>
                  <a:lnTo>
                    <a:pt x="44" y="694"/>
                  </a:lnTo>
                  <a:lnTo>
                    <a:pt x="56" y="726"/>
                  </a:lnTo>
                  <a:lnTo>
                    <a:pt x="87" y="731"/>
                  </a:lnTo>
                  <a:lnTo>
                    <a:pt x="93" y="757"/>
                  </a:lnTo>
                  <a:lnTo>
                    <a:pt x="135" y="763"/>
                  </a:lnTo>
                  <a:lnTo>
                    <a:pt x="170" y="741"/>
                  </a:lnTo>
                  <a:lnTo>
                    <a:pt x="189" y="801"/>
                  </a:lnTo>
                  <a:lnTo>
                    <a:pt x="228" y="820"/>
                  </a:lnTo>
                  <a:lnTo>
                    <a:pt x="262" y="825"/>
                  </a:lnTo>
                  <a:lnTo>
                    <a:pt x="289" y="812"/>
                  </a:lnTo>
                  <a:lnTo>
                    <a:pt x="306" y="798"/>
                  </a:lnTo>
                  <a:lnTo>
                    <a:pt x="317" y="777"/>
                  </a:lnTo>
                  <a:lnTo>
                    <a:pt x="341" y="781"/>
                  </a:lnTo>
                  <a:lnTo>
                    <a:pt x="347" y="747"/>
                  </a:lnTo>
                  <a:lnTo>
                    <a:pt x="406" y="753"/>
                  </a:lnTo>
                  <a:lnTo>
                    <a:pt x="414" y="846"/>
                  </a:lnTo>
                  <a:lnTo>
                    <a:pt x="430" y="881"/>
                  </a:lnTo>
                  <a:lnTo>
                    <a:pt x="440" y="895"/>
                  </a:lnTo>
                  <a:lnTo>
                    <a:pt x="510" y="898"/>
                  </a:lnTo>
                  <a:lnTo>
                    <a:pt x="519" y="908"/>
                  </a:lnTo>
                  <a:lnTo>
                    <a:pt x="550" y="915"/>
                  </a:lnTo>
                  <a:lnTo>
                    <a:pt x="555" y="943"/>
                  </a:lnTo>
                  <a:lnTo>
                    <a:pt x="602" y="949"/>
                  </a:lnTo>
                  <a:lnTo>
                    <a:pt x="627" y="955"/>
                  </a:lnTo>
                  <a:lnTo>
                    <a:pt x="633" y="1001"/>
                  </a:lnTo>
                  <a:lnTo>
                    <a:pt x="657" y="1004"/>
                  </a:lnTo>
                  <a:lnTo>
                    <a:pt x="633" y="1022"/>
                  </a:lnTo>
                  <a:lnTo>
                    <a:pt x="635" y="1085"/>
                  </a:lnTo>
                  <a:lnTo>
                    <a:pt x="648" y="1091"/>
                  </a:lnTo>
                  <a:lnTo>
                    <a:pt x="662" y="1107"/>
                  </a:lnTo>
                  <a:lnTo>
                    <a:pt x="726" y="1105"/>
                  </a:lnTo>
                  <a:lnTo>
                    <a:pt x="730" y="1140"/>
                  </a:lnTo>
                  <a:lnTo>
                    <a:pt x="755" y="1145"/>
                  </a:lnTo>
                  <a:lnTo>
                    <a:pt x="761" y="1180"/>
                  </a:lnTo>
                  <a:lnTo>
                    <a:pt x="778" y="1191"/>
                  </a:lnTo>
                  <a:lnTo>
                    <a:pt x="774" y="1252"/>
                  </a:lnTo>
                  <a:lnTo>
                    <a:pt x="755" y="1279"/>
                  </a:lnTo>
                  <a:lnTo>
                    <a:pt x="732" y="1284"/>
                  </a:lnTo>
                  <a:lnTo>
                    <a:pt x="736" y="1318"/>
                  </a:lnTo>
                  <a:lnTo>
                    <a:pt x="768" y="1331"/>
                  </a:lnTo>
                  <a:lnTo>
                    <a:pt x="771" y="1370"/>
                  </a:lnTo>
                  <a:lnTo>
                    <a:pt x="813" y="1377"/>
                  </a:lnTo>
                  <a:lnTo>
                    <a:pt x="824" y="1401"/>
                  </a:lnTo>
                  <a:lnTo>
                    <a:pt x="848" y="1411"/>
                  </a:lnTo>
                  <a:lnTo>
                    <a:pt x="892" y="1414"/>
                  </a:lnTo>
                  <a:lnTo>
                    <a:pt x="896" y="1466"/>
                  </a:lnTo>
                  <a:lnTo>
                    <a:pt x="936" y="1470"/>
                  </a:lnTo>
                  <a:lnTo>
                    <a:pt x="945" y="1590"/>
                  </a:lnTo>
                  <a:lnTo>
                    <a:pt x="951" y="1600"/>
                  </a:lnTo>
                  <a:lnTo>
                    <a:pt x="957" y="1649"/>
                  </a:lnTo>
                  <a:lnTo>
                    <a:pt x="981" y="1649"/>
                  </a:lnTo>
                  <a:lnTo>
                    <a:pt x="982" y="1686"/>
                  </a:lnTo>
                  <a:lnTo>
                    <a:pt x="950" y="1690"/>
                  </a:lnTo>
                  <a:lnTo>
                    <a:pt x="926" y="1721"/>
                  </a:lnTo>
                  <a:lnTo>
                    <a:pt x="903" y="1731"/>
                  </a:lnTo>
                  <a:lnTo>
                    <a:pt x="881" y="1765"/>
                  </a:lnTo>
                  <a:lnTo>
                    <a:pt x="854" y="1793"/>
                  </a:lnTo>
                  <a:lnTo>
                    <a:pt x="834" y="1827"/>
                  </a:lnTo>
                  <a:lnTo>
                    <a:pt x="854" y="1849"/>
                  </a:lnTo>
                  <a:lnTo>
                    <a:pt x="898" y="1868"/>
                  </a:lnTo>
                  <a:lnTo>
                    <a:pt x="995" y="1959"/>
                  </a:lnTo>
                  <a:lnTo>
                    <a:pt x="1016" y="1994"/>
                  </a:lnTo>
                  <a:lnTo>
                    <a:pt x="1022" y="2030"/>
                  </a:lnTo>
                  <a:lnTo>
                    <a:pt x="1050" y="1993"/>
                  </a:lnTo>
                  <a:lnTo>
                    <a:pt x="1051" y="1937"/>
                  </a:lnTo>
                  <a:lnTo>
                    <a:pt x="1061" y="1900"/>
                  </a:lnTo>
                  <a:lnTo>
                    <a:pt x="1064" y="1838"/>
                  </a:lnTo>
                  <a:lnTo>
                    <a:pt x="1081" y="1841"/>
                  </a:lnTo>
                  <a:lnTo>
                    <a:pt x="1093" y="1852"/>
                  </a:lnTo>
                  <a:lnTo>
                    <a:pt x="1088" y="1886"/>
                  </a:lnTo>
                  <a:lnTo>
                    <a:pt x="1075" y="1910"/>
                  </a:lnTo>
                  <a:lnTo>
                    <a:pt x="1117" y="1893"/>
                  </a:lnTo>
                  <a:lnTo>
                    <a:pt x="1127" y="1852"/>
                  </a:lnTo>
                  <a:lnTo>
                    <a:pt x="1153" y="1834"/>
                  </a:lnTo>
                  <a:lnTo>
                    <a:pt x="1147" y="1767"/>
                  </a:lnTo>
                  <a:lnTo>
                    <a:pt x="1196" y="1739"/>
                  </a:lnTo>
                  <a:lnTo>
                    <a:pt x="1213" y="1586"/>
                  </a:lnTo>
                  <a:lnTo>
                    <a:pt x="1226" y="1549"/>
                  </a:lnTo>
                  <a:lnTo>
                    <a:pt x="1264" y="1534"/>
                  </a:lnTo>
                  <a:lnTo>
                    <a:pt x="1275" y="1508"/>
                  </a:lnTo>
                  <a:lnTo>
                    <a:pt x="1301" y="1488"/>
                  </a:lnTo>
                  <a:lnTo>
                    <a:pt x="1350" y="1456"/>
                  </a:lnTo>
                  <a:lnTo>
                    <a:pt x="1443" y="1443"/>
                  </a:lnTo>
                  <a:lnTo>
                    <a:pt x="1457" y="1418"/>
                  </a:lnTo>
                  <a:lnTo>
                    <a:pt x="1528" y="1414"/>
                  </a:lnTo>
                  <a:lnTo>
                    <a:pt x="1538" y="1331"/>
                  </a:lnTo>
                  <a:lnTo>
                    <a:pt x="1564" y="1293"/>
                  </a:lnTo>
                  <a:lnTo>
                    <a:pt x="1581" y="1245"/>
                  </a:lnTo>
                  <a:lnTo>
                    <a:pt x="1587" y="1159"/>
                  </a:lnTo>
                  <a:lnTo>
                    <a:pt x="1611" y="1145"/>
                  </a:lnTo>
                  <a:lnTo>
                    <a:pt x="1621" y="904"/>
                  </a:lnTo>
                  <a:lnTo>
                    <a:pt x="1663" y="888"/>
                  </a:lnTo>
                  <a:lnTo>
                    <a:pt x="1667" y="842"/>
                  </a:lnTo>
                  <a:lnTo>
                    <a:pt x="1684" y="829"/>
                  </a:lnTo>
                  <a:lnTo>
                    <a:pt x="1695" y="783"/>
                  </a:lnTo>
                  <a:lnTo>
                    <a:pt x="1719" y="775"/>
                  </a:lnTo>
                  <a:lnTo>
                    <a:pt x="1732" y="729"/>
                  </a:lnTo>
                  <a:lnTo>
                    <a:pt x="1766" y="718"/>
                  </a:lnTo>
                  <a:lnTo>
                    <a:pt x="1767" y="678"/>
                  </a:lnTo>
                  <a:lnTo>
                    <a:pt x="1787" y="674"/>
                  </a:lnTo>
                  <a:lnTo>
                    <a:pt x="1783" y="630"/>
                  </a:lnTo>
                  <a:lnTo>
                    <a:pt x="1805" y="626"/>
                  </a:lnTo>
                  <a:lnTo>
                    <a:pt x="1811" y="588"/>
                  </a:lnTo>
                  <a:lnTo>
                    <a:pt x="1781" y="585"/>
                  </a:lnTo>
                  <a:lnTo>
                    <a:pt x="1773" y="496"/>
                  </a:lnTo>
                  <a:lnTo>
                    <a:pt x="1749" y="477"/>
                  </a:lnTo>
                  <a:lnTo>
                    <a:pt x="1718" y="473"/>
                  </a:lnTo>
                  <a:lnTo>
                    <a:pt x="1688" y="451"/>
                  </a:lnTo>
                  <a:lnTo>
                    <a:pt x="1667" y="413"/>
                  </a:lnTo>
                  <a:lnTo>
                    <a:pt x="1625" y="413"/>
                  </a:lnTo>
                  <a:lnTo>
                    <a:pt x="1615" y="378"/>
                  </a:lnTo>
                  <a:lnTo>
                    <a:pt x="1585" y="361"/>
                  </a:lnTo>
                  <a:lnTo>
                    <a:pt x="1540" y="364"/>
                  </a:lnTo>
                  <a:lnTo>
                    <a:pt x="1495" y="354"/>
                  </a:lnTo>
                  <a:lnTo>
                    <a:pt x="1473" y="333"/>
                  </a:lnTo>
                  <a:lnTo>
                    <a:pt x="1443" y="350"/>
                  </a:lnTo>
                  <a:lnTo>
                    <a:pt x="1418" y="353"/>
                  </a:lnTo>
                  <a:lnTo>
                    <a:pt x="1378" y="329"/>
                  </a:lnTo>
                  <a:lnTo>
                    <a:pt x="1350" y="291"/>
                  </a:lnTo>
                  <a:lnTo>
                    <a:pt x="1311" y="269"/>
                  </a:lnTo>
                  <a:lnTo>
                    <a:pt x="1271" y="264"/>
                  </a:lnTo>
                  <a:lnTo>
                    <a:pt x="1220" y="267"/>
                  </a:lnTo>
                  <a:lnTo>
                    <a:pt x="1186" y="279"/>
                  </a:lnTo>
                  <a:lnTo>
                    <a:pt x="1177" y="302"/>
                  </a:lnTo>
                  <a:lnTo>
                    <a:pt x="1133" y="325"/>
                  </a:lnTo>
                  <a:lnTo>
                    <a:pt x="1151" y="291"/>
                  </a:lnTo>
                  <a:lnTo>
                    <a:pt x="1172" y="253"/>
                  </a:lnTo>
                  <a:lnTo>
                    <a:pt x="1147" y="236"/>
                  </a:lnTo>
                  <a:lnTo>
                    <a:pt x="1113" y="236"/>
                  </a:lnTo>
                  <a:lnTo>
                    <a:pt x="1084" y="260"/>
                  </a:lnTo>
                  <a:lnTo>
                    <a:pt x="1058" y="287"/>
                  </a:lnTo>
                  <a:lnTo>
                    <a:pt x="1036" y="316"/>
                  </a:lnTo>
                  <a:lnTo>
                    <a:pt x="1006" y="330"/>
                  </a:lnTo>
                  <a:lnTo>
                    <a:pt x="1048" y="260"/>
                  </a:lnTo>
                  <a:lnTo>
                    <a:pt x="1074" y="223"/>
                  </a:lnTo>
                  <a:lnTo>
                    <a:pt x="1093" y="181"/>
                  </a:lnTo>
                  <a:lnTo>
                    <a:pt x="1105" y="157"/>
                  </a:lnTo>
                  <a:lnTo>
                    <a:pt x="1070" y="75"/>
                  </a:lnTo>
                  <a:lnTo>
                    <a:pt x="1044" y="50"/>
                  </a:lnTo>
                  <a:lnTo>
                    <a:pt x="1009" y="48"/>
                  </a:lnTo>
                  <a:lnTo>
                    <a:pt x="982" y="74"/>
                  </a:lnTo>
                  <a:lnTo>
                    <a:pt x="968" y="99"/>
                  </a:lnTo>
                  <a:lnTo>
                    <a:pt x="955" y="127"/>
                  </a:lnTo>
                  <a:lnTo>
                    <a:pt x="909" y="123"/>
                  </a:lnTo>
                  <a:lnTo>
                    <a:pt x="889" y="102"/>
                  </a:lnTo>
                  <a:lnTo>
                    <a:pt x="823" y="105"/>
                  </a:lnTo>
                  <a:lnTo>
                    <a:pt x="820" y="147"/>
                  </a:lnTo>
                  <a:lnTo>
                    <a:pt x="765" y="148"/>
                  </a:lnTo>
                  <a:lnTo>
                    <a:pt x="727" y="151"/>
                  </a:lnTo>
                  <a:lnTo>
                    <a:pt x="716" y="171"/>
                  </a:lnTo>
                  <a:lnTo>
                    <a:pt x="685" y="172"/>
                  </a:lnTo>
                  <a:lnTo>
                    <a:pt x="662" y="147"/>
                  </a:lnTo>
                  <a:lnTo>
                    <a:pt x="641" y="102"/>
                  </a:lnTo>
                  <a:lnTo>
                    <a:pt x="653" y="65"/>
                  </a:lnTo>
                  <a:lnTo>
                    <a:pt x="645" y="14"/>
                  </a:lnTo>
                  <a:lnTo>
                    <a:pt x="607" y="0"/>
                  </a:lnTo>
                  <a:lnTo>
                    <a:pt x="593" y="32"/>
                  </a:lnTo>
                  <a:lnTo>
                    <a:pt x="514" y="36"/>
                  </a:lnTo>
                  <a:lnTo>
                    <a:pt x="489" y="54"/>
                  </a:lnTo>
                  <a:lnTo>
                    <a:pt x="449" y="19"/>
                  </a:lnTo>
                  <a:lnTo>
                    <a:pt x="430" y="26"/>
                  </a:lnTo>
                  <a:lnTo>
                    <a:pt x="421" y="68"/>
                  </a:lnTo>
                  <a:lnTo>
                    <a:pt x="426" y="95"/>
                  </a:lnTo>
                  <a:lnTo>
                    <a:pt x="457" y="115"/>
                  </a:lnTo>
                  <a:lnTo>
                    <a:pt x="459" y="148"/>
                  </a:lnTo>
                  <a:lnTo>
                    <a:pt x="420" y="181"/>
                  </a:lnTo>
                  <a:lnTo>
                    <a:pt x="372" y="186"/>
                  </a:lnTo>
                  <a:lnTo>
                    <a:pt x="337" y="168"/>
                  </a:lnTo>
                  <a:lnTo>
                    <a:pt x="313" y="137"/>
                  </a:lnTo>
                  <a:lnTo>
                    <a:pt x="285" y="12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kern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198" name="Freeform 198"/>
            <p:cNvSpPr>
              <a:spLocks noChangeAspect="1"/>
            </p:cNvSpPr>
            <p:nvPr/>
          </p:nvSpPr>
          <p:spPr bwMode="auto">
            <a:xfrm>
              <a:off x="1829917" y="3032306"/>
              <a:ext cx="100220" cy="143771"/>
            </a:xfrm>
            <a:custGeom>
              <a:avLst/>
              <a:gdLst/>
              <a:ahLst/>
              <a:cxnLst>
                <a:cxn ang="0">
                  <a:pos x="170" y="220"/>
                </a:cxn>
                <a:cxn ang="0">
                  <a:pos x="134" y="243"/>
                </a:cxn>
                <a:cxn ang="0">
                  <a:pos x="113" y="205"/>
                </a:cxn>
                <a:cxn ang="0">
                  <a:pos x="75" y="179"/>
                </a:cxn>
                <a:cxn ang="0">
                  <a:pos x="39" y="144"/>
                </a:cxn>
                <a:cxn ang="0">
                  <a:pos x="0" y="80"/>
                </a:cxn>
                <a:cxn ang="0">
                  <a:pos x="48" y="56"/>
                </a:cxn>
                <a:cxn ang="0">
                  <a:pos x="78" y="0"/>
                </a:cxn>
                <a:cxn ang="0">
                  <a:pos x="93" y="68"/>
                </a:cxn>
                <a:cxn ang="0">
                  <a:pos x="129" y="137"/>
                </a:cxn>
                <a:cxn ang="0">
                  <a:pos x="170" y="220"/>
                </a:cxn>
              </a:cxnLst>
              <a:rect l="0" t="0" r="r" b="b"/>
              <a:pathLst>
                <a:path w="170" h="243">
                  <a:moveTo>
                    <a:pt x="170" y="220"/>
                  </a:moveTo>
                  <a:lnTo>
                    <a:pt x="134" y="243"/>
                  </a:lnTo>
                  <a:lnTo>
                    <a:pt x="113" y="205"/>
                  </a:lnTo>
                  <a:lnTo>
                    <a:pt x="75" y="179"/>
                  </a:lnTo>
                  <a:lnTo>
                    <a:pt x="39" y="144"/>
                  </a:lnTo>
                  <a:lnTo>
                    <a:pt x="0" y="80"/>
                  </a:lnTo>
                  <a:lnTo>
                    <a:pt x="48" y="56"/>
                  </a:lnTo>
                  <a:lnTo>
                    <a:pt x="78" y="0"/>
                  </a:lnTo>
                  <a:lnTo>
                    <a:pt x="93" y="68"/>
                  </a:lnTo>
                  <a:lnTo>
                    <a:pt x="129" y="137"/>
                  </a:lnTo>
                  <a:lnTo>
                    <a:pt x="170" y="22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9" name="Freeform 199"/>
            <p:cNvSpPr>
              <a:spLocks noChangeAspect="1"/>
            </p:cNvSpPr>
            <p:nvPr/>
          </p:nvSpPr>
          <p:spPr bwMode="auto">
            <a:xfrm>
              <a:off x="2958709" y="2687964"/>
              <a:ext cx="784177" cy="395815"/>
            </a:xfrm>
            <a:custGeom>
              <a:avLst/>
              <a:gdLst/>
              <a:ahLst/>
              <a:cxnLst>
                <a:cxn ang="0">
                  <a:pos x="0" y="253"/>
                </a:cxn>
                <a:cxn ang="0">
                  <a:pos x="28" y="229"/>
                </a:cxn>
                <a:cxn ang="0">
                  <a:pos x="87" y="214"/>
                </a:cxn>
                <a:cxn ang="0">
                  <a:pos x="221" y="202"/>
                </a:cxn>
                <a:cxn ang="0">
                  <a:pos x="237" y="222"/>
                </a:cxn>
                <a:cxn ang="0">
                  <a:pos x="284" y="229"/>
                </a:cxn>
                <a:cxn ang="0">
                  <a:pos x="304" y="249"/>
                </a:cxn>
                <a:cxn ang="0">
                  <a:pos x="399" y="238"/>
                </a:cxn>
                <a:cxn ang="0">
                  <a:pos x="375" y="187"/>
                </a:cxn>
                <a:cxn ang="0">
                  <a:pos x="359" y="163"/>
                </a:cxn>
                <a:cxn ang="0">
                  <a:pos x="399" y="159"/>
                </a:cxn>
                <a:cxn ang="0">
                  <a:pos x="399" y="80"/>
                </a:cxn>
                <a:cxn ang="0">
                  <a:pos x="399" y="0"/>
                </a:cxn>
                <a:cxn ang="0">
                  <a:pos x="482" y="31"/>
                </a:cxn>
                <a:cxn ang="0">
                  <a:pos x="537" y="35"/>
                </a:cxn>
                <a:cxn ang="0">
                  <a:pos x="576" y="74"/>
                </a:cxn>
                <a:cxn ang="0">
                  <a:pos x="596" y="114"/>
                </a:cxn>
                <a:cxn ang="0">
                  <a:pos x="663" y="114"/>
                </a:cxn>
                <a:cxn ang="0">
                  <a:pos x="762" y="121"/>
                </a:cxn>
                <a:cxn ang="0">
                  <a:pos x="817" y="153"/>
                </a:cxn>
                <a:cxn ang="0">
                  <a:pos x="861" y="165"/>
                </a:cxn>
                <a:cxn ang="0">
                  <a:pos x="872" y="200"/>
                </a:cxn>
                <a:cxn ang="0">
                  <a:pos x="992" y="185"/>
                </a:cxn>
                <a:cxn ang="0">
                  <a:pos x="1011" y="153"/>
                </a:cxn>
                <a:cxn ang="0">
                  <a:pos x="1051" y="177"/>
                </a:cxn>
                <a:cxn ang="0">
                  <a:pos x="1106" y="129"/>
                </a:cxn>
                <a:cxn ang="0">
                  <a:pos x="1150" y="125"/>
                </a:cxn>
                <a:cxn ang="0">
                  <a:pos x="1189" y="149"/>
                </a:cxn>
                <a:cxn ang="0">
                  <a:pos x="1178" y="187"/>
                </a:cxn>
                <a:cxn ang="0">
                  <a:pos x="1183" y="287"/>
                </a:cxn>
                <a:cxn ang="0">
                  <a:pos x="1193" y="306"/>
                </a:cxn>
                <a:cxn ang="0">
                  <a:pos x="1230" y="296"/>
                </a:cxn>
                <a:cxn ang="0">
                  <a:pos x="1303" y="287"/>
                </a:cxn>
                <a:cxn ang="0">
                  <a:pos x="1340" y="335"/>
                </a:cxn>
                <a:cxn ang="0">
                  <a:pos x="1260" y="370"/>
                </a:cxn>
                <a:cxn ang="0">
                  <a:pos x="1193" y="410"/>
                </a:cxn>
                <a:cxn ang="0">
                  <a:pos x="1154" y="442"/>
                </a:cxn>
                <a:cxn ang="0">
                  <a:pos x="1110" y="485"/>
                </a:cxn>
                <a:cxn ang="0">
                  <a:pos x="1047" y="465"/>
                </a:cxn>
                <a:cxn ang="0">
                  <a:pos x="1051" y="517"/>
                </a:cxn>
                <a:cxn ang="0">
                  <a:pos x="1043" y="572"/>
                </a:cxn>
                <a:cxn ang="0">
                  <a:pos x="972" y="631"/>
                </a:cxn>
                <a:cxn ang="0">
                  <a:pos x="881" y="620"/>
                </a:cxn>
                <a:cxn ang="0">
                  <a:pos x="845" y="647"/>
                </a:cxn>
                <a:cxn ang="0">
                  <a:pos x="778" y="668"/>
                </a:cxn>
                <a:cxn ang="0">
                  <a:pos x="711" y="631"/>
                </a:cxn>
                <a:cxn ang="0">
                  <a:pos x="655" y="616"/>
                </a:cxn>
                <a:cxn ang="0">
                  <a:pos x="403" y="596"/>
                </a:cxn>
                <a:cxn ang="0">
                  <a:pos x="372" y="565"/>
                </a:cxn>
                <a:cxn ang="0">
                  <a:pos x="339" y="509"/>
                </a:cxn>
                <a:cxn ang="0">
                  <a:pos x="287" y="482"/>
                </a:cxn>
                <a:cxn ang="0">
                  <a:pos x="241" y="469"/>
                </a:cxn>
                <a:cxn ang="0">
                  <a:pos x="138" y="449"/>
                </a:cxn>
                <a:cxn ang="0">
                  <a:pos x="107" y="375"/>
                </a:cxn>
                <a:cxn ang="0">
                  <a:pos x="90" y="323"/>
                </a:cxn>
                <a:cxn ang="0">
                  <a:pos x="24" y="287"/>
                </a:cxn>
                <a:cxn ang="0">
                  <a:pos x="0" y="253"/>
                </a:cxn>
              </a:cxnLst>
              <a:rect l="0" t="0" r="r" b="b"/>
              <a:pathLst>
                <a:path w="1340" h="668">
                  <a:moveTo>
                    <a:pt x="0" y="253"/>
                  </a:moveTo>
                  <a:lnTo>
                    <a:pt x="28" y="229"/>
                  </a:lnTo>
                  <a:lnTo>
                    <a:pt x="87" y="214"/>
                  </a:lnTo>
                  <a:lnTo>
                    <a:pt x="221" y="202"/>
                  </a:lnTo>
                  <a:lnTo>
                    <a:pt x="237" y="222"/>
                  </a:lnTo>
                  <a:lnTo>
                    <a:pt x="284" y="229"/>
                  </a:lnTo>
                  <a:lnTo>
                    <a:pt x="304" y="249"/>
                  </a:lnTo>
                  <a:lnTo>
                    <a:pt x="399" y="238"/>
                  </a:lnTo>
                  <a:lnTo>
                    <a:pt x="375" y="187"/>
                  </a:lnTo>
                  <a:lnTo>
                    <a:pt x="359" y="163"/>
                  </a:lnTo>
                  <a:lnTo>
                    <a:pt x="399" y="159"/>
                  </a:lnTo>
                  <a:lnTo>
                    <a:pt x="399" y="80"/>
                  </a:lnTo>
                  <a:lnTo>
                    <a:pt x="399" y="0"/>
                  </a:lnTo>
                  <a:lnTo>
                    <a:pt x="482" y="31"/>
                  </a:lnTo>
                  <a:lnTo>
                    <a:pt x="537" y="35"/>
                  </a:lnTo>
                  <a:lnTo>
                    <a:pt x="576" y="74"/>
                  </a:lnTo>
                  <a:lnTo>
                    <a:pt x="596" y="114"/>
                  </a:lnTo>
                  <a:lnTo>
                    <a:pt x="663" y="114"/>
                  </a:lnTo>
                  <a:lnTo>
                    <a:pt x="762" y="121"/>
                  </a:lnTo>
                  <a:lnTo>
                    <a:pt x="817" y="153"/>
                  </a:lnTo>
                  <a:lnTo>
                    <a:pt x="861" y="165"/>
                  </a:lnTo>
                  <a:lnTo>
                    <a:pt x="872" y="200"/>
                  </a:lnTo>
                  <a:lnTo>
                    <a:pt x="992" y="185"/>
                  </a:lnTo>
                  <a:lnTo>
                    <a:pt x="1011" y="153"/>
                  </a:lnTo>
                  <a:lnTo>
                    <a:pt x="1051" y="177"/>
                  </a:lnTo>
                  <a:lnTo>
                    <a:pt x="1106" y="129"/>
                  </a:lnTo>
                  <a:lnTo>
                    <a:pt x="1150" y="125"/>
                  </a:lnTo>
                  <a:lnTo>
                    <a:pt x="1189" y="149"/>
                  </a:lnTo>
                  <a:lnTo>
                    <a:pt x="1178" y="187"/>
                  </a:lnTo>
                  <a:lnTo>
                    <a:pt x="1183" y="287"/>
                  </a:lnTo>
                  <a:lnTo>
                    <a:pt x="1193" y="306"/>
                  </a:lnTo>
                  <a:lnTo>
                    <a:pt x="1230" y="296"/>
                  </a:lnTo>
                  <a:lnTo>
                    <a:pt x="1303" y="287"/>
                  </a:lnTo>
                  <a:lnTo>
                    <a:pt x="1340" y="335"/>
                  </a:lnTo>
                  <a:lnTo>
                    <a:pt x="1260" y="370"/>
                  </a:lnTo>
                  <a:lnTo>
                    <a:pt x="1193" y="410"/>
                  </a:lnTo>
                  <a:lnTo>
                    <a:pt x="1154" y="442"/>
                  </a:lnTo>
                  <a:lnTo>
                    <a:pt x="1110" y="485"/>
                  </a:lnTo>
                  <a:lnTo>
                    <a:pt x="1047" y="465"/>
                  </a:lnTo>
                  <a:lnTo>
                    <a:pt x="1051" y="517"/>
                  </a:lnTo>
                  <a:lnTo>
                    <a:pt x="1043" y="572"/>
                  </a:lnTo>
                  <a:lnTo>
                    <a:pt x="972" y="631"/>
                  </a:lnTo>
                  <a:lnTo>
                    <a:pt x="881" y="620"/>
                  </a:lnTo>
                  <a:lnTo>
                    <a:pt x="845" y="647"/>
                  </a:lnTo>
                  <a:lnTo>
                    <a:pt x="778" y="668"/>
                  </a:lnTo>
                  <a:lnTo>
                    <a:pt x="711" y="631"/>
                  </a:lnTo>
                  <a:lnTo>
                    <a:pt x="655" y="616"/>
                  </a:lnTo>
                  <a:lnTo>
                    <a:pt x="403" y="596"/>
                  </a:lnTo>
                  <a:lnTo>
                    <a:pt x="372" y="565"/>
                  </a:lnTo>
                  <a:lnTo>
                    <a:pt x="339" y="509"/>
                  </a:lnTo>
                  <a:lnTo>
                    <a:pt x="287" y="482"/>
                  </a:lnTo>
                  <a:lnTo>
                    <a:pt x="241" y="469"/>
                  </a:lnTo>
                  <a:lnTo>
                    <a:pt x="138" y="449"/>
                  </a:lnTo>
                  <a:lnTo>
                    <a:pt x="107" y="375"/>
                  </a:lnTo>
                  <a:lnTo>
                    <a:pt x="90" y="323"/>
                  </a:lnTo>
                  <a:lnTo>
                    <a:pt x="24" y="287"/>
                  </a:lnTo>
                  <a:lnTo>
                    <a:pt x="0" y="25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0" name="Freeform 200"/>
            <p:cNvSpPr>
              <a:spLocks noChangeAspect="1"/>
            </p:cNvSpPr>
            <p:nvPr/>
          </p:nvSpPr>
          <p:spPr bwMode="auto">
            <a:xfrm>
              <a:off x="6836758" y="2607762"/>
              <a:ext cx="75604" cy="141996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48" y="9"/>
                </a:cxn>
                <a:cxn ang="0">
                  <a:pos x="48" y="68"/>
                </a:cxn>
                <a:cxn ang="0">
                  <a:pos x="64" y="127"/>
                </a:cxn>
                <a:cxn ang="0">
                  <a:pos x="72" y="159"/>
                </a:cxn>
                <a:cxn ang="0">
                  <a:pos x="92" y="182"/>
                </a:cxn>
                <a:cxn ang="0">
                  <a:pos x="127" y="230"/>
                </a:cxn>
                <a:cxn ang="0">
                  <a:pos x="103" y="238"/>
                </a:cxn>
                <a:cxn ang="0">
                  <a:pos x="72" y="234"/>
                </a:cxn>
                <a:cxn ang="0">
                  <a:pos x="44" y="223"/>
                </a:cxn>
                <a:cxn ang="0">
                  <a:pos x="44" y="147"/>
                </a:cxn>
                <a:cxn ang="0">
                  <a:pos x="0" y="139"/>
                </a:cxn>
                <a:cxn ang="0">
                  <a:pos x="8" y="0"/>
                </a:cxn>
              </a:cxnLst>
              <a:rect l="0" t="0" r="r" b="b"/>
              <a:pathLst>
                <a:path w="127" h="238">
                  <a:moveTo>
                    <a:pt x="8" y="0"/>
                  </a:moveTo>
                  <a:lnTo>
                    <a:pt x="48" y="9"/>
                  </a:lnTo>
                  <a:lnTo>
                    <a:pt x="48" y="68"/>
                  </a:lnTo>
                  <a:lnTo>
                    <a:pt x="64" y="127"/>
                  </a:lnTo>
                  <a:lnTo>
                    <a:pt x="72" y="159"/>
                  </a:lnTo>
                  <a:lnTo>
                    <a:pt x="92" y="182"/>
                  </a:lnTo>
                  <a:lnTo>
                    <a:pt x="127" y="230"/>
                  </a:lnTo>
                  <a:lnTo>
                    <a:pt x="103" y="238"/>
                  </a:lnTo>
                  <a:lnTo>
                    <a:pt x="72" y="234"/>
                  </a:lnTo>
                  <a:lnTo>
                    <a:pt x="44" y="223"/>
                  </a:lnTo>
                  <a:lnTo>
                    <a:pt x="44" y="147"/>
                  </a:lnTo>
                  <a:lnTo>
                    <a:pt x="0" y="139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1" name="Freeform 201"/>
            <p:cNvSpPr>
              <a:spLocks noChangeAspect="1"/>
            </p:cNvSpPr>
            <p:nvPr/>
          </p:nvSpPr>
          <p:spPr bwMode="auto">
            <a:xfrm>
              <a:off x="6972143" y="2799458"/>
              <a:ext cx="269011" cy="205895"/>
            </a:xfrm>
            <a:custGeom>
              <a:avLst/>
              <a:gdLst/>
              <a:ahLst/>
              <a:cxnLst>
                <a:cxn ang="0">
                  <a:pos x="146" y="9"/>
                </a:cxn>
                <a:cxn ang="0">
                  <a:pos x="91" y="20"/>
                </a:cxn>
                <a:cxn ang="0">
                  <a:pos x="114" y="33"/>
                </a:cxn>
                <a:cxn ang="0">
                  <a:pos x="0" y="111"/>
                </a:cxn>
                <a:cxn ang="0">
                  <a:pos x="4" y="139"/>
                </a:cxn>
                <a:cxn ang="0">
                  <a:pos x="71" y="167"/>
                </a:cxn>
                <a:cxn ang="0">
                  <a:pos x="150" y="76"/>
                </a:cxn>
                <a:cxn ang="0">
                  <a:pos x="153" y="92"/>
                </a:cxn>
                <a:cxn ang="0">
                  <a:pos x="225" y="111"/>
                </a:cxn>
                <a:cxn ang="0">
                  <a:pos x="280" y="171"/>
                </a:cxn>
                <a:cxn ang="0">
                  <a:pos x="328" y="241"/>
                </a:cxn>
                <a:cxn ang="0">
                  <a:pos x="312" y="329"/>
                </a:cxn>
                <a:cxn ang="0">
                  <a:pos x="352" y="309"/>
                </a:cxn>
                <a:cxn ang="0">
                  <a:pos x="394" y="348"/>
                </a:cxn>
                <a:cxn ang="0">
                  <a:pos x="418" y="250"/>
                </a:cxn>
                <a:cxn ang="0">
                  <a:pos x="458" y="258"/>
                </a:cxn>
                <a:cxn ang="0">
                  <a:pos x="418" y="182"/>
                </a:cxn>
                <a:cxn ang="0">
                  <a:pos x="339" y="144"/>
                </a:cxn>
                <a:cxn ang="0">
                  <a:pos x="304" y="96"/>
                </a:cxn>
                <a:cxn ang="0">
                  <a:pos x="232" y="0"/>
                </a:cxn>
                <a:cxn ang="0">
                  <a:pos x="146" y="9"/>
                </a:cxn>
              </a:cxnLst>
              <a:rect l="0" t="0" r="r" b="b"/>
              <a:pathLst>
                <a:path w="458" h="348">
                  <a:moveTo>
                    <a:pt x="146" y="9"/>
                  </a:moveTo>
                  <a:lnTo>
                    <a:pt x="91" y="20"/>
                  </a:lnTo>
                  <a:lnTo>
                    <a:pt x="114" y="33"/>
                  </a:lnTo>
                  <a:lnTo>
                    <a:pt x="0" y="111"/>
                  </a:lnTo>
                  <a:lnTo>
                    <a:pt x="4" y="139"/>
                  </a:lnTo>
                  <a:lnTo>
                    <a:pt x="71" y="167"/>
                  </a:lnTo>
                  <a:lnTo>
                    <a:pt x="150" y="76"/>
                  </a:lnTo>
                  <a:lnTo>
                    <a:pt x="153" y="92"/>
                  </a:lnTo>
                  <a:lnTo>
                    <a:pt x="225" y="111"/>
                  </a:lnTo>
                  <a:lnTo>
                    <a:pt x="280" y="171"/>
                  </a:lnTo>
                  <a:lnTo>
                    <a:pt x="328" y="241"/>
                  </a:lnTo>
                  <a:lnTo>
                    <a:pt x="312" y="329"/>
                  </a:lnTo>
                  <a:lnTo>
                    <a:pt x="352" y="309"/>
                  </a:lnTo>
                  <a:lnTo>
                    <a:pt x="394" y="348"/>
                  </a:lnTo>
                  <a:lnTo>
                    <a:pt x="418" y="250"/>
                  </a:lnTo>
                  <a:lnTo>
                    <a:pt x="458" y="258"/>
                  </a:lnTo>
                  <a:lnTo>
                    <a:pt x="418" y="182"/>
                  </a:lnTo>
                  <a:lnTo>
                    <a:pt x="339" y="144"/>
                  </a:lnTo>
                  <a:lnTo>
                    <a:pt x="304" y="96"/>
                  </a:lnTo>
                  <a:lnTo>
                    <a:pt x="232" y="0"/>
                  </a:lnTo>
                  <a:lnTo>
                    <a:pt x="146" y="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2" name="Freeform 202"/>
            <p:cNvSpPr>
              <a:spLocks noChangeAspect="1"/>
            </p:cNvSpPr>
            <p:nvPr/>
          </p:nvSpPr>
          <p:spPr bwMode="auto">
            <a:xfrm>
              <a:off x="7047748" y="2886430"/>
              <a:ext cx="75604" cy="188145"/>
            </a:xfrm>
            <a:custGeom>
              <a:avLst/>
              <a:gdLst/>
              <a:ahLst/>
              <a:cxnLst>
                <a:cxn ang="0">
                  <a:pos x="103" y="12"/>
                </a:cxn>
                <a:cxn ang="0">
                  <a:pos x="55" y="20"/>
                </a:cxn>
                <a:cxn ang="0">
                  <a:pos x="13" y="67"/>
                </a:cxn>
                <a:cxn ang="0">
                  <a:pos x="0" y="111"/>
                </a:cxn>
                <a:cxn ang="0">
                  <a:pos x="33" y="83"/>
                </a:cxn>
                <a:cxn ang="0">
                  <a:pos x="20" y="142"/>
                </a:cxn>
                <a:cxn ang="0">
                  <a:pos x="13" y="182"/>
                </a:cxn>
                <a:cxn ang="0">
                  <a:pos x="9" y="269"/>
                </a:cxn>
                <a:cxn ang="0">
                  <a:pos x="48" y="317"/>
                </a:cxn>
                <a:cxn ang="0">
                  <a:pos x="99" y="277"/>
                </a:cxn>
                <a:cxn ang="0">
                  <a:pos x="72" y="150"/>
                </a:cxn>
                <a:cxn ang="0">
                  <a:pos x="76" y="98"/>
                </a:cxn>
                <a:cxn ang="0">
                  <a:pos x="120" y="76"/>
                </a:cxn>
                <a:cxn ang="0">
                  <a:pos x="131" y="48"/>
                </a:cxn>
                <a:cxn ang="0">
                  <a:pos x="103" y="0"/>
                </a:cxn>
                <a:cxn ang="0">
                  <a:pos x="103" y="12"/>
                </a:cxn>
              </a:cxnLst>
              <a:rect l="0" t="0" r="r" b="b"/>
              <a:pathLst>
                <a:path w="131" h="317">
                  <a:moveTo>
                    <a:pt x="103" y="12"/>
                  </a:moveTo>
                  <a:lnTo>
                    <a:pt x="55" y="20"/>
                  </a:lnTo>
                  <a:lnTo>
                    <a:pt x="13" y="67"/>
                  </a:lnTo>
                  <a:lnTo>
                    <a:pt x="0" y="111"/>
                  </a:lnTo>
                  <a:lnTo>
                    <a:pt x="33" y="83"/>
                  </a:lnTo>
                  <a:lnTo>
                    <a:pt x="20" y="142"/>
                  </a:lnTo>
                  <a:lnTo>
                    <a:pt x="13" y="182"/>
                  </a:lnTo>
                  <a:lnTo>
                    <a:pt x="9" y="269"/>
                  </a:lnTo>
                  <a:lnTo>
                    <a:pt x="48" y="317"/>
                  </a:lnTo>
                  <a:lnTo>
                    <a:pt x="99" y="277"/>
                  </a:lnTo>
                  <a:lnTo>
                    <a:pt x="72" y="150"/>
                  </a:lnTo>
                  <a:lnTo>
                    <a:pt x="76" y="98"/>
                  </a:lnTo>
                  <a:lnTo>
                    <a:pt x="120" y="76"/>
                  </a:lnTo>
                  <a:lnTo>
                    <a:pt x="131" y="48"/>
                  </a:lnTo>
                  <a:lnTo>
                    <a:pt x="103" y="0"/>
                  </a:lnTo>
                  <a:lnTo>
                    <a:pt x="103" y="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3" name="Freeform 203"/>
            <p:cNvSpPr>
              <a:spLocks noChangeAspect="1"/>
            </p:cNvSpPr>
            <p:nvPr/>
          </p:nvSpPr>
          <p:spPr bwMode="auto">
            <a:xfrm>
              <a:off x="7047748" y="2886430"/>
              <a:ext cx="75604" cy="188145"/>
            </a:xfrm>
            <a:custGeom>
              <a:avLst/>
              <a:gdLst/>
              <a:ahLst/>
              <a:cxnLst>
                <a:cxn ang="0">
                  <a:pos x="103" y="12"/>
                </a:cxn>
                <a:cxn ang="0">
                  <a:pos x="55" y="20"/>
                </a:cxn>
                <a:cxn ang="0">
                  <a:pos x="13" y="67"/>
                </a:cxn>
                <a:cxn ang="0">
                  <a:pos x="0" y="111"/>
                </a:cxn>
                <a:cxn ang="0">
                  <a:pos x="33" y="83"/>
                </a:cxn>
                <a:cxn ang="0">
                  <a:pos x="20" y="142"/>
                </a:cxn>
                <a:cxn ang="0">
                  <a:pos x="13" y="182"/>
                </a:cxn>
                <a:cxn ang="0">
                  <a:pos x="9" y="269"/>
                </a:cxn>
                <a:cxn ang="0">
                  <a:pos x="48" y="317"/>
                </a:cxn>
                <a:cxn ang="0">
                  <a:pos x="99" y="277"/>
                </a:cxn>
                <a:cxn ang="0">
                  <a:pos x="72" y="150"/>
                </a:cxn>
                <a:cxn ang="0">
                  <a:pos x="76" y="98"/>
                </a:cxn>
                <a:cxn ang="0">
                  <a:pos x="120" y="76"/>
                </a:cxn>
                <a:cxn ang="0">
                  <a:pos x="131" y="48"/>
                </a:cxn>
                <a:cxn ang="0">
                  <a:pos x="103" y="0"/>
                </a:cxn>
              </a:cxnLst>
              <a:rect l="0" t="0" r="r" b="b"/>
              <a:pathLst>
                <a:path w="131" h="317">
                  <a:moveTo>
                    <a:pt x="103" y="12"/>
                  </a:moveTo>
                  <a:lnTo>
                    <a:pt x="55" y="20"/>
                  </a:lnTo>
                  <a:lnTo>
                    <a:pt x="13" y="67"/>
                  </a:lnTo>
                  <a:lnTo>
                    <a:pt x="0" y="111"/>
                  </a:lnTo>
                  <a:lnTo>
                    <a:pt x="33" y="83"/>
                  </a:lnTo>
                  <a:lnTo>
                    <a:pt x="20" y="142"/>
                  </a:lnTo>
                  <a:lnTo>
                    <a:pt x="13" y="182"/>
                  </a:lnTo>
                  <a:lnTo>
                    <a:pt x="9" y="269"/>
                  </a:lnTo>
                  <a:lnTo>
                    <a:pt x="48" y="317"/>
                  </a:lnTo>
                  <a:lnTo>
                    <a:pt x="99" y="277"/>
                  </a:lnTo>
                  <a:lnTo>
                    <a:pt x="72" y="150"/>
                  </a:lnTo>
                  <a:lnTo>
                    <a:pt x="76" y="98"/>
                  </a:lnTo>
                  <a:lnTo>
                    <a:pt x="120" y="76"/>
                  </a:lnTo>
                  <a:lnTo>
                    <a:pt x="131" y="48"/>
                  </a:lnTo>
                  <a:lnTo>
                    <a:pt x="103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4" name="Freeform 204"/>
            <p:cNvSpPr>
              <a:spLocks noChangeAspect="1"/>
            </p:cNvSpPr>
            <p:nvPr/>
          </p:nvSpPr>
          <p:spPr bwMode="auto">
            <a:xfrm>
              <a:off x="984201" y="4383047"/>
              <a:ext cx="42198" cy="21299"/>
            </a:xfrm>
            <a:custGeom>
              <a:avLst/>
              <a:gdLst/>
              <a:ahLst/>
              <a:cxnLst>
                <a:cxn ang="0">
                  <a:pos x="71" y="0"/>
                </a:cxn>
                <a:cxn ang="0">
                  <a:pos x="6" y="5"/>
                </a:cxn>
                <a:cxn ang="0">
                  <a:pos x="0" y="23"/>
                </a:cxn>
                <a:cxn ang="0">
                  <a:pos x="11" y="36"/>
                </a:cxn>
                <a:cxn ang="0">
                  <a:pos x="59" y="33"/>
                </a:cxn>
                <a:cxn ang="0">
                  <a:pos x="71" y="0"/>
                </a:cxn>
              </a:cxnLst>
              <a:rect l="0" t="0" r="r" b="b"/>
              <a:pathLst>
                <a:path w="71" h="36">
                  <a:moveTo>
                    <a:pt x="71" y="0"/>
                  </a:moveTo>
                  <a:lnTo>
                    <a:pt x="6" y="5"/>
                  </a:lnTo>
                  <a:lnTo>
                    <a:pt x="0" y="23"/>
                  </a:lnTo>
                  <a:lnTo>
                    <a:pt x="11" y="36"/>
                  </a:lnTo>
                  <a:lnTo>
                    <a:pt x="59" y="33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5" name="Freeform 205"/>
            <p:cNvSpPr>
              <a:spLocks noChangeAspect="1"/>
            </p:cNvSpPr>
            <p:nvPr/>
          </p:nvSpPr>
          <p:spPr bwMode="auto">
            <a:xfrm>
              <a:off x="1497608" y="4459370"/>
              <a:ext cx="49231" cy="51474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12" y="14"/>
                </a:cxn>
                <a:cxn ang="0">
                  <a:pos x="17" y="43"/>
                </a:cxn>
                <a:cxn ang="0">
                  <a:pos x="0" y="59"/>
                </a:cxn>
                <a:cxn ang="0">
                  <a:pos x="2" y="87"/>
                </a:cxn>
                <a:cxn ang="0">
                  <a:pos x="30" y="83"/>
                </a:cxn>
                <a:cxn ang="0">
                  <a:pos x="68" y="83"/>
                </a:cxn>
                <a:cxn ang="0">
                  <a:pos x="83" y="63"/>
                </a:cxn>
                <a:cxn ang="0">
                  <a:pos x="73" y="11"/>
                </a:cxn>
                <a:cxn ang="0">
                  <a:pos x="40" y="0"/>
                </a:cxn>
              </a:cxnLst>
              <a:rect l="0" t="0" r="r" b="b"/>
              <a:pathLst>
                <a:path w="83" h="87">
                  <a:moveTo>
                    <a:pt x="40" y="0"/>
                  </a:moveTo>
                  <a:lnTo>
                    <a:pt x="12" y="14"/>
                  </a:lnTo>
                  <a:lnTo>
                    <a:pt x="17" y="43"/>
                  </a:lnTo>
                  <a:lnTo>
                    <a:pt x="0" y="59"/>
                  </a:lnTo>
                  <a:lnTo>
                    <a:pt x="2" y="87"/>
                  </a:lnTo>
                  <a:lnTo>
                    <a:pt x="30" y="83"/>
                  </a:lnTo>
                  <a:lnTo>
                    <a:pt x="68" y="83"/>
                  </a:lnTo>
                  <a:lnTo>
                    <a:pt x="83" y="63"/>
                  </a:lnTo>
                  <a:lnTo>
                    <a:pt x="73" y="11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6" name="Freeform 206"/>
            <p:cNvSpPr>
              <a:spLocks noChangeAspect="1"/>
            </p:cNvSpPr>
            <p:nvPr/>
          </p:nvSpPr>
          <p:spPr bwMode="auto">
            <a:xfrm>
              <a:off x="1304202" y="4654615"/>
              <a:ext cx="320000" cy="323042"/>
            </a:xfrm>
            <a:custGeom>
              <a:avLst/>
              <a:gdLst/>
              <a:ahLst/>
              <a:cxnLst>
                <a:cxn ang="0">
                  <a:pos x="395" y="2"/>
                </a:cxn>
                <a:cxn ang="0">
                  <a:pos x="388" y="29"/>
                </a:cxn>
                <a:cxn ang="0">
                  <a:pos x="352" y="45"/>
                </a:cxn>
                <a:cxn ang="0">
                  <a:pos x="334" y="77"/>
                </a:cxn>
                <a:cxn ang="0">
                  <a:pos x="322" y="215"/>
                </a:cxn>
                <a:cxn ang="0">
                  <a:pos x="342" y="235"/>
                </a:cxn>
                <a:cxn ang="0">
                  <a:pos x="374" y="239"/>
                </a:cxn>
                <a:cxn ang="0">
                  <a:pos x="381" y="294"/>
                </a:cxn>
                <a:cxn ang="0">
                  <a:pos x="370" y="324"/>
                </a:cxn>
                <a:cxn ang="0">
                  <a:pos x="320" y="326"/>
                </a:cxn>
                <a:cxn ang="0">
                  <a:pos x="301" y="302"/>
                </a:cxn>
                <a:cxn ang="0">
                  <a:pos x="291" y="253"/>
                </a:cxn>
                <a:cxn ang="0">
                  <a:pos x="254" y="233"/>
                </a:cxn>
                <a:cxn ang="0">
                  <a:pos x="249" y="215"/>
                </a:cxn>
                <a:cxn ang="0">
                  <a:pos x="213" y="224"/>
                </a:cxn>
                <a:cxn ang="0">
                  <a:pos x="199" y="251"/>
                </a:cxn>
                <a:cxn ang="0">
                  <a:pos x="178" y="243"/>
                </a:cxn>
                <a:cxn ang="0">
                  <a:pos x="164" y="195"/>
                </a:cxn>
                <a:cxn ang="0">
                  <a:pos x="115" y="190"/>
                </a:cxn>
                <a:cxn ang="0">
                  <a:pos x="109" y="297"/>
                </a:cxn>
                <a:cxn ang="0">
                  <a:pos x="67" y="297"/>
                </a:cxn>
                <a:cxn ang="0">
                  <a:pos x="51" y="269"/>
                </a:cxn>
                <a:cxn ang="0">
                  <a:pos x="33" y="270"/>
                </a:cxn>
                <a:cxn ang="0">
                  <a:pos x="32" y="297"/>
                </a:cxn>
                <a:cxn ang="0">
                  <a:pos x="2" y="300"/>
                </a:cxn>
                <a:cxn ang="0">
                  <a:pos x="0" y="422"/>
                </a:cxn>
                <a:cxn ang="0">
                  <a:pos x="5" y="462"/>
                </a:cxn>
                <a:cxn ang="0">
                  <a:pos x="40" y="508"/>
                </a:cxn>
                <a:cxn ang="0">
                  <a:pos x="41" y="531"/>
                </a:cxn>
                <a:cxn ang="0">
                  <a:pos x="65" y="538"/>
                </a:cxn>
                <a:cxn ang="0">
                  <a:pos x="185" y="545"/>
                </a:cxn>
                <a:cxn ang="0">
                  <a:pos x="213" y="535"/>
                </a:cxn>
                <a:cxn ang="0">
                  <a:pos x="254" y="535"/>
                </a:cxn>
                <a:cxn ang="0">
                  <a:pos x="281" y="525"/>
                </a:cxn>
                <a:cxn ang="0">
                  <a:pos x="287" y="493"/>
                </a:cxn>
                <a:cxn ang="0">
                  <a:pos x="310" y="486"/>
                </a:cxn>
                <a:cxn ang="0">
                  <a:pos x="328" y="474"/>
                </a:cxn>
                <a:cxn ang="0">
                  <a:pos x="332" y="442"/>
                </a:cxn>
                <a:cxn ang="0">
                  <a:pos x="374" y="436"/>
                </a:cxn>
                <a:cxn ang="0">
                  <a:pos x="391" y="411"/>
                </a:cxn>
                <a:cxn ang="0">
                  <a:pos x="464" y="395"/>
                </a:cxn>
                <a:cxn ang="0">
                  <a:pos x="477" y="366"/>
                </a:cxn>
                <a:cxn ang="0">
                  <a:pos x="514" y="348"/>
                </a:cxn>
                <a:cxn ang="0">
                  <a:pos x="519" y="263"/>
                </a:cxn>
                <a:cxn ang="0">
                  <a:pos x="546" y="241"/>
                </a:cxn>
                <a:cxn ang="0">
                  <a:pos x="533" y="187"/>
                </a:cxn>
                <a:cxn ang="0">
                  <a:pos x="537" y="125"/>
                </a:cxn>
                <a:cxn ang="0">
                  <a:pos x="508" y="81"/>
                </a:cxn>
                <a:cxn ang="0">
                  <a:pos x="467" y="59"/>
                </a:cxn>
                <a:cxn ang="0">
                  <a:pos x="436" y="25"/>
                </a:cxn>
                <a:cxn ang="0">
                  <a:pos x="429" y="0"/>
                </a:cxn>
                <a:cxn ang="0">
                  <a:pos x="395" y="2"/>
                </a:cxn>
              </a:cxnLst>
              <a:rect l="0" t="0" r="r" b="b"/>
              <a:pathLst>
                <a:path w="546" h="545">
                  <a:moveTo>
                    <a:pt x="395" y="2"/>
                  </a:moveTo>
                  <a:lnTo>
                    <a:pt x="388" y="29"/>
                  </a:lnTo>
                  <a:lnTo>
                    <a:pt x="352" y="45"/>
                  </a:lnTo>
                  <a:lnTo>
                    <a:pt x="334" y="77"/>
                  </a:lnTo>
                  <a:lnTo>
                    <a:pt x="322" y="215"/>
                  </a:lnTo>
                  <a:lnTo>
                    <a:pt x="342" y="235"/>
                  </a:lnTo>
                  <a:lnTo>
                    <a:pt x="374" y="239"/>
                  </a:lnTo>
                  <a:lnTo>
                    <a:pt x="381" y="294"/>
                  </a:lnTo>
                  <a:lnTo>
                    <a:pt x="370" y="324"/>
                  </a:lnTo>
                  <a:lnTo>
                    <a:pt x="320" y="326"/>
                  </a:lnTo>
                  <a:lnTo>
                    <a:pt x="301" y="302"/>
                  </a:lnTo>
                  <a:lnTo>
                    <a:pt x="291" y="253"/>
                  </a:lnTo>
                  <a:lnTo>
                    <a:pt x="254" y="233"/>
                  </a:lnTo>
                  <a:lnTo>
                    <a:pt x="249" y="215"/>
                  </a:lnTo>
                  <a:lnTo>
                    <a:pt x="213" y="224"/>
                  </a:lnTo>
                  <a:lnTo>
                    <a:pt x="199" y="251"/>
                  </a:lnTo>
                  <a:lnTo>
                    <a:pt x="178" y="243"/>
                  </a:lnTo>
                  <a:lnTo>
                    <a:pt x="164" y="195"/>
                  </a:lnTo>
                  <a:lnTo>
                    <a:pt x="115" y="190"/>
                  </a:lnTo>
                  <a:lnTo>
                    <a:pt x="109" y="297"/>
                  </a:lnTo>
                  <a:lnTo>
                    <a:pt x="67" y="297"/>
                  </a:lnTo>
                  <a:lnTo>
                    <a:pt x="51" y="269"/>
                  </a:lnTo>
                  <a:lnTo>
                    <a:pt x="33" y="270"/>
                  </a:lnTo>
                  <a:lnTo>
                    <a:pt x="32" y="297"/>
                  </a:lnTo>
                  <a:lnTo>
                    <a:pt x="2" y="300"/>
                  </a:lnTo>
                  <a:lnTo>
                    <a:pt x="0" y="422"/>
                  </a:lnTo>
                  <a:lnTo>
                    <a:pt x="5" y="462"/>
                  </a:lnTo>
                  <a:lnTo>
                    <a:pt x="40" y="508"/>
                  </a:lnTo>
                  <a:lnTo>
                    <a:pt x="41" y="531"/>
                  </a:lnTo>
                  <a:lnTo>
                    <a:pt x="65" y="538"/>
                  </a:lnTo>
                  <a:lnTo>
                    <a:pt x="185" y="545"/>
                  </a:lnTo>
                  <a:lnTo>
                    <a:pt x="213" y="535"/>
                  </a:lnTo>
                  <a:lnTo>
                    <a:pt x="254" y="535"/>
                  </a:lnTo>
                  <a:lnTo>
                    <a:pt x="281" y="525"/>
                  </a:lnTo>
                  <a:lnTo>
                    <a:pt x="287" y="493"/>
                  </a:lnTo>
                  <a:lnTo>
                    <a:pt x="310" y="486"/>
                  </a:lnTo>
                  <a:lnTo>
                    <a:pt x="328" y="474"/>
                  </a:lnTo>
                  <a:lnTo>
                    <a:pt x="332" y="442"/>
                  </a:lnTo>
                  <a:lnTo>
                    <a:pt x="374" y="436"/>
                  </a:lnTo>
                  <a:lnTo>
                    <a:pt x="391" y="411"/>
                  </a:lnTo>
                  <a:lnTo>
                    <a:pt x="464" y="395"/>
                  </a:lnTo>
                  <a:lnTo>
                    <a:pt x="477" y="366"/>
                  </a:lnTo>
                  <a:lnTo>
                    <a:pt x="514" y="348"/>
                  </a:lnTo>
                  <a:lnTo>
                    <a:pt x="519" y="263"/>
                  </a:lnTo>
                  <a:lnTo>
                    <a:pt x="546" y="241"/>
                  </a:lnTo>
                  <a:lnTo>
                    <a:pt x="533" y="187"/>
                  </a:lnTo>
                  <a:lnTo>
                    <a:pt x="537" y="125"/>
                  </a:lnTo>
                  <a:lnTo>
                    <a:pt x="508" y="81"/>
                  </a:lnTo>
                  <a:lnTo>
                    <a:pt x="467" y="59"/>
                  </a:lnTo>
                  <a:lnTo>
                    <a:pt x="436" y="25"/>
                  </a:lnTo>
                  <a:lnTo>
                    <a:pt x="429" y="0"/>
                  </a:lnTo>
                  <a:lnTo>
                    <a:pt x="395" y="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7" name="Freeform 207"/>
            <p:cNvSpPr>
              <a:spLocks noChangeAspect="1"/>
            </p:cNvSpPr>
            <p:nvPr/>
          </p:nvSpPr>
          <p:spPr bwMode="auto">
            <a:xfrm>
              <a:off x="2849698" y="4123904"/>
              <a:ext cx="52747" cy="111822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4" y="56"/>
                </a:cxn>
                <a:cxn ang="0">
                  <a:pos x="0" y="127"/>
                </a:cxn>
                <a:cxn ang="0">
                  <a:pos x="28" y="190"/>
                </a:cxn>
                <a:cxn ang="0">
                  <a:pos x="90" y="179"/>
                </a:cxn>
                <a:cxn ang="0">
                  <a:pos x="90" y="63"/>
                </a:cxn>
                <a:cxn ang="0">
                  <a:pos x="70" y="36"/>
                </a:cxn>
                <a:cxn ang="0">
                  <a:pos x="31" y="0"/>
                </a:cxn>
              </a:cxnLst>
              <a:rect l="0" t="0" r="r" b="b"/>
              <a:pathLst>
                <a:path w="90" h="190">
                  <a:moveTo>
                    <a:pt x="31" y="0"/>
                  </a:moveTo>
                  <a:lnTo>
                    <a:pt x="4" y="56"/>
                  </a:lnTo>
                  <a:lnTo>
                    <a:pt x="0" y="127"/>
                  </a:lnTo>
                  <a:lnTo>
                    <a:pt x="28" y="190"/>
                  </a:lnTo>
                  <a:lnTo>
                    <a:pt x="90" y="179"/>
                  </a:lnTo>
                  <a:lnTo>
                    <a:pt x="90" y="63"/>
                  </a:lnTo>
                  <a:lnTo>
                    <a:pt x="70" y="3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8" name="Freeform 208"/>
            <p:cNvSpPr>
              <a:spLocks noChangeAspect="1"/>
            </p:cNvSpPr>
            <p:nvPr/>
          </p:nvSpPr>
          <p:spPr bwMode="auto">
            <a:xfrm>
              <a:off x="585080" y="3964158"/>
              <a:ext cx="210989" cy="156196"/>
            </a:xfrm>
            <a:custGeom>
              <a:avLst/>
              <a:gdLst/>
              <a:ahLst/>
              <a:cxnLst>
                <a:cxn ang="0">
                  <a:pos x="360" y="133"/>
                </a:cxn>
                <a:cxn ang="0">
                  <a:pos x="347" y="181"/>
                </a:cxn>
                <a:cxn ang="0">
                  <a:pos x="297" y="197"/>
                </a:cxn>
                <a:cxn ang="0">
                  <a:pos x="261" y="245"/>
                </a:cxn>
                <a:cxn ang="0">
                  <a:pos x="239" y="248"/>
                </a:cxn>
                <a:cxn ang="0">
                  <a:pos x="201" y="241"/>
                </a:cxn>
                <a:cxn ang="0">
                  <a:pos x="169" y="221"/>
                </a:cxn>
                <a:cxn ang="0">
                  <a:pos x="142" y="221"/>
                </a:cxn>
                <a:cxn ang="0">
                  <a:pos x="119" y="263"/>
                </a:cxn>
                <a:cxn ang="0">
                  <a:pos x="29" y="260"/>
                </a:cxn>
                <a:cxn ang="0">
                  <a:pos x="0" y="240"/>
                </a:cxn>
                <a:cxn ang="0">
                  <a:pos x="15" y="178"/>
                </a:cxn>
                <a:cxn ang="0">
                  <a:pos x="46" y="134"/>
                </a:cxn>
                <a:cxn ang="0">
                  <a:pos x="62" y="99"/>
                </a:cxn>
                <a:cxn ang="0">
                  <a:pos x="74" y="75"/>
                </a:cxn>
                <a:cxn ang="0">
                  <a:pos x="134" y="55"/>
                </a:cxn>
                <a:cxn ang="0">
                  <a:pos x="157" y="31"/>
                </a:cxn>
                <a:cxn ang="0">
                  <a:pos x="180" y="0"/>
                </a:cxn>
                <a:cxn ang="0">
                  <a:pos x="257" y="4"/>
                </a:cxn>
                <a:cxn ang="0">
                  <a:pos x="273" y="30"/>
                </a:cxn>
                <a:cxn ang="0">
                  <a:pos x="301" y="46"/>
                </a:cxn>
                <a:cxn ang="0">
                  <a:pos x="305" y="94"/>
                </a:cxn>
                <a:cxn ang="0">
                  <a:pos x="336" y="98"/>
                </a:cxn>
                <a:cxn ang="0">
                  <a:pos x="360" y="133"/>
                </a:cxn>
              </a:cxnLst>
              <a:rect l="0" t="0" r="r" b="b"/>
              <a:pathLst>
                <a:path w="360" h="263">
                  <a:moveTo>
                    <a:pt x="360" y="133"/>
                  </a:moveTo>
                  <a:lnTo>
                    <a:pt x="347" y="181"/>
                  </a:lnTo>
                  <a:lnTo>
                    <a:pt x="297" y="197"/>
                  </a:lnTo>
                  <a:lnTo>
                    <a:pt x="261" y="245"/>
                  </a:lnTo>
                  <a:lnTo>
                    <a:pt x="239" y="248"/>
                  </a:lnTo>
                  <a:lnTo>
                    <a:pt x="201" y="241"/>
                  </a:lnTo>
                  <a:lnTo>
                    <a:pt x="169" y="221"/>
                  </a:lnTo>
                  <a:lnTo>
                    <a:pt x="142" y="221"/>
                  </a:lnTo>
                  <a:lnTo>
                    <a:pt x="119" y="263"/>
                  </a:lnTo>
                  <a:lnTo>
                    <a:pt x="29" y="260"/>
                  </a:lnTo>
                  <a:lnTo>
                    <a:pt x="0" y="240"/>
                  </a:lnTo>
                  <a:lnTo>
                    <a:pt x="15" y="178"/>
                  </a:lnTo>
                  <a:lnTo>
                    <a:pt x="46" y="134"/>
                  </a:lnTo>
                  <a:lnTo>
                    <a:pt x="62" y="99"/>
                  </a:lnTo>
                  <a:lnTo>
                    <a:pt x="74" y="75"/>
                  </a:lnTo>
                  <a:lnTo>
                    <a:pt x="134" y="55"/>
                  </a:lnTo>
                  <a:lnTo>
                    <a:pt x="157" y="31"/>
                  </a:lnTo>
                  <a:lnTo>
                    <a:pt x="180" y="0"/>
                  </a:lnTo>
                  <a:lnTo>
                    <a:pt x="257" y="4"/>
                  </a:lnTo>
                  <a:lnTo>
                    <a:pt x="273" y="30"/>
                  </a:lnTo>
                  <a:lnTo>
                    <a:pt x="301" y="46"/>
                  </a:lnTo>
                  <a:lnTo>
                    <a:pt x="305" y="94"/>
                  </a:lnTo>
                  <a:lnTo>
                    <a:pt x="336" y="98"/>
                  </a:lnTo>
                  <a:lnTo>
                    <a:pt x="360" y="13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9" name="Freeform 209"/>
            <p:cNvSpPr>
              <a:spLocks noChangeAspect="1"/>
            </p:cNvSpPr>
            <p:nvPr/>
          </p:nvSpPr>
          <p:spPr bwMode="auto">
            <a:xfrm>
              <a:off x="330134" y="4035156"/>
              <a:ext cx="209231" cy="172171"/>
            </a:xfrm>
            <a:custGeom>
              <a:avLst/>
              <a:gdLst/>
              <a:ahLst/>
              <a:cxnLst>
                <a:cxn ang="0">
                  <a:pos x="0" y="51"/>
                </a:cxn>
                <a:cxn ang="0">
                  <a:pos x="24" y="19"/>
                </a:cxn>
                <a:cxn ang="0">
                  <a:pos x="79" y="0"/>
                </a:cxn>
                <a:cxn ang="0">
                  <a:pos x="143" y="11"/>
                </a:cxn>
                <a:cxn ang="0">
                  <a:pos x="194" y="11"/>
                </a:cxn>
                <a:cxn ang="0">
                  <a:pos x="240" y="24"/>
                </a:cxn>
                <a:cxn ang="0">
                  <a:pos x="292" y="36"/>
                </a:cxn>
                <a:cxn ang="0">
                  <a:pos x="328" y="71"/>
                </a:cxn>
                <a:cxn ang="0">
                  <a:pos x="341" y="134"/>
                </a:cxn>
                <a:cxn ang="0">
                  <a:pos x="324" y="169"/>
                </a:cxn>
                <a:cxn ang="0">
                  <a:pos x="357" y="197"/>
                </a:cxn>
                <a:cxn ang="0">
                  <a:pos x="305" y="232"/>
                </a:cxn>
                <a:cxn ang="0">
                  <a:pos x="293" y="292"/>
                </a:cxn>
                <a:cxn ang="0">
                  <a:pos x="256" y="281"/>
                </a:cxn>
                <a:cxn ang="0">
                  <a:pos x="229" y="226"/>
                </a:cxn>
                <a:cxn ang="0">
                  <a:pos x="216" y="174"/>
                </a:cxn>
                <a:cxn ang="0">
                  <a:pos x="166" y="147"/>
                </a:cxn>
                <a:cxn ang="0">
                  <a:pos x="126" y="167"/>
                </a:cxn>
                <a:cxn ang="0">
                  <a:pos x="78" y="178"/>
                </a:cxn>
                <a:cxn ang="0">
                  <a:pos x="23" y="119"/>
                </a:cxn>
                <a:cxn ang="0">
                  <a:pos x="0" y="51"/>
                </a:cxn>
              </a:cxnLst>
              <a:rect l="0" t="0" r="r" b="b"/>
              <a:pathLst>
                <a:path w="357" h="292">
                  <a:moveTo>
                    <a:pt x="0" y="51"/>
                  </a:moveTo>
                  <a:lnTo>
                    <a:pt x="24" y="19"/>
                  </a:lnTo>
                  <a:lnTo>
                    <a:pt x="79" y="0"/>
                  </a:lnTo>
                  <a:lnTo>
                    <a:pt x="143" y="11"/>
                  </a:lnTo>
                  <a:lnTo>
                    <a:pt x="194" y="11"/>
                  </a:lnTo>
                  <a:lnTo>
                    <a:pt x="240" y="24"/>
                  </a:lnTo>
                  <a:lnTo>
                    <a:pt x="292" y="36"/>
                  </a:lnTo>
                  <a:lnTo>
                    <a:pt x="328" y="71"/>
                  </a:lnTo>
                  <a:lnTo>
                    <a:pt x="341" y="134"/>
                  </a:lnTo>
                  <a:lnTo>
                    <a:pt x="324" y="169"/>
                  </a:lnTo>
                  <a:lnTo>
                    <a:pt x="357" y="197"/>
                  </a:lnTo>
                  <a:lnTo>
                    <a:pt x="305" y="232"/>
                  </a:lnTo>
                  <a:lnTo>
                    <a:pt x="293" y="292"/>
                  </a:lnTo>
                  <a:lnTo>
                    <a:pt x="256" y="281"/>
                  </a:lnTo>
                  <a:lnTo>
                    <a:pt x="229" y="226"/>
                  </a:lnTo>
                  <a:lnTo>
                    <a:pt x="216" y="174"/>
                  </a:lnTo>
                  <a:lnTo>
                    <a:pt x="166" y="147"/>
                  </a:lnTo>
                  <a:lnTo>
                    <a:pt x="126" y="167"/>
                  </a:lnTo>
                  <a:lnTo>
                    <a:pt x="78" y="178"/>
                  </a:lnTo>
                  <a:lnTo>
                    <a:pt x="23" y="119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0" name="Freeform 210"/>
            <p:cNvSpPr>
              <a:spLocks noChangeAspect="1"/>
            </p:cNvSpPr>
            <p:nvPr/>
          </p:nvSpPr>
          <p:spPr bwMode="auto">
            <a:xfrm>
              <a:off x="651893" y="4095504"/>
              <a:ext cx="98462" cy="175721"/>
            </a:xfrm>
            <a:custGeom>
              <a:avLst/>
              <a:gdLst/>
              <a:ahLst/>
              <a:cxnLst>
                <a:cxn ang="0">
                  <a:pos x="8" y="287"/>
                </a:cxn>
                <a:cxn ang="0">
                  <a:pos x="0" y="212"/>
                </a:cxn>
                <a:cxn ang="0">
                  <a:pos x="8" y="142"/>
                </a:cxn>
                <a:cxn ang="0">
                  <a:pos x="32" y="138"/>
                </a:cxn>
                <a:cxn ang="0">
                  <a:pos x="35" y="101"/>
                </a:cxn>
                <a:cxn ang="0">
                  <a:pos x="8" y="86"/>
                </a:cxn>
                <a:cxn ang="0">
                  <a:pos x="4" y="42"/>
                </a:cxn>
                <a:cxn ang="0">
                  <a:pos x="27" y="0"/>
                </a:cxn>
                <a:cxn ang="0">
                  <a:pos x="54" y="0"/>
                </a:cxn>
                <a:cxn ang="0">
                  <a:pos x="86" y="20"/>
                </a:cxn>
                <a:cxn ang="0">
                  <a:pos x="124" y="27"/>
                </a:cxn>
                <a:cxn ang="0">
                  <a:pos x="130" y="71"/>
                </a:cxn>
                <a:cxn ang="0">
                  <a:pos x="148" y="84"/>
                </a:cxn>
                <a:cxn ang="0">
                  <a:pos x="145" y="123"/>
                </a:cxn>
                <a:cxn ang="0">
                  <a:pos x="153" y="186"/>
                </a:cxn>
                <a:cxn ang="0">
                  <a:pos x="168" y="246"/>
                </a:cxn>
                <a:cxn ang="0">
                  <a:pos x="148" y="268"/>
                </a:cxn>
                <a:cxn ang="0">
                  <a:pos x="113" y="268"/>
                </a:cxn>
                <a:cxn ang="0">
                  <a:pos x="93" y="292"/>
                </a:cxn>
                <a:cxn ang="0">
                  <a:pos x="58" y="296"/>
                </a:cxn>
                <a:cxn ang="0">
                  <a:pos x="8" y="287"/>
                </a:cxn>
              </a:cxnLst>
              <a:rect l="0" t="0" r="r" b="b"/>
              <a:pathLst>
                <a:path w="168" h="296">
                  <a:moveTo>
                    <a:pt x="8" y="287"/>
                  </a:moveTo>
                  <a:lnTo>
                    <a:pt x="0" y="212"/>
                  </a:lnTo>
                  <a:lnTo>
                    <a:pt x="8" y="142"/>
                  </a:lnTo>
                  <a:lnTo>
                    <a:pt x="32" y="138"/>
                  </a:lnTo>
                  <a:lnTo>
                    <a:pt x="35" y="101"/>
                  </a:lnTo>
                  <a:lnTo>
                    <a:pt x="8" y="86"/>
                  </a:lnTo>
                  <a:lnTo>
                    <a:pt x="4" y="42"/>
                  </a:lnTo>
                  <a:lnTo>
                    <a:pt x="27" y="0"/>
                  </a:lnTo>
                  <a:lnTo>
                    <a:pt x="54" y="0"/>
                  </a:lnTo>
                  <a:lnTo>
                    <a:pt x="86" y="20"/>
                  </a:lnTo>
                  <a:lnTo>
                    <a:pt x="124" y="27"/>
                  </a:lnTo>
                  <a:lnTo>
                    <a:pt x="130" y="71"/>
                  </a:lnTo>
                  <a:lnTo>
                    <a:pt x="148" y="84"/>
                  </a:lnTo>
                  <a:lnTo>
                    <a:pt x="145" y="123"/>
                  </a:lnTo>
                  <a:lnTo>
                    <a:pt x="153" y="186"/>
                  </a:lnTo>
                  <a:lnTo>
                    <a:pt x="168" y="246"/>
                  </a:lnTo>
                  <a:lnTo>
                    <a:pt x="148" y="268"/>
                  </a:lnTo>
                  <a:lnTo>
                    <a:pt x="113" y="268"/>
                  </a:lnTo>
                  <a:lnTo>
                    <a:pt x="93" y="292"/>
                  </a:lnTo>
                  <a:lnTo>
                    <a:pt x="58" y="296"/>
                  </a:lnTo>
                  <a:lnTo>
                    <a:pt x="8" y="28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1" name="Freeform 211"/>
            <p:cNvSpPr>
              <a:spLocks noChangeAspect="1"/>
            </p:cNvSpPr>
            <p:nvPr/>
          </p:nvSpPr>
          <p:spPr bwMode="auto">
            <a:xfrm>
              <a:off x="1509916" y="4496644"/>
              <a:ext cx="45714" cy="49699"/>
            </a:xfrm>
            <a:custGeom>
              <a:avLst/>
              <a:gdLst/>
              <a:ahLst/>
              <a:cxnLst>
                <a:cxn ang="0">
                  <a:pos x="42" y="78"/>
                </a:cxn>
                <a:cxn ang="0">
                  <a:pos x="78" y="73"/>
                </a:cxn>
                <a:cxn ang="0">
                  <a:pos x="73" y="22"/>
                </a:cxn>
                <a:cxn ang="0">
                  <a:pos x="61" y="0"/>
                </a:cxn>
                <a:cxn ang="0">
                  <a:pos x="46" y="20"/>
                </a:cxn>
                <a:cxn ang="0">
                  <a:pos x="8" y="20"/>
                </a:cxn>
                <a:cxn ang="0">
                  <a:pos x="0" y="69"/>
                </a:cxn>
                <a:cxn ang="0">
                  <a:pos x="18" y="85"/>
                </a:cxn>
                <a:cxn ang="0">
                  <a:pos x="42" y="78"/>
                </a:cxn>
              </a:cxnLst>
              <a:rect l="0" t="0" r="r" b="b"/>
              <a:pathLst>
                <a:path w="78" h="85">
                  <a:moveTo>
                    <a:pt x="42" y="78"/>
                  </a:moveTo>
                  <a:lnTo>
                    <a:pt x="78" y="73"/>
                  </a:lnTo>
                  <a:lnTo>
                    <a:pt x="73" y="22"/>
                  </a:lnTo>
                  <a:lnTo>
                    <a:pt x="61" y="0"/>
                  </a:lnTo>
                  <a:lnTo>
                    <a:pt x="46" y="20"/>
                  </a:lnTo>
                  <a:lnTo>
                    <a:pt x="8" y="20"/>
                  </a:lnTo>
                  <a:lnTo>
                    <a:pt x="0" y="69"/>
                  </a:lnTo>
                  <a:lnTo>
                    <a:pt x="18" y="85"/>
                  </a:lnTo>
                  <a:lnTo>
                    <a:pt x="42" y="7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2" name="Freeform 212"/>
            <p:cNvSpPr>
              <a:spLocks noChangeAspect="1"/>
            </p:cNvSpPr>
            <p:nvPr/>
          </p:nvSpPr>
          <p:spPr bwMode="auto">
            <a:xfrm>
              <a:off x="1161784" y="5112554"/>
              <a:ext cx="437803" cy="411790"/>
            </a:xfrm>
            <a:custGeom>
              <a:avLst/>
              <a:gdLst/>
              <a:ahLst/>
              <a:cxnLst>
                <a:cxn ang="0">
                  <a:pos x="687" y="29"/>
                </a:cxn>
                <a:cxn ang="0">
                  <a:pos x="638" y="29"/>
                </a:cxn>
                <a:cxn ang="0">
                  <a:pos x="624" y="14"/>
                </a:cxn>
                <a:cxn ang="0">
                  <a:pos x="594" y="0"/>
                </a:cxn>
                <a:cxn ang="0">
                  <a:pos x="581" y="28"/>
                </a:cxn>
                <a:cxn ang="0">
                  <a:pos x="554" y="49"/>
                </a:cxn>
                <a:cxn ang="0">
                  <a:pos x="529" y="77"/>
                </a:cxn>
                <a:cxn ang="0">
                  <a:pos x="493" y="94"/>
                </a:cxn>
                <a:cxn ang="0">
                  <a:pos x="481" y="139"/>
                </a:cxn>
                <a:cxn ang="0">
                  <a:pos x="452" y="146"/>
                </a:cxn>
                <a:cxn ang="0">
                  <a:pos x="433" y="176"/>
                </a:cxn>
                <a:cxn ang="0">
                  <a:pos x="406" y="203"/>
                </a:cxn>
                <a:cxn ang="0">
                  <a:pos x="363" y="203"/>
                </a:cxn>
                <a:cxn ang="0">
                  <a:pos x="333" y="186"/>
                </a:cxn>
                <a:cxn ang="0">
                  <a:pos x="308" y="186"/>
                </a:cxn>
                <a:cxn ang="0">
                  <a:pos x="290" y="208"/>
                </a:cxn>
                <a:cxn ang="0">
                  <a:pos x="280" y="239"/>
                </a:cxn>
                <a:cxn ang="0">
                  <a:pos x="254" y="255"/>
                </a:cxn>
                <a:cxn ang="0">
                  <a:pos x="192" y="241"/>
                </a:cxn>
                <a:cxn ang="0">
                  <a:pos x="181" y="193"/>
                </a:cxn>
                <a:cxn ang="0">
                  <a:pos x="164" y="172"/>
                </a:cxn>
                <a:cxn ang="0">
                  <a:pos x="152" y="350"/>
                </a:cxn>
                <a:cxn ang="0">
                  <a:pos x="124" y="378"/>
                </a:cxn>
                <a:cxn ang="0">
                  <a:pos x="65" y="372"/>
                </a:cxn>
                <a:cxn ang="0">
                  <a:pos x="44" y="334"/>
                </a:cxn>
                <a:cxn ang="0">
                  <a:pos x="34" y="348"/>
                </a:cxn>
                <a:cxn ang="0">
                  <a:pos x="0" y="352"/>
                </a:cxn>
                <a:cxn ang="0">
                  <a:pos x="8" y="373"/>
                </a:cxn>
                <a:cxn ang="0">
                  <a:pos x="8" y="422"/>
                </a:cxn>
                <a:cxn ang="0">
                  <a:pos x="40" y="435"/>
                </a:cxn>
                <a:cxn ang="0">
                  <a:pos x="43" y="497"/>
                </a:cxn>
                <a:cxn ang="0">
                  <a:pos x="64" y="505"/>
                </a:cxn>
                <a:cxn ang="0">
                  <a:pos x="64" y="524"/>
                </a:cxn>
                <a:cxn ang="0">
                  <a:pos x="85" y="525"/>
                </a:cxn>
                <a:cxn ang="0">
                  <a:pos x="78" y="565"/>
                </a:cxn>
                <a:cxn ang="0">
                  <a:pos x="54" y="583"/>
                </a:cxn>
                <a:cxn ang="0">
                  <a:pos x="139" y="689"/>
                </a:cxn>
                <a:cxn ang="0">
                  <a:pos x="192" y="696"/>
                </a:cxn>
                <a:cxn ang="0">
                  <a:pos x="225" y="676"/>
                </a:cxn>
                <a:cxn ang="0">
                  <a:pos x="249" y="640"/>
                </a:cxn>
                <a:cxn ang="0">
                  <a:pos x="343" y="644"/>
                </a:cxn>
                <a:cxn ang="0">
                  <a:pos x="353" y="662"/>
                </a:cxn>
                <a:cxn ang="0">
                  <a:pos x="404" y="638"/>
                </a:cxn>
                <a:cxn ang="0">
                  <a:pos x="428" y="620"/>
                </a:cxn>
                <a:cxn ang="0">
                  <a:pos x="495" y="610"/>
                </a:cxn>
                <a:cxn ang="0">
                  <a:pos x="531" y="589"/>
                </a:cxn>
                <a:cxn ang="0">
                  <a:pos x="562" y="527"/>
                </a:cxn>
                <a:cxn ang="0">
                  <a:pos x="605" y="500"/>
                </a:cxn>
                <a:cxn ang="0">
                  <a:pos x="663" y="446"/>
                </a:cxn>
                <a:cxn ang="0">
                  <a:pos x="673" y="394"/>
                </a:cxn>
                <a:cxn ang="0">
                  <a:pos x="687" y="349"/>
                </a:cxn>
                <a:cxn ang="0">
                  <a:pos x="722" y="343"/>
                </a:cxn>
                <a:cxn ang="0">
                  <a:pos x="748" y="293"/>
                </a:cxn>
                <a:cxn ang="0">
                  <a:pos x="712" y="280"/>
                </a:cxn>
                <a:cxn ang="0">
                  <a:pos x="702" y="242"/>
                </a:cxn>
                <a:cxn ang="0">
                  <a:pos x="684" y="208"/>
                </a:cxn>
                <a:cxn ang="0">
                  <a:pos x="687" y="163"/>
                </a:cxn>
                <a:cxn ang="0">
                  <a:pos x="687" y="108"/>
                </a:cxn>
                <a:cxn ang="0">
                  <a:pos x="687" y="29"/>
                </a:cxn>
              </a:cxnLst>
              <a:rect l="0" t="0" r="r" b="b"/>
              <a:pathLst>
                <a:path w="748" h="696">
                  <a:moveTo>
                    <a:pt x="687" y="29"/>
                  </a:moveTo>
                  <a:lnTo>
                    <a:pt x="638" y="29"/>
                  </a:lnTo>
                  <a:lnTo>
                    <a:pt x="624" y="14"/>
                  </a:lnTo>
                  <a:lnTo>
                    <a:pt x="594" y="0"/>
                  </a:lnTo>
                  <a:lnTo>
                    <a:pt x="581" y="28"/>
                  </a:lnTo>
                  <a:lnTo>
                    <a:pt x="554" y="49"/>
                  </a:lnTo>
                  <a:lnTo>
                    <a:pt x="529" y="77"/>
                  </a:lnTo>
                  <a:lnTo>
                    <a:pt x="493" y="94"/>
                  </a:lnTo>
                  <a:lnTo>
                    <a:pt x="481" y="139"/>
                  </a:lnTo>
                  <a:lnTo>
                    <a:pt x="452" y="146"/>
                  </a:lnTo>
                  <a:lnTo>
                    <a:pt x="433" y="176"/>
                  </a:lnTo>
                  <a:lnTo>
                    <a:pt x="406" y="203"/>
                  </a:lnTo>
                  <a:lnTo>
                    <a:pt x="363" y="203"/>
                  </a:lnTo>
                  <a:lnTo>
                    <a:pt x="333" y="186"/>
                  </a:lnTo>
                  <a:lnTo>
                    <a:pt x="308" y="186"/>
                  </a:lnTo>
                  <a:lnTo>
                    <a:pt x="290" y="208"/>
                  </a:lnTo>
                  <a:lnTo>
                    <a:pt x="280" y="239"/>
                  </a:lnTo>
                  <a:lnTo>
                    <a:pt x="254" y="255"/>
                  </a:lnTo>
                  <a:lnTo>
                    <a:pt x="192" y="241"/>
                  </a:lnTo>
                  <a:lnTo>
                    <a:pt x="181" y="193"/>
                  </a:lnTo>
                  <a:lnTo>
                    <a:pt x="164" y="172"/>
                  </a:lnTo>
                  <a:lnTo>
                    <a:pt x="152" y="350"/>
                  </a:lnTo>
                  <a:lnTo>
                    <a:pt x="124" y="378"/>
                  </a:lnTo>
                  <a:lnTo>
                    <a:pt x="65" y="372"/>
                  </a:lnTo>
                  <a:lnTo>
                    <a:pt x="44" y="334"/>
                  </a:lnTo>
                  <a:lnTo>
                    <a:pt x="34" y="348"/>
                  </a:lnTo>
                  <a:lnTo>
                    <a:pt x="0" y="352"/>
                  </a:lnTo>
                  <a:lnTo>
                    <a:pt x="8" y="373"/>
                  </a:lnTo>
                  <a:lnTo>
                    <a:pt x="8" y="422"/>
                  </a:lnTo>
                  <a:lnTo>
                    <a:pt x="40" y="435"/>
                  </a:lnTo>
                  <a:lnTo>
                    <a:pt x="43" y="497"/>
                  </a:lnTo>
                  <a:lnTo>
                    <a:pt x="64" y="505"/>
                  </a:lnTo>
                  <a:lnTo>
                    <a:pt x="64" y="524"/>
                  </a:lnTo>
                  <a:lnTo>
                    <a:pt x="85" y="525"/>
                  </a:lnTo>
                  <a:lnTo>
                    <a:pt x="78" y="565"/>
                  </a:lnTo>
                  <a:lnTo>
                    <a:pt x="54" y="583"/>
                  </a:lnTo>
                  <a:lnTo>
                    <a:pt x="139" y="689"/>
                  </a:lnTo>
                  <a:lnTo>
                    <a:pt x="192" y="696"/>
                  </a:lnTo>
                  <a:lnTo>
                    <a:pt x="225" y="676"/>
                  </a:lnTo>
                  <a:lnTo>
                    <a:pt x="249" y="640"/>
                  </a:lnTo>
                  <a:lnTo>
                    <a:pt x="343" y="644"/>
                  </a:lnTo>
                  <a:lnTo>
                    <a:pt x="353" y="662"/>
                  </a:lnTo>
                  <a:lnTo>
                    <a:pt x="404" y="638"/>
                  </a:lnTo>
                  <a:lnTo>
                    <a:pt x="428" y="620"/>
                  </a:lnTo>
                  <a:lnTo>
                    <a:pt x="495" y="610"/>
                  </a:lnTo>
                  <a:lnTo>
                    <a:pt x="531" y="589"/>
                  </a:lnTo>
                  <a:lnTo>
                    <a:pt x="562" y="527"/>
                  </a:lnTo>
                  <a:lnTo>
                    <a:pt x="605" y="500"/>
                  </a:lnTo>
                  <a:lnTo>
                    <a:pt x="663" y="446"/>
                  </a:lnTo>
                  <a:lnTo>
                    <a:pt x="673" y="394"/>
                  </a:lnTo>
                  <a:lnTo>
                    <a:pt x="687" y="349"/>
                  </a:lnTo>
                  <a:lnTo>
                    <a:pt x="722" y="343"/>
                  </a:lnTo>
                  <a:lnTo>
                    <a:pt x="748" y="293"/>
                  </a:lnTo>
                  <a:lnTo>
                    <a:pt x="712" y="280"/>
                  </a:lnTo>
                  <a:lnTo>
                    <a:pt x="702" y="242"/>
                  </a:lnTo>
                  <a:lnTo>
                    <a:pt x="684" y="208"/>
                  </a:lnTo>
                  <a:lnTo>
                    <a:pt x="687" y="163"/>
                  </a:lnTo>
                  <a:lnTo>
                    <a:pt x="687" y="108"/>
                  </a:lnTo>
                  <a:lnTo>
                    <a:pt x="687" y="2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3" name="Freeform 213"/>
            <p:cNvSpPr>
              <a:spLocks noChangeAspect="1"/>
            </p:cNvSpPr>
            <p:nvPr/>
          </p:nvSpPr>
          <p:spPr bwMode="auto">
            <a:xfrm>
              <a:off x="1532773" y="4746913"/>
              <a:ext cx="277803" cy="539587"/>
            </a:xfrm>
            <a:custGeom>
              <a:avLst/>
              <a:gdLst/>
              <a:ahLst/>
              <a:cxnLst>
                <a:cxn ang="0">
                  <a:pos x="77" y="899"/>
                </a:cxn>
                <a:cxn ang="0">
                  <a:pos x="49" y="827"/>
                </a:cxn>
                <a:cxn ang="0">
                  <a:pos x="52" y="727"/>
                </a:cxn>
                <a:cxn ang="0">
                  <a:pos x="62" y="613"/>
                </a:cxn>
                <a:cxn ang="0">
                  <a:pos x="86" y="535"/>
                </a:cxn>
                <a:cxn ang="0">
                  <a:pos x="131" y="492"/>
                </a:cxn>
                <a:cxn ang="0">
                  <a:pos x="111" y="417"/>
                </a:cxn>
                <a:cxn ang="0">
                  <a:pos x="103" y="309"/>
                </a:cxn>
                <a:cxn ang="0">
                  <a:pos x="18" y="261"/>
                </a:cxn>
                <a:cxn ang="0">
                  <a:pos x="73" y="239"/>
                </a:cxn>
                <a:cxn ang="0">
                  <a:pos x="123" y="192"/>
                </a:cxn>
                <a:cxn ang="0">
                  <a:pos x="192" y="217"/>
                </a:cxn>
                <a:cxn ang="0">
                  <a:pos x="174" y="299"/>
                </a:cxn>
                <a:cxn ang="0">
                  <a:pos x="225" y="314"/>
                </a:cxn>
                <a:cxn ang="0">
                  <a:pos x="269" y="259"/>
                </a:cxn>
                <a:cxn ang="0">
                  <a:pos x="249" y="186"/>
                </a:cxn>
                <a:cxn ang="0">
                  <a:pos x="217" y="142"/>
                </a:cxn>
                <a:cxn ang="0">
                  <a:pos x="204" y="85"/>
                </a:cxn>
                <a:cxn ang="0">
                  <a:pos x="206" y="0"/>
                </a:cxn>
                <a:cxn ang="0">
                  <a:pos x="253" y="58"/>
                </a:cxn>
                <a:cxn ang="0">
                  <a:pos x="356" y="35"/>
                </a:cxn>
                <a:cxn ang="0">
                  <a:pos x="420" y="16"/>
                </a:cxn>
                <a:cxn ang="0">
                  <a:pos x="472" y="95"/>
                </a:cxn>
                <a:cxn ang="0">
                  <a:pos x="442" y="296"/>
                </a:cxn>
                <a:cxn ang="0">
                  <a:pos x="358" y="338"/>
                </a:cxn>
                <a:cxn ang="0">
                  <a:pos x="320" y="372"/>
                </a:cxn>
                <a:cxn ang="0">
                  <a:pos x="297" y="443"/>
                </a:cxn>
                <a:cxn ang="0">
                  <a:pos x="231" y="472"/>
                </a:cxn>
                <a:cxn ang="0">
                  <a:pos x="216" y="596"/>
                </a:cxn>
                <a:cxn ang="0">
                  <a:pos x="228" y="696"/>
                </a:cxn>
                <a:cxn ang="0">
                  <a:pos x="216" y="743"/>
                </a:cxn>
                <a:cxn ang="0">
                  <a:pos x="176" y="767"/>
                </a:cxn>
                <a:cxn ang="0">
                  <a:pos x="125" y="785"/>
                </a:cxn>
                <a:cxn ang="0">
                  <a:pos x="121" y="851"/>
                </a:cxn>
                <a:cxn ang="0">
                  <a:pos x="113" y="912"/>
                </a:cxn>
              </a:cxnLst>
              <a:rect l="0" t="0" r="r" b="b"/>
              <a:pathLst>
                <a:path w="472" h="912">
                  <a:moveTo>
                    <a:pt x="113" y="912"/>
                  </a:moveTo>
                  <a:lnTo>
                    <a:pt x="77" y="899"/>
                  </a:lnTo>
                  <a:lnTo>
                    <a:pt x="67" y="861"/>
                  </a:lnTo>
                  <a:lnTo>
                    <a:pt x="49" y="827"/>
                  </a:lnTo>
                  <a:lnTo>
                    <a:pt x="52" y="782"/>
                  </a:lnTo>
                  <a:lnTo>
                    <a:pt x="52" y="727"/>
                  </a:lnTo>
                  <a:lnTo>
                    <a:pt x="52" y="648"/>
                  </a:lnTo>
                  <a:lnTo>
                    <a:pt x="62" y="613"/>
                  </a:lnTo>
                  <a:lnTo>
                    <a:pt x="87" y="596"/>
                  </a:lnTo>
                  <a:lnTo>
                    <a:pt x="86" y="535"/>
                  </a:lnTo>
                  <a:lnTo>
                    <a:pt x="115" y="516"/>
                  </a:lnTo>
                  <a:lnTo>
                    <a:pt x="131" y="492"/>
                  </a:lnTo>
                  <a:lnTo>
                    <a:pt x="113" y="451"/>
                  </a:lnTo>
                  <a:lnTo>
                    <a:pt x="111" y="417"/>
                  </a:lnTo>
                  <a:lnTo>
                    <a:pt x="127" y="354"/>
                  </a:lnTo>
                  <a:lnTo>
                    <a:pt x="103" y="309"/>
                  </a:lnTo>
                  <a:lnTo>
                    <a:pt x="38" y="296"/>
                  </a:lnTo>
                  <a:lnTo>
                    <a:pt x="18" y="261"/>
                  </a:lnTo>
                  <a:lnTo>
                    <a:pt x="0" y="255"/>
                  </a:lnTo>
                  <a:lnTo>
                    <a:pt x="73" y="239"/>
                  </a:lnTo>
                  <a:lnTo>
                    <a:pt x="86" y="210"/>
                  </a:lnTo>
                  <a:lnTo>
                    <a:pt x="123" y="192"/>
                  </a:lnTo>
                  <a:lnTo>
                    <a:pt x="156" y="207"/>
                  </a:lnTo>
                  <a:lnTo>
                    <a:pt x="192" y="217"/>
                  </a:lnTo>
                  <a:lnTo>
                    <a:pt x="190" y="252"/>
                  </a:lnTo>
                  <a:lnTo>
                    <a:pt x="174" y="299"/>
                  </a:lnTo>
                  <a:lnTo>
                    <a:pt x="194" y="320"/>
                  </a:lnTo>
                  <a:lnTo>
                    <a:pt x="225" y="314"/>
                  </a:lnTo>
                  <a:lnTo>
                    <a:pt x="239" y="280"/>
                  </a:lnTo>
                  <a:lnTo>
                    <a:pt x="269" y="259"/>
                  </a:lnTo>
                  <a:lnTo>
                    <a:pt x="261" y="217"/>
                  </a:lnTo>
                  <a:lnTo>
                    <a:pt x="249" y="186"/>
                  </a:lnTo>
                  <a:lnTo>
                    <a:pt x="230" y="158"/>
                  </a:lnTo>
                  <a:lnTo>
                    <a:pt x="217" y="142"/>
                  </a:lnTo>
                  <a:lnTo>
                    <a:pt x="197" y="118"/>
                  </a:lnTo>
                  <a:lnTo>
                    <a:pt x="204" y="85"/>
                  </a:lnTo>
                  <a:lnTo>
                    <a:pt x="214" y="45"/>
                  </a:lnTo>
                  <a:lnTo>
                    <a:pt x="206" y="0"/>
                  </a:lnTo>
                  <a:lnTo>
                    <a:pt x="244" y="31"/>
                  </a:lnTo>
                  <a:lnTo>
                    <a:pt x="253" y="58"/>
                  </a:lnTo>
                  <a:lnTo>
                    <a:pt x="346" y="65"/>
                  </a:lnTo>
                  <a:lnTo>
                    <a:pt x="356" y="35"/>
                  </a:lnTo>
                  <a:lnTo>
                    <a:pt x="407" y="35"/>
                  </a:lnTo>
                  <a:lnTo>
                    <a:pt x="420" y="16"/>
                  </a:lnTo>
                  <a:lnTo>
                    <a:pt x="472" y="4"/>
                  </a:lnTo>
                  <a:lnTo>
                    <a:pt x="472" y="95"/>
                  </a:lnTo>
                  <a:lnTo>
                    <a:pt x="472" y="265"/>
                  </a:lnTo>
                  <a:lnTo>
                    <a:pt x="442" y="296"/>
                  </a:lnTo>
                  <a:lnTo>
                    <a:pt x="433" y="326"/>
                  </a:lnTo>
                  <a:lnTo>
                    <a:pt x="358" y="338"/>
                  </a:lnTo>
                  <a:lnTo>
                    <a:pt x="354" y="359"/>
                  </a:lnTo>
                  <a:lnTo>
                    <a:pt x="320" y="372"/>
                  </a:lnTo>
                  <a:lnTo>
                    <a:pt x="304" y="385"/>
                  </a:lnTo>
                  <a:lnTo>
                    <a:pt x="297" y="443"/>
                  </a:lnTo>
                  <a:lnTo>
                    <a:pt x="258" y="452"/>
                  </a:lnTo>
                  <a:lnTo>
                    <a:pt x="231" y="472"/>
                  </a:lnTo>
                  <a:lnTo>
                    <a:pt x="220" y="499"/>
                  </a:lnTo>
                  <a:lnTo>
                    <a:pt x="216" y="596"/>
                  </a:lnTo>
                  <a:lnTo>
                    <a:pt x="228" y="605"/>
                  </a:lnTo>
                  <a:lnTo>
                    <a:pt x="228" y="696"/>
                  </a:lnTo>
                  <a:lnTo>
                    <a:pt x="231" y="737"/>
                  </a:lnTo>
                  <a:lnTo>
                    <a:pt x="216" y="743"/>
                  </a:lnTo>
                  <a:lnTo>
                    <a:pt x="211" y="765"/>
                  </a:lnTo>
                  <a:lnTo>
                    <a:pt x="176" y="767"/>
                  </a:lnTo>
                  <a:lnTo>
                    <a:pt x="169" y="781"/>
                  </a:lnTo>
                  <a:lnTo>
                    <a:pt x="125" y="785"/>
                  </a:lnTo>
                  <a:lnTo>
                    <a:pt x="121" y="820"/>
                  </a:lnTo>
                  <a:lnTo>
                    <a:pt x="121" y="851"/>
                  </a:lnTo>
                  <a:lnTo>
                    <a:pt x="121" y="885"/>
                  </a:lnTo>
                  <a:lnTo>
                    <a:pt x="113" y="9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4" name="Freeform 214"/>
            <p:cNvSpPr>
              <a:spLocks noChangeAspect="1"/>
            </p:cNvSpPr>
            <p:nvPr/>
          </p:nvSpPr>
          <p:spPr bwMode="auto">
            <a:xfrm>
              <a:off x="1520466" y="4457595"/>
              <a:ext cx="290110" cy="328367"/>
            </a:xfrm>
            <a:custGeom>
              <a:avLst/>
              <a:gdLst/>
              <a:ahLst/>
              <a:cxnLst>
                <a:cxn ang="0">
                  <a:pos x="493" y="492"/>
                </a:cxn>
                <a:cxn ang="0">
                  <a:pos x="441" y="504"/>
                </a:cxn>
                <a:cxn ang="0">
                  <a:pos x="428" y="523"/>
                </a:cxn>
                <a:cxn ang="0">
                  <a:pos x="377" y="523"/>
                </a:cxn>
                <a:cxn ang="0">
                  <a:pos x="367" y="553"/>
                </a:cxn>
                <a:cxn ang="0">
                  <a:pos x="274" y="546"/>
                </a:cxn>
                <a:cxn ang="0">
                  <a:pos x="265" y="519"/>
                </a:cxn>
                <a:cxn ang="0">
                  <a:pos x="227" y="488"/>
                </a:cxn>
                <a:cxn ang="0">
                  <a:pos x="191" y="467"/>
                </a:cxn>
                <a:cxn ang="0">
                  <a:pos x="167" y="457"/>
                </a:cxn>
                <a:cxn ang="0">
                  <a:pos x="138" y="413"/>
                </a:cxn>
                <a:cxn ang="0">
                  <a:pos x="97" y="391"/>
                </a:cxn>
                <a:cxn ang="0">
                  <a:pos x="66" y="357"/>
                </a:cxn>
                <a:cxn ang="0">
                  <a:pos x="59" y="332"/>
                </a:cxn>
                <a:cxn ang="0">
                  <a:pos x="25" y="334"/>
                </a:cxn>
                <a:cxn ang="0">
                  <a:pos x="29" y="310"/>
                </a:cxn>
                <a:cxn ang="0">
                  <a:pos x="25" y="278"/>
                </a:cxn>
                <a:cxn ang="0">
                  <a:pos x="15" y="249"/>
                </a:cxn>
                <a:cxn ang="0">
                  <a:pos x="7" y="226"/>
                </a:cxn>
                <a:cxn ang="0">
                  <a:pos x="11" y="182"/>
                </a:cxn>
                <a:cxn ang="0">
                  <a:pos x="0" y="150"/>
                </a:cxn>
                <a:cxn ang="0">
                  <a:pos x="24" y="143"/>
                </a:cxn>
                <a:cxn ang="0">
                  <a:pos x="60" y="138"/>
                </a:cxn>
                <a:cxn ang="0">
                  <a:pos x="55" y="87"/>
                </a:cxn>
                <a:cxn ang="0">
                  <a:pos x="43" y="65"/>
                </a:cxn>
                <a:cxn ang="0">
                  <a:pos x="33" y="13"/>
                </a:cxn>
                <a:cxn ang="0">
                  <a:pos x="56" y="0"/>
                </a:cxn>
                <a:cxn ang="0">
                  <a:pos x="107" y="3"/>
                </a:cxn>
                <a:cxn ang="0">
                  <a:pos x="197" y="0"/>
                </a:cxn>
                <a:cxn ang="0">
                  <a:pos x="232" y="0"/>
                </a:cxn>
                <a:cxn ang="0">
                  <a:pos x="324" y="77"/>
                </a:cxn>
                <a:cxn ang="0">
                  <a:pos x="372" y="91"/>
                </a:cxn>
                <a:cxn ang="0">
                  <a:pos x="377" y="129"/>
                </a:cxn>
                <a:cxn ang="0">
                  <a:pos x="446" y="168"/>
                </a:cxn>
                <a:cxn ang="0">
                  <a:pos x="448" y="194"/>
                </a:cxn>
                <a:cxn ang="0">
                  <a:pos x="449" y="227"/>
                </a:cxn>
                <a:cxn ang="0">
                  <a:pos x="431" y="247"/>
                </a:cxn>
                <a:cxn ang="0">
                  <a:pos x="427" y="281"/>
                </a:cxn>
                <a:cxn ang="0">
                  <a:pos x="452" y="286"/>
                </a:cxn>
                <a:cxn ang="0">
                  <a:pos x="448" y="337"/>
                </a:cxn>
                <a:cxn ang="0">
                  <a:pos x="459" y="391"/>
                </a:cxn>
                <a:cxn ang="0">
                  <a:pos x="462" y="449"/>
                </a:cxn>
                <a:cxn ang="0">
                  <a:pos x="482" y="467"/>
                </a:cxn>
                <a:cxn ang="0">
                  <a:pos x="493" y="492"/>
                </a:cxn>
              </a:cxnLst>
              <a:rect l="0" t="0" r="r" b="b"/>
              <a:pathLst>
                <a:path w="493" h="553">
                  <a:moveTo>
                    <a:pt x="493" y="492"/>
                  </a:moveTo>
                  <a:lnTo>
                    <a:pt x="441" y="504"/>
                  </a:lnTo>
                  <a:lnTo>
                    <a:pt x="428" y="523"/>
                  </a:lnTo>
                  <a:lnTo>
                    <a:pt x="377" y="523"/>
                  </a:lnTo>
                  <a:lnTo>
                    <a:pt x="367" y="553"/>
                  </a:lnTo>
                  <a:lnTo>
                    <a:pt x="274" y="546"/>
                  </a:lnTo>
                  <a:lnTo>
                    <a:pt x="265" y="519"/>
                  </a:lnTo>
                  <a:lnTo>
                    <a:pt x="227" y="488"/>
                  </a:lnTo>
                  <a:lnTo>
                    <a:pt x="191" y="467"/>
                  </a:lnTo>
                  <a:lnTo>
                    <a:pt x="167" y="457"/>
                  </a:lnTo>
                  <a:lnTo>
                    <a:pt x="138" y="413"/>
                  </a:lnTo>
                  <a:lnTo>
                    <a:pt x="97" y="391"/>
                  </a:lnTo>
                  <a:lnTo>
                    <a:pt x="66" y="357"/>
                  </a:lnTo>
                  <a:lnTo>
                    <a:pt x="59" y="332"/>
                  </a:lnTo>
                  <a:lnTo>
                    <a:pt x="25" y="334"/>
                  </a:lnTo>
                  <a:lnTo>
                    <a:pt x="29" y="310"/>
                  </a:lnTo>
                  <a:lnTo>
                    <a:pt x="25" y="278"/>
                  </a:lnTo>
                  <a:lnTo>
                    <a:pt x="15" y="249"/>
                  </a:lnTo>
                  <a:lnTo>
                    <a:pt x="7" y="226"/>
                  </a:lnTo>
                  <a:lnTo>
                    <a:pt x="11" y="182"/>
                  </a:lnTo>
                  <a:lnTo>
                    <a:pt x="0" y="150"/>
                  </a:lnTo>
                  <a:lnTo>
                    <a:pt x="24" y="143"/>
                  </a:lnTo>
                  <a:lnTo>
                    <a:pt x="60" y="138"/>
                  </a:lnTo>
                  <a:lnTo>
                    <a:pt x="55" y="87"/>
                  </a:lnTo>
                  <a:lnTo>
                    <a:pt x="43" y="65"/>
                  </a:lnTo>
                  <a:lnTo>
                    <a:pt x="33" y="13"/>
                  </a:lnTo>
                  <a:lnTo>
                    <a:pt x="56" y="0"/>
                  </a:lnTo>
                  <a:lnTo>
                    <a:pt x="107" y="3"/>
                  </a:lnTo>
                  <a:lnTo>
                    <a:pt x="197" y="0"/>
                  </a:lnTo>
                  <a:lnTo>
                    <a:pt x="232" y="0"/>
                  </a:lnTo>
                  <a:lnTo>
                    <a:pt x="324" y="77"/>
                  </a:lnTo>
                  <a:lnTo>
                    <a:pt x="372" y="91"/>
                  </a:lnTo>
                  <a:lnTo>
                    <a:pt x="377" y="129"/>
                  </a:lnTo>
                  <a:lnTo>
                    <a:pt x="446" y="168"/>
                  </a:lnTo>
                  <a:lnTo>
                    <a:pt x="448" y="194"/>
                  </a:lnTo>
                  <a:lnTo>
                    <a:pt x="449" y="227"/>
                  </a:lnTo>
                  <a:lnTo>
                    <a:pt x="431" y="247"/>
                  </a:lnTo>
                  <a:lnTo>
                    <a:pt x="427" y="281"/>
                  </a:lnTo>
                  <a:lnTo>
                    <a:pt x="452" y="286"/>
                  </a:lnTo>
                  <a:lnTo>
                    <a:pt x="448" y="337"/>
                  </a:lnTo>
                  <a:lnTo>
                    <a:pt x="459" y="391"/>
                  </a:lnTo>
                  <a:lnTo>
                    <a:pt x="462" y="449"/>
                  </a:lnTo>
                  <a:lnTo>
                    <a:pt x="482" y="467"/>
                  </a:lnTo>
                  <a:lnTo>
                    <a:pt x="493" y="49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5" name="Freeform 215"/>
            <p:cNvSpPr>
              <a:spLocks noChangeAspect="1"/>
            </p:cNvSpPr>
            <p:nvPr/>
          </p:nvSpPr>
          <p:spPr bwMode="auto">
            <a:xfrm>
              <a:off x="1831675" y="4049355"/>
              <a:ext cx="58022" cy="55024"/>
            </a:xfrm>
            <a:custGeom>
              <a:avLst/>
              <a:gdLst/>
              <a:ahLst/>
              <a:cxnLst>
                <a:cxn ang="0">
                  <a:pos x="51" y="95"/>
                </a:cxn>
                <a:cxn ang="0">
                  <a:pos x="0" y="88"/>
                </a:cxn>
                <a:cxn ang="0">
                  <a:pos x="8" y="0"/>
                </a:cxn>
                <a:cxn ang="0">
                  <a:pos x="97" y="56"/>
                </a:cxn>
                <a:cxn ang="0">
                  <a:pos x="51" y="95"/>
                </a:cxn>
              </a:cxnLst>
              <a:rect l="0" t="0" r="r" b="b"/>
              <a:pathLst>
                <a:path w="97" h="95">
                  <a:moveTo>
                    <a:pt x="51" y="95"/>
                  </a:moveTo>
                  <a:lnTo>
                    <a:pt x="0" y="88"/>
                  </a:lnTo>
                  <a:lnTo>
                    <a:pt x="8" y="0"/>
                  </a:lnTo>
                  <a:lnTo>
                    <a:pt x="97" y="56"/>
                  </a:lnTo>
                  <a:lnTo>
                    <a:pt x="51" y="9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6" name="Freeform 216"/>
            <p:cNvSpPr>
              <a:spLocks noChangeAspect="1"/>
            </p:cNvSpPr>
            <p:nvPr/>
          </p:nvSpPr>
          <p:spPr bwMode="auto">
            <a:xfrm>
              <a:off x="1430795" y="5325549"/>
              <a:ext cx="68572" cy="69223"/>
            </a:xfrm>
            <a:custGeom>
              <a:avLst/>
              <a:gdLst/>
              <a:ahLst/>
              <a:cxnLst>
                <a:cxn ang="0">
                  <a:pos x="40" y="6"/>
                </a:cxn>
                <a:cxn ang="0">
                  <a:pos x="30" y="32"/>
                </a:cxn>
                <a:cxn ang="0">
                  <a:pos x="0" y="35"/>
                </a:cxn>
                <a:cxn ang="0">
                  <a:pos x="2" y="107"/>
                </a:cxn>
                <a:cxn ang="0">
                  <a:pos x="42" y="103"/>
                </a:cxn>
                <a:cxn ang="0">
                  <a:pos x="51" y="117"/>
                </a:cxn>
                <a:cxn ang="0">
                  <a:pos x="71" y="114"/>
                </a:cxn>
                <a:cxn ang="0">
                  <a:pos x="88" y="96"/>
                </a:cxn>
                <a:cxn ang="0">
                  <a:pos x="95" y="72"/>
                </a:cxn>
                <a:cxn ang="0">
                  <a:pos x="115" y="72"/>
                </a:cxn>
                <a:cxn ang="0">
                  <a:pos x="115" y="3"/>
                </a:cxn>
                <a:cxn ang="0">
                  <a:pos x="74" y="0"/>
                </a:cxn>
                <a:cxn ang="0">
                  <a:pos x="40" y="6"/>
                </a:cxn>
              </a:cxnLst>
              <a:rect l="0" t="0" r="r" b="b"/>
              <a:pathLst>
                <a:path w="115" h="117">
                  <a:moveTo>
                    <a:pt x="40" y="6"/>
                  </a:moveTo>
                  <a:lnTo>
                    <a:pt x="30" y="32"/>
                  </a:lnTo>
                  <a:lnTo>
                    <a:pt x="0" y="35"/>
                  </a:lnTo>
                  <a:lnTo>
                    <a:pt x="2" y="107"/>
                  </a:lnTo>
                  <a:lnTo>
                    <a:pt x="42" y="103"/>
                  </a:lnTo>
                  <a:lnTo>
                    <a:pt x="51" y="117"/>
                  </a:lnTo>
                  <a:lnTo>
                    <a:pt x="71" y="114"/>
                  </a:lnTo>
                  <a:lnTo>
                    <a:pt x="88" y="96"/>
                  </a:lnTo>
                  <a:lnTo>
                    <a:pt x="95" y="72"/>
                  </a:lnTo>
                  <a:lnTo>
                    <a:pt x="115" y="72"/>
                  </a:lnTo>
                  <a:lnTo>
                    <a:pt x="115" y="3"/>
                  </a:lnTo>
                  <a:lnTo>
                    <a:pt x="74" y="0"/>
                  </a:lnTo>
                  <a:lnTo>
                    <a:pt x="40" y="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7" name="Freeform 217"/>
            <p:cNvSpPr>
              <a:spLocks noChangeAspect="1"/>
            </p:cNvSpPr>
            <p:nvPr/>
          </p:nvSpPr>
          <p:spPr bwMode="auto">
            <a:xfrm>
              <a:off x="1858048" y="3831036"/>
              <a:ext cx="269011" cy="204120"/>
            </a:xfrm>
            <a:custGeom>
              <a:avLst/>
              <a:gdLst/>
              <a:ahLst/>
              <a:cxnLst>
                <a:cxn ang="0">
                  <a:pos x="162" y="186"/>
                </a:cxn>
                <a:cxn ang="0">
                  <a:pos x="162" y="146"/>
                </a:cxn>
                <a:cxn ang="0">
                  <a:pos x="162" y="114"/>
                </a:cxn>
                <a:cxn ang="0">
                  <a:pos x="142" y="107"/>
                </a:cxn>
                <a:cxn ang="0">
                  <a:pos x="87" y="103"/>
                </a:cxn>
                <a:cxn ang="0">
                  <a:pos x="35" y="107"/>
                </a:cxn>
                <a:cxn ang="0">
                  <a:pos x="0" y="126"/>
                </a:cxn>
                <a:cxn ang="0">
                  <a:pos x="4" y="229"/>
                </a:cxn>
                <a:cxn ang="0">
                  <a:pos x="4" y="289"/>
                </a:cxn>
                <a:cxn ang="0">
                  <a:pos x="24" y="320"/>
                </a:cxn>
                <a:cxn ang="0">
                  <a:pos x="70" y="344"/>
                </a:cxn>
                <a:cxn ang="0">
                  <a:pos x="107" y="308"/>
                </a:cxn>
                <a:cxn ang="0">
                  <a:pos x="149" y="267"/>
                </a:cxn>
                <a:cxn ang="0">
                  <a:pos x="168" y="249"/>
                </a:cxn>
                <a:cxn ang="0">
                  <a:pos x="284" y="245"/>
                </a:cxn>
                <a:cxn ang="0">
                  <a:pos x="320" y="213"/>
                </a:cxn>
                <a:cxn ang="0">
                  <a:pos x="422" y="193"/>
                </a:cxn>
                <a:cxn ang="0">
                  <a:pos x="422" y="158"/>
                </a:cxn>
                <a:cxn ang="0">
                  <a:pos x="458" y="126"/>
                </a:cxn>
                <a:cxn ang="0">
                  <a:pos x="431" y="55"/>
                </a:cxn>
                <a:cxn ang="0">
                  <a:pos x="410" y="0"/>
                </a:cxn>
                <a:cxn ang="0">
                  <a:pos x="276" y="24"/>
                </a:cxn>
                <a:cxn ang="0">
                  <a:pos x="236" y="70"/>
                </a:cxn>
                <a:cxn ang="0">
                  <a:pos x="221" y="138"/>
                </a:cxn>
                <a:cxn ang="0">
                  <a:pos x="162" y="186"/>
                </a:cxn>
              </a:cxnLst>
              <a:rect l="0" t="0" r="r" b="b"/>
              <a:pathLst>
                <a:path w="458" h="344">
                  <a:moveTo>
                    <a:pt x="162" y="186"/>
                  </a:moveTo>
                  <a:lnTo>
                    <a:pt x="162" y="146"/>
                  </a:lnTo>
                  <a:lnTo>
                    <a:pt x="162" y="114"/>
                  </a:lnTo>
                  <a:lnTo>
                    <a:pt x="142" y="107"/>
                  </a:lnTo>
                  <a:lnTo>
                    <a:pt x="87" y="103"/>
                  </a:lnTo>
                  <a:lnTo>
                    <a:pt x="35" y="107"/>
                  </a:lnTo>
                  <a:lnTo>
                    <a:pt x="0" y="126"/>
                  </a:lnTo>
                  <a:lnTo>
                    <a:pt x="4" y="229"/>
                  </a:lnTo>
                  <a:lnTo>
                    <a:pt x="4" y="289"/>
                  </a:lnTo>
                  <a:lnTo>
                    <a:pt x="24" y="320"/>
                  </a:lnTo>
                  <a:lnTo>
                    <a:pt x="70" y="344"/>
                  </a:lnTo>
                  <a:lnTo>
                    <a:pt x="107" y="308"/>
                  </a:lnTo>
                  <a:lnTo>
                    <a:pt x="149" y="267"/>
                  </a:lnTo>
                  <a:lnTo>
                    <a:pt x="168" y="249"/>
                  </a:lnTo>
                  <a:lnTo>
                    <a:pt x="284" y="245"/>
                  </a:lnTo>
                  <a:lnTo>
                    <a:pt x="320" y="213"/>
                  </a:lnTo>
                  <a:lnTo>
                    <a:pt x="422" y="193"/>
                  </a:lnTo>
                  <a:lnTo>
                    <a:pt x="422" y="158"/>
                  </a:lnTo>
                  <a:lnTo>
                    <a:pt x="458" y="126"/>
                  </a:lnTo>
                  <a:lnTo>
                    <a:pt x="431" y="55"/>
                  </a:lnTo>
                  <a:lnTo>
                    <a:pt x="410" y="0"/>
                  </a:lnTo>
                  <a:lnTo>
                    <a:pt x="276" y="24"/>
                  </a:lnTo>
                  <a:lnTo>
                    <a:pt x="236" y="70"/>
                  </a:lnTo>
                  <a:lnTo>
                    <a:pt x="221" y="138"/>
                  </a:lnTo>
                  <a:lnTo>
                    <a:pt x="162" y="18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8" name="Freeform 218"/>
            <p:cNvSpPr>
              <a:spLocks noChangeAspect="1"/>
            </p:cNvSpPr>
            <p:nvPr/>
          </p:nvSpPr>
          <p:spPr bwMode="auto">
            <a:xfrm>
              <a:off x="1858048" y="3831036"/>
              <a:ext cx="269011" cy="204120"/>
            </a:xfrm>
            <a:custGeom>
              <a:avLst/>
              <a:gdLst/>
              <a:ahLst/>
              <a:cxnLst>
                <a:cxn ang="0">
                  <a:pos x="162" y="186"/>
                </a:cxn>
                <a:cxn ang="0">
                  <a:pos x="162" y="146"/>
                </a:cxn>
                <a:cxn ang="0">
                  <a:pos x="162" y="114"/>
                </a:cxn>
                <a:cxn ang="0">
                  <a:pos x="142" y="107"/>
                </a:cxn>
                <a:cxn ang="0">
                  <a:pos x="87" y="103"/>
                </a:cxn>
                <a:cxn ang="0">
                  <a:pos x="35" y="107"/>
                </a:cxn>
                <a:cxn ang="0">
                  <a:pos x="0" y="126"/>
                </a:cxn>
                <a:cxn ang="0">
                  <a:pos x="4" y="229"/>
                </a:cxn>
                <a:cxn ang="0">
                  <a:pos x="4" y="289"/>
                </a:cxn>
                <a:cxn ang="0">
                  <a:pos x="24" y="320"/>
                </a:cxn>
                <a:cxn ang="0">
                  <a:pos x="70" y="344"/>
                </a:cxn>
                <a:cxn ang="0">
                  <a:pos x="107" y="308"/>
                </a:cxn>
                <a:cxn ang="0">
                  <a:pos x="149" y="267"/>
                </a:cxn>
                <a:cxn ang="0">
                  <a:pos x="168" y="249"/>
                </a:cxn>
                <a:cxn ang="0">
                  <a:pos x="284" y="245"/>
                </a:cxn>
                <a:cxn ang="0">
                  <a:pos x="320" y="213"/>
                </a:cxn>
                <a:cxn ang="0">
                  <a:pos x="422" y="193"/>
                </a:cxn>
                <a:cxn ang="0">
                  <a:pos x="422" y="158"/>
                </a:cxn>
                <a:cxn ang="0">
                  <a:pos x="458" y="126"/>
                </a:cxn>
                <a:cxn ang="0">
                  <a:pos x="431" y="55"/>
                </a:cxn>
                <a:cxn ang="0">
                  <a:pos x="410" y="0"/>
                </a:cxn>
                <a:cxn ang="0">
                  <a:pos x="276" y="24"/>
                </a:cxn>
                <a:cxn ang="0">
                  <a:pos x="236" y="70"/>
                </a:cxn>
                <a:cxn ang="0">
                  <a:pos x="221" y="138"/>
                </a:cxn>
                <a:cxn ang="0">
                  <a:pos x="162" y="186"/>
                </a:cxn>
              </a:cxnLst>
              <a:rect l="0" t="0" r="r" b="b"/>
              <a:pathLst>
                <a:path w="458" h="344">
                  <a:moveTo>
                    <a:pt x="162" y="186"/>
                  </a:moveTo>
                  <a:lnTo>
                    <a:pt x="162" y="146"/>
                  </a:lnTo>
                  <a:lnTo>
                    <a:pt x="162" y="114"/>
                  </a:lnTo>
                  <a:lnTo>
                    <a:pt x="142" y="107"/>
                  </a:lnTo>
                  <a:lnTo>
                    <a:pt x="87" y="103"/>
                  </a:lnTo>
                  <a:lnTo>
                    <a:pt x="35" y="107"/>
                  </a:lnTo>
                  <a:lnTo>
                    <a:pt x="0" y="126"/>
                  </a:lnTo>
                  <a:lnTo>
                    <a:pt x="4" y="229"/>
                  </a:lnTo>
                  <a:lnTo>
                    <a:pt x="4" y="289"/>
                  </a:lnTo>
                  <a:lnTo>
                    <a:pt x="24" y="320"/>
                  </a:lnTo>
                  <a:lnTo>
                    <a:pt x="70" y="344"/>
                  </a:lnTo>
                  <a:lnTo>
                    <a:pt x="107" y="308"/>
                  </a:lnTo>
                  <a:lnTo>
                    <a:pt x="149" y="267"/>
                  </a:lnTo>
                  <a:lnTo>
                    <a:pt x="168" y="249"/>
                  </a:lnTo>
                  <a:lnTo>
                    <a:pt x="284" y="245"/>
                  </a:lnTo>
                  <a:lnTo>
                    <a:pt x="320" y="213"/>
                  </a:lnTo>
                  <a:lnTo>
                    <a:pt x="422" y="193"/>
                  </a:lnTo>
                  <a:lnTo>
                    <a:pt x="422" y="158"/>
                  </a:lnTo>
                  <a:lnTo>
                    <a:pt x="458" y="126"/>
                  </a:lnTo>
                  <a:lnTo>
                    <a:pt x="431" y="55"/>
                  </a:lnTo>
                  <a:lnTo>
                    <a:pt x="410" y="0"/>
                  </a:lnTo>
                  <a:lnTo>
                    <a:pt x="276" y="24"/>
                  </a:lnTo>
                  <a:lnTo>
                    <a:pt x="236" y="70"/>
                  </a:lnTo>
                  <a:lnTo>
                    <a:pt x="221" y="138"/>
                  </a:lnTo>
                  <a:lnTo>
                    <a:pt x="162" y="186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9" name="Freeform 219"/>
            <p:cNvSpPr>
              <a:spLocks noChangeAspect="1"/>
            </p:cNvSpPr>
            <p:nvPr/>
          </p:nvSpPr>
          <p:spPr bwMode="auto">
            <a:xfrm>
              <a:off x="1304202" y="4654615"/>
              <a:ext cx="320000" cy="323042"/>
            </a:xfrm>
            <a:custGeom>
              <a:avLst/>
              <a:gdLst/>
              <a:ahLst/>
              <a:cxnLst>
                <a:cxn ang="0">
                  <a:pos x="185" y="545"/>
                </a:cxn>
                <a:cxn ang="0">
                  <a:pos x="213" y="535"/>
                </a:cxn>
                <a:cxn ang="0">
                  <a:pos x="254" y="535"/>
                </a:cxn>
                <a:cxn ang="0">
                  <a:pos x="281" y="525"/>
                </a:cxn>
                <a:cxn ang="0">
                  <a:pos x="287" y="493"/>
                </a:cxn>
                <a:cxn ang="0">
                  <a:pos x="310" y="486"/>
                </a:cxn>
                <a:cxn ang="0">
                  <a:pos x="328" y="474"/>
                </a:cxn>
                <a:cxn ang="0">
                  <a:pos x="332" y="442"/>
                </a:cxn>
                <a:cxn ang="0">
                  <a:pos x="374" y="436"/>
                </a:cxn>
                <a:cxn ang="0">
                  <a:pos x="391" y="411"/>
                </a:cxn>
                <a:cxn ang="0">
                  <a:pos x="464" y="395"/>
                </a:cxn>
                <a:cxn ang="0">
                  <a:pos x="477" y="366"/>
                </a:cxn>
                <a:cxn ang="0">
                  <a:pos x="514" y="348"/>
                </a:cxn>
                <a:cxn ang="0">
                  <a:pos x="519" y="263"/>
                </a:cxn>
                <a:cxn ang="0">
                  <a:pos x="546" y="241"/>
                </a:cxn>
                <a:cxn ang="0">
                  <a:pos x="533" y="187"/>
                </a:cxn>
                <a:cxn ang="0">
                  <a:pos x="537" y="125"/>
                </a:cxn>
                <a:cxn ang="0">
                  <a:pos x="508" y="81"/>
                </a:cxn>
                <a:cxn ang="0">
                  <a:pos x="467" y="59"/>
                </a:cxn>
                <a:cxn ang="0">
                  <a:pos x="436" y="25"/>
                </a:cxn>
                <a:cxn ang="0">
                  <a:pos x="429" y="0"/>
                </a:cxn>
                <a:cxn ang="0">
                  <a:pos x="395" y="2"/>
                </a:cxn>
                <a:cxn ang="0">
                  <a:pos x="388" y="29"/>
                </a:cxn>
                <a:cxn ang="0">
                  <a:pos x="352" y="45"/>
                </a:cxn>
                <a:cxn ang="0">
                  <a:pos x="334" y="77"/>
                </a:cxn>
                <a:cxn ang="0">
                  <a:pos x="322" y="215"/>
                </a:cxn>
                <a:cxn ang="0">
                  <a:pos x="342" y="235"/>
                </a:cxn>
                <a:cxn ang="0">
                  <a:pos x="374" y="239"/>
                </a:cxn>
                <a:cxn ang="0">
                  <a:pos x="381" y="294"/>
                </a:cxn>
                <a:cxn ang="0">
                  <a:pos x="370" y="324"/>
                </a:cxn>
                <a:cxn ang="0">
                  <a:pos x="320" y="326"/>
                </a:cxn>
                <a:cxn ang="0">
                  <a:pos x="301" y="302"/>
                </a:cxn>
                <a:cxn ang="0">
                  <a:pos x="291" y="253"/>
                </a:cxn>
                <a:cxn ang="0">
                  <a:pos x="254" y="233"/>
                </a:cxn>
                <a:cxn ang="0">
                  <a:pos x="249" y="215"/>
                </a:cxn>
                <a:cxn ang="0">
                  <a:pos x="213" y="224"/>
                </a:cxn>
                <a:cxn ang="0">
                  <a:pos x="199" y="251"/>
                </a:cxn>
                <a:cxn ang="0">
                  <a:pos x="178" y="243"/>
                </a:cxn>
                <a:cxn ang="0">
                  <a:pos x="164" y="195"/>
                </a:cxn>
                <a:cxn ang="0">
                  <a:pos x="115" y="190"/>
                </a:cxn>
                <a:cxn ang="0">
                  <a:pos x="109" y="297"/>
                </a:cxn>
                <a:cxn ang="0">
                  <a:pos x="67" y="297"/>
                </a:cxn>
                <a:cxn ang="0">
                  <a:pos x="51" y="269"/>
                </a:cxn>
                <a:cxn ang="0">
                  <a:pos x="33" y="270"/>
                </a:cxn>
                <a:cxn ang="0">
                  <a:pos x="32" y="297"/>
                </a:cxn>
                <a:cxn ang="0">
                  <a:pos x="2" y="300"/>
                </a:cxn>
                <a:cxn ang="0">
                  <a:pos x="0" y="422"/>
                </a:cxn>
                <a:cxn ang="0">
                  <a:pos x="5" y="462"/>
                </a:cxn>
                <a:cxn ang="0">
                  <a:pos x="40" y="508"/>
                </a:cxn>
                <a:cxn ang="0">
                  <a:pos x="41" y="531"/>
                </a:cxn>
                <a:cxn ang="0">
                  <a:pos x="65" y="538"/>
                </a:cxn>
                <a:cxn ang="0">
                  <a:pos x="185" y="545"/>
                </a:cxn>
              </a:cxnLst>
              <a:rect l="0" t="0" r="r" b="b"/>
              <a:pathLst>
                <a:path w="546" h="545">
                  <a:moveTo>
                    <a:pt x="185" y="545"/>
                  </a:moveTo>
                  <a:lnTo>
                    <a:pt x="213" y="535"/>
                  </a:lnTo>
                  <a:lnTo>
                    <a:pt x="254" y="535"/>
                  </a:lnTo>
                  <a:lnTo>
                    <a:pt x="281" y="525"/>
                  </a:lnTo>
                  <a:lnTo>
                    <a:pt x="287" y="493"/>
                  </a:lnTo>
                  <a:lnTo>
                    <a:pt x="310" y="486"/>
                  </a:lnTo>
                  <a:lnTo>
                    <a:pt x="328" y="474"/>
                  </a:lnTo>
                  <a:lnTo>
                    <a:pt x="332" y="442"/>
                  </a:lnTo>
                  <a:lnTo>
                    <a:pt x="374" y="436"/>
                  </a:lnTo>
                  <a:lnTo>
                    <a:pt x="391" y="411"/>
                  </a:lnTo>
                  <a:lnTo>
                    <a:pt x="464" y="395"/>
                  </a:lnTo>
                  <a:lnTo>
                    <a:pt x="477" y="366"/>
                  </a:lnTo>
                  <a:lnTo>
                    <a:pt x="514" y="348"/>
                  </a:lnTo>
                  <a:lnTo>
                    <a:pt x="519" y="263"/>
                  </a:lnTo>
                  <a:lnTo>
                    <a:pt x="546" y="241"/>
                  </a:lnTo>
                  <a:lnTo>
                    <a:pt x="533" y="187"/>
                  </a:lnTo>
                  <a:lnTo>
                    <a:pt x="537" y="125"/>
                  </a:lnTo>
                  <a:lnTo>
                    <a:pt x="508" y="81"/>
                  </a:lnTo>
                  <a:lnTo>
                    <a:pt x="467" y="59"/>
                  </a:lnTo>
                  <a:lnTo>
                    <a:pt x="436" y="25"/>
                  </a:lnTo>
                  <a:lnTo>
                    <a:pt x="429" y="0"/>
                  </a:lnTo>
                  <a:lnTo>
                    <a:pt x="395" y="2"/>
                  </a:lnTo>
                  <a:lnTo>
                    <a:pt x="388" y="29"/>
                  </a:lnTo>
                  <a:lnTo>
                    <a:pt x="352" y="45"/>
                  </a:lnTo>
                  <a:lnTo>
                    <a:pt x="334" y="77"/>
                  </a:lnTo>
                  <a:lnTo>
                    <a:pt x="322" y="215"/>
                  </a:lnTo>
                  <a:lnTo>
                    <a:pt x="342" y="235"/>
                  </a:lnTo>
                  <a:lnTo>
                    <a:pt x="374" y="239"/>
                  </a:lnTo>
                  <a:lnTo>
                    <a:pt x="381" y="294"/>
                  </a:lnTo>
                  <a:lnTo>
                    <a:pt x="370" y="324"/>
                  </a:lnTo>
                  <a:lnTo>
                    <a:pt x="320" y="326"/>
                  </a:lnTo>
                  <a:lnTo>
                    <a:pt x="301" y="302"/>
                  </a:lnTo>
                  <a:lnTo>
                    <a:pt x="291" y="253"/>
                  </a:lnTo>
                  <a:lnTo>
                    <a:pt x="254" y="233"/>
                  </a:lnTo>
                  <a:lnTo>
                    <a:pt x="249" y="215"/>
                  </a:lnTo>
                  <a:lnTo>
                    <a:pt x="213" y="224"/>
                  </a:lnTo>
                  <a:lnTo>
                    <a:pt x="199" y="251"/>
                  </a:lnTo>
                  <a:lnTo>
                    <a:pt x="178" y="243"/>
                  </a:lnTo>
                  <a:lnTo>
                    <a:pt x="164" y="195"/>
                  </a:lnTo>
                  <a:lnTo>
                    <a:pt x="115" y="190"/>
                  </a:lnTo>
                  <a:lnTo>
                    <a:pt x="109" y="297"/>
                  </a:lnTo>
                  <a:lnTo>
                    <a:pt x="67" y="297"/>
                  </a:lnTo>
                  <a:lnTo>
                    <a:pt x="51" y="269"/>
                  </a:lnTo>
                  <a:lnTo>
                    <a:pt x="33" y="270"/>
                  </a:lnTo>
                  <a:lnTo>
                    <a:pt x="32" y="297"/>
                  </a:lnTo>
                  <a:lnTo>
                    <a:pt x="2" y="300"/>
                  </a:lnTo>
                  <a:lnTo>
                    <a:pt x="0" y="422"/>
                  </a:lnTo>
                  <a:lnTo>
                    <a:pt x="5" y="462"/>
                  </a:lnTo>
                  <a:lnTo>
                    <a:pt x="40" y="508"/>
                  </a:lnTo>
                  <a:lnTo>
                    <a:pt x="41" y="531"/>
                  </a:lnTo>
                  <a:lnTo>
                    <a:pt x="65" y="538"/>
                  </a:lnTo>
                  <a:lnTo>
                    <a:pt x="185" y="54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0" name="Freeform 220"/>
            <p:cNvSpPr>
              <a:spLocks noChangeAspect="1"/>
            </p:cNvSpPr>
            <p:nvPr/>
          </p:nvSpPr>
          <p:spPr bwMode="auto">
            <a:xfrm>
              <a:off x="1082663" y="3717439"/>
              <a:ext cx="286594" cy="486338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83" y="27"/>
                </a:cxn>
                <a:cxn ang="0">
                  <a:pos x="93" y="47"/>
                </a:cxn>
                <a:cxn ang="0">
                  <a:pos x="113" y="96"/>
                </a:cxn>
                <a:cxn ang="0">
                  <a:pos x="96" y="346"/>
                </a:cxn>
                <a:cxn ang="0">
                  <a:pos x="65" y="354"/>
                </a:cxn>
                <a:cxn ang="0">
                  <a:pos x="47" y="383"/>
                </a:cxn>
                <a:cxn ang="0">
                  <a:pos x="17" y="403"/>
                </a:cxn>
                <a:cxn ang="0">
                  <a:pos x="0" y="427"/>
                </a:cxn>
                <a:cxn ang="0">
                  <a:pos x="1" y="473"/>
                </a:cxn>
                <a:cxn ang="0">
                  <a:pos x="21" y="472"/>
                </a:cxn>
                <a:cxn ang="0">
                  <a:pos x="29" y="501"/>
                </a:cxn>
                <a:cxn ang="0">
                  <a:pos x="42" y="527"/>
                </a:cxn>
                <a:cxn ang="0">
                  <a:pos x="64" y="570"/>
                </a:cxn>
                <a:cxn ang="0">
                  <a:pos x="64" y="596"/>
                </a:cxn>
                <a:cxn ang="0">
                  <a:pos x="44" y="606"/>
                </a:cxn>
                <a:cxn ang="0">
                  <a:pos x="54" y="614"/>
                </a:cxn>
                <a:cxn ang="0">
                  <a:pos x="64" y="644"/>
                </a:cxn>
                <a:cxn ang="0">
                  <a:pos x="80" y="665"/>
                </a:cxn>
                <a:cxn ang="0">
                  <a:pos x="76" y="689"/>
                </a:cxn>
                <a:cxn ang="0">
                  <a:pos x="54" y="703"/>
                </a:cxn>
                <a:cxn ang="0">
                  <a:pos x="57" y="728"/>
                </a:cxn>
                <a:cxn ang="0">
                  <a:pos x="91" y="772"/>
                </a:cxn>
                <a:cxn ang="0">
                  <a:pos x="115" y="821"/>
                </a:cxn>
                <a:cxn ang="0">
                  <a:pos x="142" y="807"/>
                </a:cxn>
                <a:cxn ang="0">
                  <a:pos x="184" y="811"/>
                </a:cxn>
                <a:cxn ang="0">
                  <a:pos x="198" y="782"/>
                </a:cxn>
                <a:cxn ang="0">
                  <a:pos x="248" y="778"/>
                </a:cxn>
                <a:cxn ang="0">
                  <a:pos x="271" y="745"/>
                </a:cxn>
                <a:cxn ang="0">
                  <a:pos x="315" y="735"/>
                </a:cxn>
                <a:cxn ang="0">
                  <a:pos x="331" y="703"/>
                </a:cxn>
                <a:cxn ang="0">
                  <a:pos x="360" y="689"/>
                </a:cxn>
                <a:cxn ang="0">
                  <a:pos x="380" y="651"/>
                </a:cxn>
                <a:cxn ang="0">
                  <a:pos x="410" y="624"/>
                </a:cxn>
                <a:cxn ang="0">
                  <a:pos x="432" y="616"/>
                </a:cxn>
                <a:cxn ang="0">
                  <a:pos x="442" y="600"/>
                </a:cxn>
                <a:cxn ang="0">
                  <a:pos x="439" y="578"/>
                </a:cxn>
                <a:cxn ang="0">
                  <a:pos x="419" y="568"/>
                </a:cxn>
                <a:cxn ang="0">
                  <a:pos x="411" y="532"/>
                </a:cxn>
                <a:cxn ang="0">
                  <a:pos x="378" y="518"/>
                </a:cxn>
                <a:cxn ang="0">
                  <a:pos x="383" y="489"/>
                </a:cxn>
                <a:cxn ang="0">
                  <a:pos x="415" y="487"/>
                </a:cxn>
                <a:cxn ang="0">
                  <a:pos x="428" y="439"/>
                </a:cxn>
                <a:cxn ang="0">
                  <a:pos x="455" y="389"/>
                </a:cxn>
                <a:cxn ang="0">
                  <a:pos x="484" y="379"/>
                </a:cxn>
                <a:cxn ang="0">
                  <a:pos x="489" y="244"/>
                </a:cxn>
                <a:cxn ang="0">
                  <a:pos x="457" y="241"/>
                </a:cxn>
                <a:cxn ang="0">
                  <a:pos x="383" y="180"/>
                </a:cxn>
                <a:cxn ang="0">
                  <a:pos x="350" y="163"/>
                </a:cxn>
                <a:cxn ang="0">
                  <a:pos x="281" y="129"/>
                </a:cxn>
                <a:cxn ang="0">
                  <a:pos x="257" y="88"/>
                </a:cxn>
                <a:cxn ang="0">
                  <a:pos x="178" y="76"/>
                </a:cxn>
                <a:cxn ang="0">
                  <a:pos x="163" y="36"/>
                </a:cxn>
                <a:cxn ang="0">
                  <a:pos x="123" y="22"/>
                </a:cxn>
                <a:cxn ang="0">
                  <a:pos x="119" y="5"/>
                </a:cxn>
                <a:cxn ang="0">
                  <a:pos x="76" y="0"/>
                </a:cxn>
              </a:cxnLst>
              <a:rect l="0" t="0" r="r" b="b"/>
              <a:pathLst>
                <a:path w="489" h="821">
                  <a:moveTo>
                    <a:pt x="76" y="0"/>
                  </a:moveTo>
                  <a:lnTo>
                    <a:pt x="83" y="27"/>
                  </a:lnTo>
                  <a:lnTo>
                    <a:pt x="93" y="47"/>
                  </a:lnTo>
                  <a:lnTo>
                    <a:pt x="113" y="96"/>
                  </a:lnTo>
                  <a:lnTo>
                    <a:pt x="96" y="346"/>
                  </a:lnTo>
                  <a:lnTo>
                    <a:pt x="65" y="354"/>
                  </a:lnTo>
                  <a:lnTo>
                    <a:pt x="47" y="383"/>
                  </a:lnTo>
                  <a:lnTo>
                    <a:pt x="17" y="403"/>
                  </a:lnTo>
                  <a:lnTo>
                    <a:pt x="0" y="427"/>
                  </a:lnTo>
                  <a:lnTo>
                    <a:pt x="1" y="473"/>
                  </a:lnTo>
                  <a:lnTo>
                    <a:pt x="21" y="472"/>
                  </a:lnTo>
                  <a:lnTo>
                    <a:pt x="29" y="501"/>
                  </a:lnTo>
                  <a:lnTo>
                    <a:pt x="42" y="527"/>
                  </a:lnTo>
                  <a:lnTo>
                    <a:pt x="64" y="570"/>
                  </a:lnTo>
                  <a:lnTo>
                    <a:pt x="64" y="596"/>
                  </a:lnTo>
                  <a:lnTo>
                    <a:pt x="44" y="606"/>
                  </a:lnTo>
                  <a:lnTo>
                    <a:pt x="54" y="614"/>
                  </a:lnTo>
                  <a:lnTo>
                    <a:pt x="64" y="644"/>
                  </a:lnTo>
                  <a:lnTo>
                    <a:pt x="80" y="665"/>
                  </a:lnTo>
                  <a:lnTo>
                    <a:pt x="76" y="689"/>
                  </a:lnTo>
                  <a:lnTo>
                    <a:pt x="54" y="703"/>
                  </a:lnTo>
                  <a:lnTo>
                    <a:pt x="57" y="728"/>
                  </a:lnTo>
                  <a:lnTo>
                    <a:pt x="91" y="772"/>
                  </a:lnTo>
                  <a:lnTo>
                    <a:pt x="115" y="821"/>
                  </a:lnTo>
                  <a:lnTo>
                    <a:pt x="142" y="807"/>
                  </a:lnTo>
                  <a:lnTo>
                    <a:pt x="184" y="811"/>
                  </a:lnTo>
                  <a:lnTo>
                    <a:pt x="198" y="782"/>
                  </a:lnTo>
                  <a:lnTo>
                    <a:pt x="248" y="778"/>
                  </a:lnTo>
                  <a:lnTo>
                    <a:pt x="271" y="745"/>
                  </a:lnTo>
                  <a:lnTo>
                    <a:pt x="315" y="735"/>
                  </a:lnTo>
                  <a:lnTo>
                    <a:pt x="331" y="703"/>
                  </a:lnTo>
                  <a:lnTo>
                    <a:pt x="360" y="689"/>
                  </a:lnTo>
                  <a:lnTo>
                    <a:pt x="380" y="651"/>
                  </a:lnTo>
                  <a:lnTo>
                    <a:pt x="410" y="624"/>
                  </a:lnTo>
                  <a:lnTo>
                    <a:pt x="432" y="616"/>
                  </a:lnTo>
                  <a:lnTo>
                    <a:pt x="442" y="600"/>
                  </a:lnTo>
                  <a:lnTo>
                    <a:pt x="439" y="578"/>
                  </a:lnTo>
                  <a:lnTo>
                    <a:pt x="419" y="568"/>
                  </a:lnTo>
                  <a:lnTo>
                    <a:pt x="411" y="532"/>
                  </a:lnTo>
                  <a:lnTo>
                    <a:pt x="378" y="518"/>
                  </a:lnTo>
                  <a:lnTo>
                    <a:pt x="383" y="489"/>
                  </a:lnTo>
                  <a:lnTo>
                    <a:pt x="415" y="487"/>
                  </a:lnTo>
                  <a:lnTo>
                    <a:pt x="428" y="439"/>
                  </a:lnTo>
                  <a:lnTo>
                    <a:pt x="455" y="389"/>
                  </a:lnTo>
                  <a:lnTo>
                    <a:pt x="484" y="379"/>
                  </a:lnTo>
                  <a:lnTo>
                    <a:pt x="489" y="244"/>
                  </a:lnTo>
                  <a:lnTo>
                    <a:pt x="457" y="241"/>
                  </a:lnTo>
                  <a:lnTo>
                    <a:pt x="383" y="180"/>
                  </a:lnTo>
                  <a:lnTo>
                    <a:pt x="350" y="163"/>
                  </a:lnTo>
                  <a:lnTo>
                    <a:pt x="281" y="129"/>
                  </a:lnTo>
                  <a:lnTo>
                    <a:pt x="257" y="88"/>
                  </a:lnTo>
                  <a:lnTo>
                    <a:pt x="178" y="76"/>
                  </a:lnTo>
                  <a:lnTo>
                    <a:pt x="163" y="36"/>
                  </a:lnTo>
                  <a:lnTo>
                    <a:pt x="123" y="22"/>
                  </a:lnTo>
                  <a:lnTo>
                    <a:pt x="119" y="5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1" name="Freeform 221"/>
            <p:cNvSpPr>
              <a:spLocks noChangeAspect="1"/>
            </p:cNvSpPr>
            <p:nvPr/>
          </p:nvSpPr>
          <p:spPr bwMode="auto">
            <a:xfrm>
              <a:off x="734531" y="3694364"/>
              <a:ext cx="414946" cy="349666"/>
            </a:xfrm>
            <a:custGeom>
              <a:avLst/>
              <a:gdLst/>
              <a:ahLst/>
              <a:cxnLst>
                <a:cxn ang="0">
                  <a:pos x="161" y="585"/>
                </a:cxn>
                <a:cxn ang="0">
                  <a:pos x="175" y="561"/>
                </a:cxn>
                <a:cxn ang="0">
                  <a:pos x="192" y="527"/>
                </a:cxn>
                <a:cxn ang="0">
                  <a:pos x="234" y="516"/>
                </a:cxn>
                <a:cxn ang="0">
                  <a:pos x="271" y="522"/>
                </a:cxn>
                <a:cxn ang="0">
                  <a:pos x="290" y="554"/>
                </a:cxn>
                <a:cxn ang="0">
                  <a:pos x="295" y="534"/>
                </a:cxn>
                <a:cxn ang="0">
                  <a:pos x="352" y="527"/>
                </a:cxn>
                <a:cxn ang="0">
                  <a:pos x="385" y="524"/>
                </a:cxn>
                <a:cxn ang="0">
                  <a:pos x="413" y="550"/>
                </a:cxn>
                <a:cxn ang="0">
                  <a:pos x="451" y="554"/>
                </a:cxn>
                <a:cxn ang="0">
                  <a:pos x="457" y="527"/>
                </a:cxn>
                <a:cxn ang="0">
                  <a:pos x="517" y="530"/>
                </a:cxn>
                <a:cxn ang="0">
                  <a:pos x="540" y="555"/>
                </a:cxn>
                <a:cxn ang="0">
                  <a:pos x="561" y="530"/>
                </a:cxn>
                <a:cxn ang="0">
                  <a:pos x="594" y="511"/>
                </a:cxn>
                <a:cxn ang="0">
                  <a:pos x="593" y="465"/>
                </a:cxn>
                <a:cxn ang="0">
                  <a:pos x="610" y="441"/>
                </a:cxn>
                <a:cxn ang="0">
                  <a:pos x="640" y="421"/>
                </a:cxn>
                <a:cxn ang="0">
                  <a:pos x="658" y="392"/>
                </a:cxn>
                <a:cxn ang="0">
                  <a:pos x="689" y="384"/>
                </a:cxn>
                <a:cxn ang="0">
                  <a:pos x="706" y="134"/>
                </a:cxn>
                <a:cxn ang="0">
                  <a:pos x="686" y="85"/>
                </a:cxn>
                <a:cxn ang="0">
                  <a:pos x="676" y="65"/>
                </a:cxn>
                <a:cxn ang="0">
                  <a:pos x="669" y="38"/>
                </a:cxn>
                <a:cxn ang="0">
                  <a:pos x="640" y="28"/>
                </a:cxn>
                <a:cxn ang="0">
                  <a:pos x="586" y="23"/>
                </a:cxn>
                <a:cxn ang="0">
                  <a:pos x="581" y="0"/>
                </a:cxn>
                <a:cxn ang="0">
                  <a:pos x="522" y="0"/>
                </a:cxn>
                <a:cxn ang="0">
                  <a:pos x="507" y="19"/>
                </a:cxn>
                <a:cxn ang="0">
                  <a:pos x="460" y="39"/>
                </a:cxn>
                <a:cxn ang="0">
                  <a:pos x="421" y="70"/>
                </a:cxn>
                <a:cxn ang="0">
                  <a:pos x="401" y="102"/>
                </a:cxn>
                <a:cxn ang="0">
                  <a:pos x="325" y="126"/>
                </a:cxn>
                <a:cxn ang="0">
                  <a:pos x="318" y="157"/>
                </a:cxn>
                <a:cxn ang="0">
                  <a:pos x="290" y="173"/>
                </a:cxn>
                <a:cxn ang="0">
                  <a:pos x="259" y="208"/>
                </a:cxn>
                <a:cxn ang="0">
                  <a:pos x="183" y="212"/>
                </a:cxn>
                <a:cxn ang="0">
                  <a:pos x="178" y="237"/>
                </a:cxn>
                <a:cxn ang="0">
                  <a:pos x="186" y="388"/>
                </a:cxn>
                <a:cxn ang="0">
                  <a:pos x="154" y="392"/>
                </a:cxn>
                <a:cxn ang="0">
                  <a:pos x="154" y="419"/>
                </a:cxn>
                <a:cxn ang="0">
                  <a:pos x="35" y="434"/>
                </a:cxn>
                <a:cxn ang="0">
                  <a:pos x="0" y="460"/>
                </a:cxn>
                <a:cxn ang="0">
                  <a:pos x="16" y="486"/>
                </a:cxn>
                <a:cxn ang="0">
                  <a:pos x="44" y="502"/>
                </a:cxn>
                <a:cxn ang="0">
                  <a:pos x="48" y="550"/>
                </a:cxn>
                <a:cxn ang="0">
                  <a:pos x="79" y="554"/>
                </a:cxn>
                <a:cxn ang="0">
                  <a:pos x="103" y="589"/>
                </a:cxn>
                <a:cxn ang="0">
                  <a:pos x="147" y="585"/>
                </a:cxn>
                <a:cxn ang="0">
                  <a:pos x="161" y="585"/>
                </a:cxn>
              </a:cxnLst>
              <a:rect l="0" t="0" r="r" b="b"/>
              <a:pathLst>
                <a:path w="706" h="589">
                  <a:moveTo>
                    <a:pt x="161" y="585"/>
                  </a:moveTo>
                  <a:lnTo>
                    <a:pt x="175" y="561"/>
                  </a:lnTo>
                  <a:lnTo>
                    <a:pt x="192" y="527"/>
                  </a:lnTo>
                  <a:lnTo>
                    <a:pt x="234" y="516"/>
                  </a:lnTo>
                  <a:lnTo>
                    <a:pt x="271" y="522"/>
                  </a:lnTo>
                  <a:lnTo>
                    <a:pt x="290" y="554"/>
                  </a:lnTo>
                  <a:lnTo>
                    <a:pt x="295" y="534"/>
                  </a:lnTo>
                  <a:lnTo>
                    <a:pt x="352" y="527"/>
                  </a:lnTo>
                  <a:lnTo>
                    <a:pt x="385" y="524"/>
                  </a:lnTo>
                  <a:lnTo>
                    <a:pt x="413" y="550"/>
                  </a:lnTo>
                  <a:lnTo>
                    <a:pt x="451" y="554"/>
                  </a:lnTo>
                  <a:lnTo>
                    <a:pt x="457" y="527"/>
                  </a:lnTo>
                  <a:lnTo>
                    <a:pt x="517" y="530"/>
                  </a:lnTo>
                  <a:lnTo>
                    <a:pt x="540" y="555"/>
                  </a:lnTo>
                  <a:lnTo>
                    <a:pt x="561" y="530"/>
                  </a:lnTo>
                  <a:lnTo>
                    <a:pt x="594" y="511"/>
                  </a:lnTo>
                  <a:lnTo>
                    <a:pt x="593" y="465"/>
                  </a:lnTo>
                  <a:lnTo>
                    <a:pt x="610" y="441"/>
                  </a:lnTo>
                  <a:lnTo>
                    <a:pt x="640" y="421"/>
                  </a:lnTo>
                  <a:lnTo>
                    <a:pt x="658" y="392"/>
                  </a:lnTo>
                  <a:lnTo>
                    <a:pt x="689" y="384"/>
                  </a:lnTo>
                  <a:lnTo>
                    <a:pt x="706" y="134"/>
                  </a:lnTo>
                  <a:lnTo>
                    <a:pt x="686" y="85"/>
                  </a:lnTo>
                  <a:lnTo>
                    <a:pt x="676" y="65"/>
                  </a:lnTo>
                  <a:lnTo>
                    <a:pt x="669" y="38"/>
                  </a:lnTo>
                  <a:lnTo>
                    <a:pt x="640" y="28"/>
                  </a:lnTo>
                  <a:lnTo>
                    <a:pt x="586" y="23"/>
                  </a:lnTo>
                  <a:lnTo>
                    <a:pt x="581" y="0"/>
                  </a:lnTo>
                  <a:lnTo>
                    <a:pt x="522" y="0"/>
                  </a:lnTo>
                  <a:lnTo>
                    <a:pt x="507" y="19"/>
                  </a:lnTo>
                  <a:lnTo>
                    <a:pt x="460" y="39"/>
                  </a:lnTo>
                  <a:lnTo>
                    <a:pt x="421" y="70"/>
                  </a:lnTo>
                  <a:lnTo>
                    <a:pt x="401" y="102"/>
                  </a:lnTo>
                  <a:lnTo>
                    <a:pt x="325" y="126"/>
                  </a:lnTo>
                  <a:lnTo>
                    <a:pt x="318" y="157"/>
                  </a:lnTo>
                  <a:lnTo>
                    <a:pt x="290" y="173"/>
                  </a:lnTo>
                  <a:lnTo>
                    <a:pt x="259" y="208"/>
                  </a:lnTo>
                  <a:lnTo>
                    <a:pt x="183" y="212"/>
                  </a:lnTo>
                  <a:lnTo>
                    <a:pt x="178" y="237"/>
                  </a:lnTo>
                  <a:lnTo>
                    <a:pt x="186" y="388"/>
                  </a:lnTo>
                  <a:lnTo>
                    <a:pt x="154" y="392"/>
                  </a:lnTo>
                  <a:lnTo>
                    <a:pt x="154" y="419"/>
                  </a:lnTo>
                  <a:lnTo>
                    <a:pt x="35" y="434"/>
                  </a:lnTo>
                  <a:lnTo>
                    <a:pt x="0" y="460"/>
                  </a:lnTo>
                  <a:lnTo>
                    <a:pt x="16" y="486"/>
                  </a:lnTo>
                  <a:lnTo>
                    <a:pt x="44" y="502"/>
                  </a:lnTo>
                  <a:lnTo>
                    <a:pt x="48" y="550"/>
                  </a:lnTo>
                  <a:lnTo>
                    <a:pt x="79" y="554"/>
                  </a:lnTo>
                  <a:lnTo>
                    <a:pt x="103" y="589"/>
                  </a:lnTo>
                  <a:lnTo>
                    <a:pt x="147" y="585"/>
                  </a:lnTo>
                  <a:lnTo>
                    <a:pt x="161" y="58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2" name="Freeform 222"/>
            <p:cNvSpPr>
              <a:spLocks noChangeAspect="1"/>
            </p:cNvSpPr>
            <p:nvPr/>
          </p:nvSpPr>
          <p:spPr bwMode="auto">
            <a:xfrm>
              <a:off x="1216289" y="3044730"/>
              <a:ext cx="47473" cy="76323"/>
            </a:xfrm>
            <a:custGeom>
              <a:avLst/>
              <a:gdLst/>
              <a:ahLst/>
              <a:cxnLst>
                <a:cxn ang="0">
                  <a:pos x="81" y="91"/>
                </a:cxn>
                <a:cxn ang="0">
                  <a:pos x="37" y="129"/>
                </a:cxn>
                <a:cxn ang="0">
                  <a:pos x="20" y="114"/>
                </a:cxn>
                <a:cxn ang="0">
                  <a:pos x="0" y="97"/>
                </a:cxn>
                <a:cxn ang="0">
                  <a:pos x="27" y="48"/>
                </a:cxn>
                <a:cxn ang="0">
                  <a:pos x="19" y="13"/>
                </a:cxn>
                <a:cxn ang="0">
                  <a:pos x="47" y="0"/>
                </a:cxn>
                <a:cxn ang="0">
                  <a:pos x="69" y="44"/>
                </a:cxn>
                <a:cxn ang="0">
                  <a:pos x="81" y="91"/>
                </a:cxn>
                <a:cxn ang="0">
                  <a:pos x="81" y="91"/>
                </a:cxn>
              </a:cxnLst>
              <a:rect l="0" t="0" r="r" b="b"/>
              <a:pathLst>
                <a:path w="81" h="129">
                  <a:moveTo>
                    <a:pt x="81" y="91"/>
                  </a:moveTo>
                  <a:lnTo>
                    <a:pt x="37" y="129"/>
                  </a:lnTo>
                  <a:lnTo>
                    <a:pt x="20" y="114"/>
                  </a:lnTo>
                  <a:lnTo>
                    <a:pt x="0" y="97"/>
                  </a:lnTo>
                  <a:lnTo>
                    <a:pt x="27" y="48"/>
                  </a:lnTo>
                  <a:lnTo>
                    <a:pt x="19" y="13"/>
                  </a:lnTo>
                  <a:lnTo>
                    <a:pt x="47" y="0"/>
                  </a:lnTo>
                  <a:lnTo>
                    <a:pt x="69" y="44"/>
                  </a:lnTo>
                  <a:lnTo>
                    <a:pt x="81" y="91"/>
                  </a:lnTo>
                  <a:lnTo>
                    <a:pt x="81" y="9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3" name="Freeform 223"/>
            <p:cNvSpPr>
              <a:spLocks noChangeAspect="1"/>
            </p:cNvSpPr>
            <p:nvPr/>
          </p:nvSpPr>
          <p:spPr bwMode="auto">
            <a:xfrm>
              <a:off x="1555630" y="3289674"/>
              <a:ext cx="56264" cy="26624"/>
            </a:xfrm>
            <a:custGeom>
              <a:avLst/>
              <a:gdLst/>
              <a:ahLst/>
              <a:cxnLst>
                <a:cxn ang="0">
                  <a:pos x="49" y="36"/>
                </a:cxn>
                <a:cxn ang="0">
                  <a:pos x="49" y="36"/>
                </a:cxn>
                <a:cxn ang="0">
                  <a:pos x="39" y="38"/>
                </a:cxn>
                <a:cxn ang="0">
                  <a:pos x="28" y="41"/>
                </a:cxn>
                <a:cxn ang="0">
                  <a:pos x="15" y="44"/>
                </a:cxn>
                <a:cxn ang="0">
                  <a:pos x="11" y="46"/>
                </a:cxn>
                <a:cxn ang="0">
                  <a:pos x="8" y="46"/>
                </a:cxn>
                <a:cxn ang="0">
                  <a:pos x="8" y="46"/>
                </a:cxn>
                <a:cxn ang="0">
                  <a:pos x="4" y="43"/>
                </a:cxn>
                <a:cxn ang="0">
                  <a:pos x="1" y="41"/>
                </a:cxn>
                <a:cxn ang="0">
                  <a:pos x="0" y="37"/>
                </a:cxn>
                <a:cxn ang="0">
                  <a:pos x="0" y="32"/>
                </a:cxn>
                <a:cxn ang="0">
                  <a:pos x="0" y="23"/>
                </a:cxn>
                <a:cxn ang="0">
                  <a:pos x="1" y="17"/>
                </a:cxn>
                <a:cxn ang="0">
                  <a:pos x="1" y="17"/>
                </a:cxn>
                <a:cxn ang="0">
                  <a:pos x="3" y="15"/>
                </a:cxn>
                <a:cxn ang="0">
                  <a:pos x="4" y="14"/>
                </a:cxn>
                <a:cxn ang="0">
                  <a:pos x="11" y="12"/>
                </a:cxn>
                <a:cxn ang="0">
                  <a:pos x="24" y="12"/>
                </a:cxn>
                <a:cxn ang="0">
                  <a:pos x="42" y="12"/>
                </a:cxn>
                <a:cxn ang="0">
                  <a:pos x="42" y="12"/>
                </a:cxn>
                <a:cxn ang="0">
                  <a:pos x="48" y="12"/>
                </a:cxn>
                <a:cxn ang="0">
                  <a:pos x="54" y="9"/>
                </a:cxn>
                <a:cxn ang="0">
                  <a:pos x="68" y="5"/>
                </a:cxn>
                <a:cxn ang="0">
                  <a:pos x="82" y="2"/>
                </a:cxn>
                <a:cxn ang="0">
                  <a:pos x="88" y="2"/>
                </a:cxn>
                <a:cxn ang="0">
                  <a:pos x="93" y="0"/>
                </a:cxn>
                <a:cxn ang="0">
                  <a:pos x="93" y="0"/>
                </a:cxn>
                <a:cxn ang="0">
                  <a:pos x="94" y="2"/>
                </a:cxn>
                <a:cxn ang="0">
                  <a:pos x="94" y="4"/>
                </a:cxn>
                <a:cxn ang="0">
                  <a:pos x="91" y="10"/>
                </a:cxn>
                <a:cxn ang="0">
                  <a:pos x="84" y="18"/>
                </a:cxn>
                <a:cxn ang="0">
                  <a:pos x="82" y="23"/>
                </a:cxn>
                <a:cxn ang="0">
                  <a:pos x="82" y="23"/>
                </a:cxn>
                <a:cxn ang="0">
                  <a:pos x="81" y="25"/>
                </a:cxn>
                <a:cxn ang="0">
                  <a:pos x="81" y="28"/>
                </a:cxn>
                <a:cxn ang="0">
                  <a:pos x="78" y="29"/>
                </a:cxn>
                <a:cxn ang="0">
                  <a:pos x="76" y="32"/>
                </a:cxn>
                <a:cxn ang="0">
                  <a:pos x="70" y="33"/>
                </a:cxn>
                <a:cxn ang="0">
                  <a:pos x="65" y="34"/>
                </a:cxn>
                <a:cxn ang="0">
                  <a:pos x="49" y="36"/>
                </a:cxn>
                <a:cxn ang="0">
                  <a:pos x="49" y="36"/>
                </a:cxn>
              </a:cxnLst>
              <a:rect l="0" t="0" r="r" b="b"/>
              <a:pathLst>
                <a:path w="94" h="46">
                  <a:moveTo>
                    <a:pt x="49" y="36"/>
                  </a:moveTo>
                  <a:lnTo>
                    <a:pt x="49" y="36"/>
                  </a:lnTo>
                  <a:lnTo>
                    <a:pt x="39" y="38"/>
                  </a:lnTo>
                  <a:lnTo>
                    <a:pt x="28" y="41"/>
                  </a:lnTo>
                  <a:lnTo>
                    <a:pt x="15" y="44"/>
                  </a:lnTo>
                  <a:lnTo>
                    <a:pt x="11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4" y="43"/>
                  </a:lnTo>
                  <a:lnTo>
                    <a:pt x="1" y="41"/>
                  </a:lnTo>
                  <a:lnTo>
                    <a:pt x="0" y="37"/>
                  </a:lnTo>
                  <a:lnTo>
                    <a:pt x="0" y="32"/>
                  </a:lnTo>
                  <a:lnTo>
                    <a:pt x="0" y="23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3" y="15"/>
                  </a:lnTo>
                  <a:lnTo>
                    <a:pt x="4" y="14"/>
                  </a:lnTo>
                  <a:lnTo>
                    <a:pt x="11" y="12"/>
                  </a:lnTo>
                  <a:lnTo>
                    <a:pt x="24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88" y="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4" y="2"/>
                  </a:lnTo>
                  <a:lnTo>
                    <a:pt x="94" y="4"/>
                  </a:lnTo>
                  <a:lnTo>
                    <a:pt x="91" y="10"/>
                  </a:lnTo>
                  <a:lnTo>
                    <a:pt x="84" y="18"/>
                  </a:lnTo>
                  <a:lnTo>
                    <a:pt x="82" y="23"/>
                  </a:lnTo>
                  <a:lnTo>
                    <a:pt x="82" y="23"/>
                  </a:lnTo>
                  <a:lnTo>
                    <a:pt x="81" y="25"/>
                  </a:lnTo>
                  <a:lnTo>
                    <a:pt x="81" y="28"/>
                  </a:lnTo>
                  <a:lnTo>
                    <a:pt x="78" y="29"/>
                  </a:lnTo>
                  <a:lnTo>
                    <a:pt x="76" y="32"/>
                  </a:lnTo>
                  <a:lnTo>
                    <a:pt x="70" y="33"/>
                  </a:lnTo>
                  <a:lnTo>
                    <a:pt x="65" y="34"/>
                  </a:lnTo>
                  <a:lnTo>
                    <a:pt x="49" y="36"/>
                  </a:lnTo>
                  <a:lnTo>
                    <a:pt x="49" y="3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4" name="Freeform 224"/>
            <p:cNvSpPr>
              <a:spLocks noChangeAspect="1"/>
            </p:cNvSpPr>
            <p:nvPr/>
          </p:nvSpPr>
          <p:spPr bwMode="auto">
            <a:xfrm>
              <a:off x="1632993" y="3374872"/>
              <a:ext cx="109011" cy="133122"/>
            </a:xfrm>
            <a:custGeom>
              <a:avLst/>
              <a:gdLst/>
              <a:ahLst/>
              <a:cxnLst>
                <a:cxn ang="0">
                  <a:pos x="55" y="225"/>
                </a:cxn>
                <a:cxn ang="0">
                  <a:pos x="95" y="186"/>
                </a:cxn>
                <a:cxn ang="0">
                  <a:pos x="134" y="154"/>
                </a:cxn>
                <a:cxn ang="0">
                  <a:pos x="134" y="90"/>
                </a:cxn>
                <a:cxn ang="0">
                  <a:pos x="186" y="48"/>
                </a:cxn>
                <a:cxn ang="0">
                  <a:pos x="158" y="0"/>
                </a:cxn>
                <a:cxn ang="0">
                  <a:pos x="103" y="44"/>
                </a:cxn>
                <a:cxn ang="0">
                  <a:pos x="40" y="35"/>
                </a:cxn>
                <a:cxn ang="0">
                  <a:pos x="9" y="8"/>
                </a:cxn>
                <a:cxn ang="0">
                  <a:pos x="7" y="114"/>
                </a:cxn>
                <a:cxn ang="0">
                  <a:pos x="0" y="170"/>
                </a:cxn>
                <a:cxn ang="0">
                  <a:pos x="0" y="225"/>
                </a:cxn>
                <a:cxn ang="0">
                  <a:pos x="55" y="225"/>
                </a:cxn>
              </a:cxnLst>
              <a:rect l="0" t="0" r="r" b="b"/>
              <a:pathLst>
                <a:path w="186" h="225">
                  <a:moveTo>
                    <a:pt x="55" y="225"/>
                  </a:moveTo>
                  <a:lnTo>
                    <a:pt x="95" y="186"/>
                  </a:lnTo>
                  <a:lnTo>
                    <a:pt x="134" y="154"/>
                  </a:lnTo>
                  <a:lnTo>
                    <a:pt x="134" y="90"/>
                  </a:lnTo>
                  <a:lnTo>
                    <a:pt x="186" y="48"/>
                  </a:lnTo>
                  <a:lnTo>
                    <a:pt x="158" y="0"/>
                  </a:lnTo>
                  <a:lnTo>
                    <a:pt x="103" y="44"/>
                  </a:lnTo>
                  <a:lnTo>
                    <a:pt x="40" y="35"/>
                  </a:lnTo>
                  <a:lnTo>
                    <a:pt x="9" y="8"/>
                  </a:lnTo>
                  <a:lnTo>
                    <a:pt x="7" y="114"/>
                  </a:lnTo>
                  <a:lnTo>
                    <a:pt x="0" y="170"/>
                  </a:lnTo>
                  <a:lnTo>
                    <a:pt x="0" y="225"/>
                  </a:lnTo>
                  <a:lnTo>
                    <a:pt x="55" y="22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5" name="Freeform 225"/>
            <p:cNvSpPr>
              <a:spLocks noChangeAspect="1"/>
            </p:cNvSpPr>
            <p:nvPr/>
          </p:nvSpPr>
          <p:spPr bwMode="auto">
            <a:xfrm>
              <a:off x="1638268" y="3247075"/>
              <a:ext cx="154725" cy="154421"/>
            </a:xfrm>
            <a:custGeom>
              <a:avLst/>
              <a:gdLst/>
              <a:ahLst/>
              <a:cxnLst>
                <a:cxn ang="0">
                  <a:pos x="0" y="226"/>
                </a:cxn>
                <a:cxn ang="0">
                  <a:pos x="31" y="253"/>
                </a:cxn>
                <a:cxn ang="0">
                  <a:pos x="94" y="262"/>
                </a:cxn>
                <a:cxn ang="0">
                  <a:pos x="149" y="218"/>
                </a:cxn>
                <a:cxn ang="0">
                  <a:pos x="197" y="190"/>
                </a:cxn>
                <a:cxn ang="0">
                  <a:pos x="256" y="150"/>
                </a:cxn>
                <a:cxn ang="0">
                  <a:pos x="263" y="108"/>
                </a:cxn>
                <a:cxn ang="0">
                  <a:pos x="264" y="47"/>
                </a:cxn>
                <a:cxn ang="0">
                  <a:pos x="249" y="0"/>
                </a:cxn>
                <a:cxn ang="0">
                  <a:pos x="190" y="11"/>
                </a:cxn>
                <a:cxn ang="0">
                  <a:pos x="139" y="11"/>
                </a:cxn>
                <a:cxn ang="0">
                  <a:pos x="67" y="20"/>
                </a:cxn>
                <a:cxn ang="0">
                  <a:pos x="27" y="27"/>
                </a:cxn>
                <a:cxn ang="0">
                  <a:pos x="15" y="72"/>
                </a:cxn>
                <a:cxn ang="0">
                  <a:pos x="27" y="123"/>
                </a:cxn>
                <a:cxn ang="0">
                  <a:pos x="66" y="150"/>
                </a:cxn>
                <a:cxn ang="0">
                  <a:pos x="42" y="202"/>
                </a:cxn>
                <a:cxn ang="0">
                  <a:pos x="0" y="226"/>
                </a:cxn>
              </a:cxnLst>
              <a:rect l="0" t="0" r="r" b="b"/>
              <a:pathLst>
                <a:path w="264" h="262">
                  <a:moveTo>
                    <a:pt x="0" y="226"/>
                  </a:moveTo>
                  <a:lnTo>
                    <a:pt x="31" y="253"/>
                  </a:lnTo>
                  <a:lnTo>
                    <a:pt x="94" y="262"/>
                  </a:lnTo>
                  <a:lnTo>
                    <a:pt x="149" y="218"/>
                  </a:lnTo>
                  <a:lnTo>
                    <a:pt x="197" y="190"/>
                  </a:lnTo>
                  <a:lnTo>
                    <a:pt x="256" y="150"/>
                  </a:lnTo>
                  <a:lnTo>
                    <a:pt x="263" y="108"/>
                  </a:lnTo>
                  <a:lnTo>
                    <a:pt x="264" y="47"/>
                  </a:lnTo>
                  <a:lnTo>
                    <a:pt x="249" y="0"/>
                  </a:lnTo>
                  <a:lnTo>
                    <a:pt x="190" y="11"/>
                  </a:lnTo>
                  <a:lnTo>
                    <a:pt x="139" y="11"/>
                  </a:lnTo>
                  <a:lnTo>
                    <a:pt x="67" y="20"/>
                  </a:lnTo>
                  <a:lnTo>
                    <a:pt x="27" y="27"/>
                  </a:lnTo>
                  <a:lnTo>
                    <a:pt x="15" y="72"/>
                  </a:lnTo>
                  <a:lnTo>
                    <a:pt x="27" y="123"/>
                  </a:lnTo>
                  <a:lnTo>
                    <a:pt x="66" y="150"/>
                  </a:lnTo>
                  <a:lnTo>
                    <a:pt x="42" y="202"/>
                  </a:lnTo>
                  <a:lnTo>
                    <a:pt x="0" y="22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6" name="Freeform 226"/>
            <p:cNvSpPr>
              <a:spLocks noChangeAspect="1"/>
            </p:cNvSpPr>
            <p:nvPr/>
          </p:nvSpPr>
          <p:spPr bwMode="auto">
            <a:xfrm>
              <a:off x="2299368" y="3202701"/>
              <a:ext cx="355165" cy="319492"/>
            </a:xfrm>
            <a:custGeom>
              <a:avLst/>
              <a:gdLst/>
              <a:ahLst/>
              <a:cxnLst>
                <a:cxn ang="0">
                  <a:pos x="604" y="88"/>
                </a:cxn>
                <a:cxn ang="0">
                  <a:pos x="506" y="83"/>
                </a:cxn>
                <a:cxn ang="0">
                  <a:pos x="506" y="83"/>
                </a:cxn>
                <a:cxn ang="0">
                  <a:pos x="459" y="63"/>
                </a:cxn>
                <a:cxn ang="0">
                  <a:pos x="435" y="4"/>
                </a:cxn>
                <a:cxn ang="0">
                  <a:pos x="411" y="0"/>
                </a:cxn>
                <a:cxn ang="0">
                  <a:pos x="391" y="41"/>
                </a:cxn>
                <a:cxn ang="0">
                  <a:pos x="321" y="56"/>
                </a:cxn>
                <a:cxn ang="0">
                  <a:pos x="293" y="72"/>
                </a:cxn>
                <a:cxn ang="0">
                  <a:pos x="257" y="56"/>
                </a:cxn>
                <a:cxn ang="0">
                  <a:pos x="198" y="52"/>
                </a:cxn>
                <a:cxn ang="0">
                  <a:pos x="174" y="72"/>
                </a:cxn>
                <a:cxn ang="0">
                  <a:pos x="139" y="76"/>
                </a:cxn>
                <a:cxn ang="0">
                  <a:pos x="127" y="100"/>
                </a:cxn>
                <a:cxn ang="0">
                  <a:pos x="95" y="120"/>
                </a:cxn>
                <a:cxn ang="0">
                  <a:pos x="87" y="159"/>
                </a:cxn>
                <a:cxn ang="0">
                  <a:pos x="39" y="170"/>
                </a:cxn>
                <a:cxn ang="0">
                  <a:pos x="0" y="206"/>
                </a:cxn>
                <a:cxn ang="0">
                  <a:pos x="12" y="277"/>
                </a:cxn>
                <a:cxn ang="0">
                  <a:pos x="0" y="388"/>
                </a:cxn>
                <a:cxn ang="0">
                  <a:pos x="56" y="388"/>
                </a:cxn>
                <a:cxn ang="0">
                  <a:pos x="71" y="444"/>
                </a:cxn>
                <a:cxn ang="0">
                  <a:pos x="48" y="475"/>
                </a:cxn>
                <a:cxn ang="0">
                  <a:pos x="43" y="518"/>
                </a:cxn>
                <a:cxn ang="0">
                  <a:pos x="95" y="542"/>
                </a:cxn>
                <a:cxn ang="0">
                  <a:pos x="115" y="503"/>
                </a:cxn>
                <a:cxn ang="0">
                  <a:pos x="245" y="490"/>
                </a:cxn>
                <a:cxn ang="0">
                  <a:pos x="265" y="444"/>
                </a:cxn>
                <a:cxn ang="0">
                  <a:pos x="301" y="416"/>
                </a:cxn>
                <a:cxn ang="0">
                  <a:pos x="352" y="383"/>
                </a:cxn>
                <a:cxn ang="0">
                  <a:pos x="391" y="380"/>
                </a:cxn>
                <a:cxn ang="0">
                  <a:pos x="404" y="324"/>
                </a:cxn>
                <a:cxn ang="0">
                  <a:pos x="435" y="304"/>
                </a:cxn>
                <a:cxn ang="0">
                  <a:pos x="455" y="258"/>
                </a:cxn>
                <a:cxn ang="0">
                  <a:pos x="473" y="200"/>
                </a:cxn>
                <a:cxn ang="0">
                  <a:pos x="473" y="200"/>
                </a:cxn>
                <a:cxn ang="0">
                  <a:pos x="483" y="151"/>
                </a:cxn>
                <a:cxn ang="0">
                  <a:pos x="525" y="135"/>
                </a:cxn>
                <a:cxn ang="0">
                  <a:pos x="525" y="135"/>
                </a:cxn>
                <a:cxn ang="0">
                  <a:pos x="554" y="142"/>
                </a:cxn>
                <a:cxn ang="0">
                  <a:pos x="593" y="162"/>
                </a:cxn>
                <a:cxn ang="0">
                  <a:pos x="604" y="88"/>
                </a:cxn>
              </a:cxnLst>
              <a:rect l="0" t="0" r="r" b="b"/>
              <a:pathLst>
                <a:path w="604" h="542">
                  <a:moveTo>
                    <a:pt x="604" y="88"/>
                  </a:moveTo>
                  <a:lnTo>
                    <a:pt x="506" y="83"/>
                  </a:lnTo>
                  <a:lnTo>
                    <a:pt x="506" y="83"/>
                  </a:lnTo>
                  <a:lnTo>
                    <a:pt x="459" y="63"/>
                  </a:lnTo>
                  <a:lnTo>
                    <a:pt x="435" y="4"/>
                  </a:lnTo>
                  <a:lnTo>
                    <a:pt x="411" y="0"/>
                  </a:lnTo>
                  <a:lnTo>
                    <a:pt x="391" y="41"/>
                  </a:lnTo>
                  <a:lnTo>
                    <a:pt x="321" y="56"/>
                  </a:lnTo>
                  <a:lnTo>
                    <a:pt x="293" y="72"/>
                  </a:lnTo>
                  <a:lnTo>
                    <a:pt x="257" y="56"/>
                  </a:lnTo>
                  <a:lnTo>
                    <a:pt x="198" y="52"/>
                  </a:lnTo>
                  <a:lnTo>
                    <a:pt x="174" y="72"/>
                  </a:lnTo>
                  <a:lnTo>
                    <a:pt x="139" y="76"/>
                  </a:lnTo>
                  <a:lnTo>
                    <a:pt x="127" y="100"/>
                  </a:lnTo>
                  <a:lnTo>
                    <a:pt x="95" y="120"/>
                  </a:lnTo>
                  <a:lnTo>
                    <a:pt x="87" y="159"/>
                  </a:lnTo>
                  <a:lnTo>
                    <a:pt x="39" y="170"/>
                  </a:lnTo>
                  <a:lnTo>
                    <a:pt x="0" y="206"/>
                  </a:lnTo>
                  <a:lnTo>
                    <a:pt x="12" y="277"/>
                  </a:lnTo>
                  <a:lnTo>
                    <a:pt x="0" y="388"/>
                  </a:lnTo>
                  <a:lnTo>
                    <a:pt x="56" y="388"/>
                  </a:lnTo>
                  <a:lnTo>
                    <a:pt x="71" y="444"/>
                  </a:lnTo>
                  <a:lnTo>
                    <a:pt x="48" y="475"/>
                  </a:lnTo>
                  <a:lnTo>
                    <a:pt x="43" y="518"/>
                  </a:lnTo>
                  <a:lnTo>
                    <a:pt x="95" y="542"/>
                  </a:lnTo>
                  <a:lnTo>
                    <a:pt x="115" y="503"/>
                  </a:lnTo>
                  <a:lnTo>
                    <a:pt x="245" y="490"/>
                  </a:lnTo>
                  <a:lnTo>
                    <a:pt x="265" y="444"/>
                  </a:lnTo>
                  <a:lnTo>
                    <a:pt x="301" y="416"/>
                  </a:lnTo>
                  <a:lnTo>
                    <a:pt x="352" y="383"/>
                  </a:lnTo>
                  <a:lnTo>
                    <a:pt x="391" y="380"/>
                  </a:lnTo>
                  <a:lnTo>
                    <a:pt x="404" y="324"/>
                  </a:lnTo>
                  <a:lnTo>
                    <a:pt x="435" y="304"/>
                  </a:lnTo>
                  <a:lnTo>
                    <a:pt x="455" y="258"/>
                  </a:lnTo>
                  <a:lnTo>
                    <a:pt x="473" y="200"/>
                  </a:lnTo>
                  <a:lnTo>
                    <a:pt x="473" y="200"/>
                  </a:lnTo>
                  <a:lnTo>
                    <a:pt x="483" y="151"/>
                  </a:lnTo>
                  <a:lnTo>
                    <a:pt x="525" y="135"/>
                  </a:lnTo>
                  <a:lnTo>
                    <a:pt x="525" y="135"/>
                  </a:lnTo>
                  <a:lnTo>
                    <a:pt x="554" y="142"/>
                  </a:lnTo>
                  <a:lnTo>
                    <a:pt x="593" y="162"/>
                  </a:lnTo>
                  <a:lnTo>
                    <a:pt x="604" y="8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7" name="Freeform 227"/>
            <p:cNvSpPr>
              <a:spLocks noChangeAspect="1"/>
            </p:cNvSpPr>
            <p:nvPr/>
          </p:nvSpPr>
          <p:spPr bwMode="auto">
            <a:xfrm>
              <a:off x="2079587" y="3082004"/>
              <a:ext cx="337583" cy="241394"/>
            </a:xfrm>
            <a:custGeom>
              <a:avLst/>
              <a:gdLst/>
              <a:ahLst/>
              <a:cxnLst>
                <a:cxn ang="0">
                  <a:pos x="573" y="256"/>
                </a:cxn>
                <a:cxn ang="0">
                  <a:pos x="549" y="276"/>
                </a:cxn>
                <a:cxn ang="0">
                  <a:pos x="514" y="280"/>
                </a:cxn>
                <a:cxn ang="0">
                  <a:pos x="502" y="304"/>
                </a:cxn>
                <a:cxn ang="0">
                  <a:pos x="470" y="324"/>
                </a:cxn>
                <a:cxn ang="0">
                  <a:pos x="462" y="363"/>
                </a:cxn>
                <a:cxn ang="0">
                  <a:pos x="414" y="374"/>
                </a:cxn>
                <a:cxn ang="0">
                  <a:pos x="375" y="410"/>
                </a:cxn>
                <a:cxn ang="0">
                  <a:pos x="391" y="307"/>
                </a:cxn>
                <a:cxn ang="0">
                  <a:pos x="328" y="276"/>
                </a:cxn>
                <a:cxn ang="0">
                  <a:pos x="256" y="225"/>
                </a:cxn>
                <a:cxn ang="0">
                  <a:pos x="205" y="221"/>
                </a:cxn>
                <a:cxn ang="0">
                  <a:pos x="126" y="204"/>
                </a:cxn>
                <a:cxn ang="0">
                  <a:pos x="107" y="245"/>
                </a:cxn>
                <a:cxn ang="0">
                  <a:pos x="59" y="263"/>
                </a:cxn>
                <a:cxn ang="0">
                  <a:pos x="52" y="204"/>
                </a:cxn>
                <a:cxn ang="0">
                  <a:pos x="48" y="173"/>
                </a:cxn>
                <a:cxn ang="0">
                  <a:pos x="35" y="149"/>
                </a:cxn>
                <a:cxn ang="0">
                  <a:pos x="28" y="98"/>
                </a:cxn>
                <a:cxn ang="0">
                  <a:pos x="8" y="78"/>
                </a:cxn>
                <a:cxn ang="0">
                  <a:pos x="24" y="59"/>
                </a:cxn>
                <a:cxn ang="0">
                  <a:pos x="0" y="42"/>
                </a:cxn>
                <a:cxn ang="0">
                  <a:pos x="4" y="11"/>
                </a:cxn>
                <a:cxn ang="0">
                  <a:pos x="52" y="58"/>
                </a:cxn>
                <a:cxn ang="0">
                  <a:pos x="75" y="17"/>
                </a:cxn>
                <a:cxn ang="0">
                  <a:pos x="119" y="0"/>
                </a:cxn>
                <a:cxn ang="0">
                  <a:pos x="156" y="15"/>
                </a:cxn>
                <a:cxn ang="0">
                  <a:pos x="156" y="46"/>
                </a:cxn>
                <a:cxn ang="0">
                  <a:pos x="197" y="59"/>
                </a:cxn>
                <a:cxn ang="0">
                  <a:pos x="254" y="76"/>
                </a:cxn>
                <a:cxn ang="0">
                  <a:pos x="261" y="42"/>
                </a:cxn>
                <a:cxn ang="0">
                  <a:pos x="291" y="34"/>
                </a:cxn>
                <a:cxn ang="0">
                  <a:pos x="322" y="19"/>
                </a:cxn>
                <a:cxn ang="0">
                  <a:pos x="337" y="46"/>
                </a:cxn>
                <a:cxn ang="0">
                  <a:pos x="360" y="65"/>
                </a:cxn>
                <a:cxn ang="0">
                  <a:pos x="349" y="88"/>
                </a:cxn>
                <a:cxn ang="0">
                  <a:pos x="383" y="95"/>
                </a:cxn>
                <a:cxn ang="0">
                  <a:pos x="406" y="95"/>
                </a:cxn>
                <a:cxn ang="0">
                  <a:pos x="432" y="106"/>
                </a:cxn>
                <a:cxn ang="0">
                  <a:pos x="421" y="144"/>
                </a:cxn>
                <a:cxn ang="0">
                  <a:pos x="526" y="227"/>
                </a:cxn>
                <a:cxn ang="0">
                  <a:pos x="553" y="212"/>
                </a:cxn>
                <a:cxn ang="0">
                  <a:pos x="575" y="223"/>
                </a:cxn>
                <a:cxn ang="0">
                  <a:pos x="573" y="256"/>
                </a:cxn>
              </a:cxnLst>
              <a:rect l="0" t="0" r="r" b="b"/>
              <a:pathLst>
                <a:path w="575" h="410">
                  <a:moveTo>
                    <a:pt x="573" y="256"/>
                  </a:moveTo>
                  <a:lnTo>
                    <a:pt x="549" y="276"/>
                  </a:lnTo>
                  <a:lnTo>
                    <a:pt x="514" y="280"/>
                  </a:lnTo>
                  <a:lnTo>
                    <a:pt x="502" y="304"/>
                  </a:lnTo>
                  <a:lnTo>
                    <a:pt x="470" y="324"/>
                  </a:lnTo>
                  <a:lnTo>
                    <a:pt x="462" y="363"/>
                  </a:lnTo>
                  <a:lnTo>
                    <a:pt x="414" y="374"/>
                  </a:lnTo>
                  <a:lnTo>
                    <a:pt x="375" y="410"/>
                  </a:lnTo>
                  <a:lnTo>
                    <a:pt x="391" y="307"/>
                  </a:lnTo>
                  <a:lnTo>
                    <a:pt x="328" y="276"/>
                  </a:lnTo>
                  <a:lnTo>
                    <a:pt x="256" y="225"/>
                  </a:lnTo>
                  <a:lnTo>
                    <a:pt x="205" y="221"/>
                  </a:lnTo>
                  <a:lnTo>
                    <a:pt x="126" y="204"/>
                  </a:lnTo>
                  <a:lnTo>
                    <a:pt x="107" y="245"/>
                  </a:lnTo>
                  <a:lnTo>
                    <a:pt x="59" y="263"/>
                  </a:lnTo>
                  <a:lnTo>
                    <a:pt x="52" y="204"/>
                  </a:lnTo>
                  <a:lnTo>
                    <a:pt x="48" y="173"/>
                  </a:lnTo>
                  <a:lnTo>
                    <a:pt x="35" y="149"/>
                  </a:lnTo>
                  <a:lnTo>
                    <a:pt x="28" y="98"/>
                  </a:lnTo>
                  <a:lnTo>
                    <a:pt x="8" y="78"/>
                  </a:lnTo>
                  <a:lnTo>
                    <a:pt x="24" y="59"/>
                  </a:lnTo>
                  <a:lnTo>
                    <a:pt x="0" y="42"/>
                  </a:lnTo>
                  <a:lnTo>
                    <a:pt x="4" y="11"/>
                  </a:lnTo>
                  <a:lnTo>
                    <a:pt x="52" y="58"/>
                  </a:lnTo>
                  <a:lnTo>
                    <a:pt x="75" y="17"/>
                  </a:lnTo>
                  <a:lnTo>
                    <a:pt x="119" y="0"/>
                  </a:lnTo>
                  <a:lnTo>
                    <a:pt x="156" y="15"/>
                  </a:lnTo>
                  <a:lnTo>
                    <a:pt x="156" y="46"/>
                  </a:lnTo>
                  <a:lnTo>
                    <a:pt x="197" y="59"/>
                  </a:lnTo>
                  <a:lnTo>
                    <a:pt x="254" y="76"/>
                  </a:lnTo>
                  <a:lnTo>
                    <a:pt x="261" y="42"/>
                  </a:lnTo>
                  <a:lnTo>
                    <a:pt x="291" y="34"/>
                  </a:lnTo>
                  <a:lnTo>
                    <a:pt x="322" y="19"/>
                  </a:lnTo>
                  <a:lnTo>
                    <a:pt x="337" y="46"/>
                  </a:lnTo>
                  <a:lnTo>
                    <a:pt x="360" y="65"/>
                  </a:lnTo>
                  <a:lnTo>
                    <a:pt x="349" y="88"/>
                  </a:lnTo>
                  <a:lnTo>
                    <a:pt x="383" y="95"/>
                  </a:lnTo>
                  <a:lnTo>
                    <a:pt x="406" y="95"/>
                  </a:lnTo>
                  <a:lnTo>
                    <a:pt x="432" y="106"/>
                  </a:lnTo>
                  <a:lnTo>
                    <a:pt x="421" y="144"/>
                  </a:lnTo>
                  <a:lnTo>
                    <a:pt x="526" y="227"/>
                  </a:lnTo>
                  <a:lnTo>
                    <a:pt x="553" y="212"/>
                  </a:lnTo>
                  <a:lnTo>
                    <a:pt x="575" y="223"/>
                  </a:lnTo>
                  <a:lnTo>
                    <a:pt x="573" y="25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8" name="Freeform 228"/>
            <p:cNvSpPr>
              <a:spLocks noChangeAspect="1"/>
            </p:cNvSpPr>
            <p:nvPr/>
          </p:nvSpPr>
          <p:spPr bwMode="auto">
            <a:xfrm>
              <a:off x="2471676" y="3115729"/>
              <a:ext cx="214506" cy="138447"/>
            </a:xfrm>
            <a:custGeom>
              <a:avLst/>
              <a:gdLst/>
              <a:ahLst/>
              <a:cxnLst>
                <a:cxn ang="0">
                  <a:pos x="112" y="26"/>
                </a:cxn>
                <a:cxn ang="0">
                  <a:pos x="85" y="79"/>
                </a:cxn>
                <a:cxn ang="0">
                  <a:pos x="48" y="128"/>
                </a:cxn>
                <a:cxn ang="0">
                  <a:pos x="0" y="218"/>
                </a:cxn>
                <a:cxn ang="0">
                  <a:pos x="28" y="202"/>
                </a:cxn>
                <a:cxn ang="0">
                  <a:pos x="98" y="187"/>
                </a:cxn>
                <a:cxn ang="0">
                  <a:pos x="118" y="146"/>
                </a:cxn>
                <a:cxn ang="0">
                  <a:pos x="142" y="150"/>
                </a:cxn>
                <a:cxn ang="0">
                  <a:pos x="166" y="209"/>
                </a:cxn>
                <a:cxn ang="0">
                  <a:pos x="213" y="229"/>
                </a:cxn>
                <a:cxn ang="0">
                  <a:pos x="213" y="229"/>
                </a:cxn>
                <a:cxn ang="0">
                  <a:pos x="311" y="234"/>
                </a:cxn>
                <a:cxn ang="0">
                  <a:pos x="311" y="194"/>
                </a:cxn>
                <a:cxn ang="0">
                  <a:pos x="304" y="199"/>
                </a:cxn>
                <a:cxn ang="0">
                  <a:pos x="256" y="168"/>
                </a:cxn>
                <a:cxn ang="0">
                  <a:pos x="265" y="96"/>
                </a:cxn>
                <a:cxn ang="0">
                  <a:pos x="300" y="69"/>
                </a:cxn>
                <a:cxn ang="0">
                  <a:pos x="367" y="113"/>
                </a:cxn>
                <a:cxn ang="0">
                  <a:pos x="324" y="0"/>
                </a:cxn>
                <a:cxn ang="0">
                  <a:pos x="270" y="37"/>
                </a:cxn>
                <a:cxn ang="0">
                  <a:pos x="225" y="45"/>
                </a:cxn>
                <a:cxn ang="0">
                  <a:pos x="112" y="26"/>
                </a:cxn>
              </a:cxnLst>
              <a:rect l="0" t="0" r="r" b="b"/>
              <a:pathLst>
                <a:path w="367" h="234">
                  <a:moveTo>
                    <a:pt x="112" y="26"/>
                  </a:moveTo>
                  <a:lnTo>
                    <a:pt x="85" y="79"/>
                  </a:lnTo>
                  <a:lnTo>
                    <a:pt x="48" y="128"/>
                  </a:lnTo>
                  <a:lnTo>
                    <a:pt x="0" y="218"/>
                  </a:lnTo>
                  <a:lnTo>
                    <a:pt x="28" y="202"/>
                  </a:lnTo>
                  <a:lnTo>
                    <a:pt x="98" y="187"/>
                  </a:lnTo>
                  <a:lnTo>
                    <a:pt x="118" y="146"/>
                  </a:lnTo>
                  <a:lnTo>
                    <a:pt x="142" y="150"/>
                  </a:lnTo>
                  <a:lnTo>
                    <a:pt x="166" y="209"/>
                  </a:lnTo>
                  <a:lnTo>
                    <a:pt x="213" y="229"/>
                  </a:lnTo>
                  <a:lnTo>
                    <a:pt x="213" y="229"/>
                  </a:lnTo>
                  <a:lnTo>
                    <a:pt x="311" y="234"/>
                  </a:lnTo>
                  <a:lnTo>
                    <a:pt x="311" y="194"/>
                  </a:lnTo>
                  <a:lnTo>
                    <a:pt x="304" y="199"/>
                  </a:lnTo>
                  <a:lnTo>
                    <a:pt x="256" y="168"/>
                  </a:lnTo>
                  <a:lnTo>
                    <a:pt x="265" y="96"/>
                  </a:lnTo>
                  <a:lnTo>
                    <a:pt x="300" y="69"/>
                  </a:lnTo>
                  <a:lnTo>
                    <a:pt x="367" y="113"/>
                  </a:lnTo>
                  <a:lnTo>
                    <a:pt x="324" y="0"/>
                  </a:lnTo>
                  <a:lnTo>
                    <a:pt x="270" y="37"/>
                  </a:lnTo>
                  <a:lnTo>
                    <a:pt x="225" y="45"/>
                  </a:lnTo>
                  <a:lnTo>
                    <a:pt x="112" y="2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9" name="Freeform 229"/>
            <p:cNvSpPr>
              <a:spLocks noChangeAspect="1"/>
            </p:cNvSpPr>
            <p:nvPr/>
          </p:nvSpPr>
          <p:spPr bwMode="auto">
            <a:xfrm>
              <a:off x="2195631" y="2936458"/>
              <a:ext cx="341099" cy="308842"/>
            </a:xfrm>
            <a:custGeom>
              <a:avLst/>
              <a:gdLst/>
              <a:ahLst/>
              <a:cxnLst>
                <a:cxn ang="0">
                  <a:pos x="471" y="522"/>
                </a:cxn>
                <a:cxn ang="0">
                  <a:pos x="435" y="506"/>
                </a:cxn>
                <a:cxn ang="0">
                  <a:pos x="376" y="502"/>
                </a:cxn>
                <a:cxn ang="0">
                  <a:pos x="378" y="469"/>
                </a:cxn>
                <a:cxn ang="0">
                  <a:pos x="356" y="458"/>
                </a:cxn>
                <a:cxn ang="0">
                  <a:pos x="329" y="473"/>
                </a:cxn>
                <a:cxn ang="0">
                  <a:pos x="224" y="390"/>
                </a:cxn>
                <a:cxn ang="0">
                  <a:pos x="235" y="352"/>
                </a:cxn>
                <a:cxn ang="0">
                  <a:pos x="209" y="341"/>
                </a:cxn>
                <a:cxn ang="0">
                  <a:pos x="186" y="341"/>
                </a:cxn>
                <a:cxn ang="0">
                  <a:pos x="152" y="334"/>
                </a:cxn>
                <a:cxn ang="0">
                  <a:pos x="163" y="311"/>
                </a:cxn>
                <a:cxn ang="0">
                  <a:pos x="140" y="292"/>
                </a:cxn>
                <a:cxn ang="0">
                  <a:pos x="125" y="265"/>
                </a:cxn>
                <a:cxn ang="0">
                  <a:pos x="94" y="280"/>
                </a:cxn>
                <a:cxn ang="0">
                  <a:pos x="64" y="288"/>
                </a:cxn>
                <a:cxn ang="0">
                  <a:pos x="57" y="322"/>
                </a:cxn>
                <a:cxn ang="0">
                  <a:pos x="0" y="305"/>
                </a:cxn>
                <a:cxn ang="0">
                  <a:pos x="34" y="76"/>
                </a:cxn>
                <a:cxn ang="0">
                  <a:pos x="133" y="0"/>
                </a:cxn>
                <a:cxn ang="0">
                  <a:pos x="142" y="115"/>
                </a:cxn>
                <a:cxn ang="0">
                  <a:pos x="189" y="115"/>
                </a:cxn>
                <a:cxn ang="0">
                  <a:pos x="212" y="138"/>
                </a:cxn>
                <a:cxn ang="0">
                  <a:pos x="268" y="138"/>
                </a:cxn>
                <a:cxn ang="0">
                  <a:pos x="271" y="64"/>
                </a:cxn>
                <a:cxn ang="0">
                  <a:pos x="303" y="118"/>
                </a:cxn>
                <a:cxn ang="0">
                  <a:pos x="318" y="155"/>
                </a:cxn>
                <a:cxn ang="0">
                  <a:pos x="374" y="140"/>
                </a:cxn>
                <a:cxn ang="0">
                  <a:pos x="427" y="148"/>
                </a:cxn>
                <a:cxn ang="0">
                  <a:pos x="477" y="170"/>
                </a:cxn>
                <a:cxn ang="0">
                  <a:pos x="481" y="238"/>
                </a:cxn>
                <a:cxn ang="0">
                  <a:pos x="496" y="280"/>
                </a:cxn>
                <a:cxn ang="0">
                  <a:pos x="549" y="307"/>
                </a:cxn>
                <a:cxn ang="0">
                  <a:pos x="583" y="330"/>
                </a:cxn>
                <a:cxn ang="0">
                  <a:pos x="556" y="383"/>
                </a:cxn>
                <a:cxn ang="0">
                  <a:pos x="519" y="432"/>
                </a:cxn>
                <a:cxn ang="0">
                  <a:pos x="471" y="522"/>
                </a:cxn>
              </a:cxnLst>
              <a:rect l="0" t="0" r="r" b="b"/>
              <a:pathLst>
                <a:path w="583" h="522">
                  <a:moveTo>
                    <a:pt x="471" y="522"/>
                  </a:moveTo>
                  <a:lnTo>
                    <a:pt x="435" y="506"/>
                  </a:lnTo>
                  <a:lnTo>
                    <a:pt x="376" y="502"/>
                  </a:lnTo>
                  <a:lnTo>
                    <a:pt x="378" y="469"/>
                  </a:lnTo>
                  <a:lnTo>
                    <a:pt x="356" y="458"/>
                  </a:lnTo>
                  <a:lnTo>
                    <a:pt x="329" y="473"/>
                  </a:lnTo>
                  <a:lnTo>
                    <a:pt x="224" y="390"/>
                  </a:lnTo>
                  <a:lnTo>
                    <a:pt x="235" y="352"/>
                  </a:lnTo>
                  <a:lnTo>
                    <a:pt x="209" y="341"/>
                  </a:lnTo>
                  <a:lnTo>
                    <a:pt x="186" y="341"/>
                  </a:lnTo>
                  <a:lnTo>
                    <a:pt x="152" y="334"/>
                  </a:lnTo>
                  <a:lnTo>
                    <a:pt x="163" y="311"/>
                  </a:lnTo>
                  <a:lnTo>
                    <a:pt x="140" y="292"/>
                  </a:lnTo>
                  <a:lnTo>
                    <a:pt x="125" y="265"/>
                  </a:lnTo>
                  <a:lnTo>
                    <a:pt x="94" y="280"/>
                  </a:lnTo>
                  <a:lnTo>
                    <a:pt x="64" y="288"/>
                  </a:lnTo>
                  <a:lnTo>
                    <a:pt x="57" y="322"/>
                  </a:lnTo>
                  <a:lnTo>
                    <a:pt x="0" y="305"/>
                  </a:lnTo>
                  <a:lnTo>
                    <a:pt x="34" y="76"/>
                  </a:lnTo>
                  <a:lnTo>
                    <a:pt x="133" y="0"/>
                  </a:lnTo>
                  <a:lnTo>
                    <a:pt x="142" y="115"/>
                  </a:lnTo>
                  <a:lnTo>
                    <a:pt x="189" y="115"/>
                  </a:lnTo>
                  <a:lnTo>
                    <a:pt x="212" y="138"/>
                  </a:lnTo>
                  <a:lnTo>
                    <a:pt x="268" y="138"/>
                  </a:lnTo>
                  <a:lnTo>
                    <a:pt x="271" y="64"/>
                  </a:lnTo>
                  <a:lnTo>
                    <a:pt x="303" y="118"/>
                  </a:lnTo>
                  <a:lnTo>
                    <a:pt x="318" y="155"/>
                  </a:lnTo>
                  <a:lnTo>
                    <a:pt x="374" y="140"/>
                  </a:lnTo>
                  <a:lnTo>
                    <a:pt x="427" y="148"/>
                  </a:lnTo>
                  <a:lnTo>
                    <a:pt x="477" y="170"/>
                  </a:lnTo>
                  <a:lnTo>
                    <a:pt x="481" y="238"/>
                  </a:lnTo>
                  <a:lnTo>
                    <a:pt x="496" y="280"/>
                  </a:lnTo>
                  <a:lnTo>
                    <a:pt x="549" y="307"/>
                  </a:lnTo>
                  <a:lnTo>
                    <a:pt x="583" y="330"/>
                  </a:lnTo>
                  <a:lnTo>
                    <a:pt x="556" y="383"/>
                  </a:lnTo>
                  <a:lnTo>
                    <a:pt x="519" y="432"/>
                  </a:lnTo>
                  <a:lnTo>
                    <a:pt x="471" y="52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0" name="Freeform 230"/>
            <p:cNvSpPr>
              <a:spLocks noChangeAspect="1"/>
            </p:cNvSpPr>
            <p:nvPr/>
          </p:nvSpPr>
          <p:spPr bwMode="auto">
            <a:xfrm>
              <a:off x="1875631" y="3018106"/>
              <a:ext cx="140660" cy="161521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15" y="93"/>
                </a:cxn>
                <a:cxn ang="0">
                  <a:pos x="51" y="162"/>
                </a:cxn>
                <a:cxn ang="0">
                  <a:pos x="92" y="245"/>
                </a:cxn>
                <a:cxn ang="0">
                  <a:pos x="56" y="268"/>
                </a:cxn>
                <a:cxn ang="0">
                  <a:pos x="115" y="268"/>
                </a:cxn>
                <a:cxn ang="0">
                  <a:pos x="127" y="230"/>
                </a:cxn>
                <a:cxn ang="0">
                  <a:pos x="155" y="213"/>
                </a:cxn>
                <a:cxn ang="0">
                  <a:pos x="170" y="274"/>
                </a:cxn>
                <a:cxn ang="0">
                  <a:pos x="197" y="253"/>
                </a:cxn>
                <a:cxn ang="0">
                  <a:pos x="205" y="206"/>
                </a:cxn>
                <a:cxn ang="0">
                  <a:pos x="238" y="194"/>
                </a:cxn>
                <a:cxn ang="0">
                  <a:pos x="229" y="167"/>
                </a:cxn>
                <a:cxn ang="0">
                  <a:pos x="182" y="134"/>
                </a:cxn>
                <a:cxn ang="0">
                  <a:pos x="138" y="88"/>
                </a:cxn>
                <a:cxn ang="0">
                  <a:pos x="91" y="0"/>
                </a:cxn>
                <a:cxn ang="0">
                  <a:pos x="0" y="25"/>
                </a:cxn>
              </a:cxnLst>
              <a:rect l="0" t="0" r="r" b="b"/>
              <a:pathLst>
                <a:path w="238" h="274">
                  <a:moveTo>
                    <a:pt x="0" y="25"/>
                  </a:moveTo>
                  <a:lnTo>
                    <a:pt x="15" y="93"/>
                  </a:lnTo>
                  <a:lnTo>
                    <a:pt x="51" y="162"/>
                  </a:lnTo>
                  <a:lnTo>
                    <a:pt x="92" y="245"/>
                  </a:lnTo>
                  <a:lnTo>
                    <a:pt x="56" y="268"/>
                  </a:lnTo>
                  <a:lnTo>
                    <a:pt x="115" y="268"/>
                  </a:lnTo>
                  <a:lnTo>
                    <a:pt x="127" y="230"/>
                  </a:lnTo>
                  <a:lnTo>
                    <a:pt x="155" y="213"/>
                  </a:lnTo>
                  <a:lnTo>
                    <a:pt x="170" y="274"/>
                  </a:lnTo>
                  <a:lnTo>
                    <a:pt x="197" y="253"/>
                  </a:lnTo>
                  <a:lnTo>
                    <a:pt x="205" y="206"/>
                  </a:lnTo>
                  <a:lnTo>
                    <a:pt x="238" y="194"/>
                  </a:lnTo>
                  <a:lnTo>
                    <a:pt x="229" y="167"/>
                  </a:lnTo>
                  <a:lnTo>
                    <a:pt x="182" y="134"/>
                  </a:lnTo>
                  <a:lnTo>
                    <a:pt x="138" y="88"/>
                  </a:lnTo>
                  <a:lnTo>
                    <a:pt x="91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1" name="Freeform 231"/>
            <p:cNvSpPr>
              <a:spLocks noChangeAspect="1"/>
            </p:cNvSpPr>
            <p:nvPr/>
          </p:nvSpPr>
          <p:spPr bwMode="auto">
            <a:xfrm>
              <a:off x="298486" y="3987232"/>
              <a:ext cx="86154" cy="30174"/>
            </a:xfrm>
            <a:custGeom>
              <a:avLst/>
              <a:gdLst/>
              <a:ahLst/>
              <a:cxnLst>
                <a:cxn ang="0">
                  <a:pos x="8" y="6"/>
                </a:cxn>
                <a:cxn ang="0">
                  <a:pos x="68" y="7"/>
                </a:cxn>
                <a:cxn ang="0">
                  <a:pos x="92" y="0"/>
                </a:cxn>
                <a:cxn ang="0">
                  <a:pos x="148" y="7"/>
                </a:cxn>
                <a:cxn ang="0">
                  <a:pos x="147" y="36"/>
                </a:cxn>
                <a:cxn ang="0">
                  <a:pos x="121" y="32"/>
                </a:cxn>
                <a:cxn ang="0">
                  <a:pos x="94" y="25"/>
                </a:cxn>
                <a:cxn ang="0">
                  <a:pos x="49" y="49"/>
                </a:cxn>
                <a:cxn ang="0">
                  <a:pos x="0" y="41"/>
                </a:cxn>
                <a:cxn ang="0">
                  <a:pos x="27" y="24"/>
                </a:cxn>
                <a:cxn ang="0">
                  <a:pos x="8" y="6"/>
                </a:cxn>
              </a:cxnLst>
              <a:rect l="0" t="0" r="r" b="b"/>
              <a:pathLst>
                <a:path w="148" h="49">
                  <a:moveTo>
                    <a:pt x="8" y="6"/>
                  </a:moveTo>
                  <a:lnTo>
                    <a:pt x="68" y="7"/>
                  </a:lnTo>
                  <a:lnTo>
                    <a:pt x="92" y="0"/>
                  </a:lnTo>
                  <a:lnTo>
                    <a:pt x="148" y="7"/>
                  </a:lnTo>
                  <a:lnTo>
                    <a:pt x="147" y="36"/>
                  </a:lnTo>
                  <a:lnTo>
                    <a:pt x="121" y="32"/>
                  </a:lnTo>
                  <a:lnTo>
                    <a:pt x="94" y="25"/>
                  </a:lnTo>
                  <a:lnTo>
                    <a:pt x="49" y="49"/>
                  </a:lnTo>
                  <a:lnTo>
                    <a:pt x="0" y="41"/>
                  </a:lnTo>
                  <a:lnTo>
                    <a:pt x="27" y="24"/>
                  </a:lnTo>
                  <a:lnTo>
                    <a:pt x="8" y="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2" name="Freeform 232"/>
            <p:cNvSpPr>
              <a:spLocks noChangeAspect="1"/>
            </p:cNvSpPr>
            <p:nvPr/>
          </p:nvSpPr>
          <p:spPr bwMode="auto">
            <a:xfrm>
              <a:off x="1130135" y="2835286"/>
              <a:ext cx="163517" cy="92298"/>
            </a:xfrm>
            <a:custGeom>
              <a:avLst/>
              <a:gdLst/>
              <a:ahLst/>
              <a:cxnLst>
                <a:cxn ang="0">
                  <a:pos x="280" y="39"/>
                </a:cxn>
                <a:cxn ang="0">
                  <a:pos x="244" y="9"/>
                </a:cxn>
                <a:cxn ang="0">
                  <a:pos x="220" y="0"/>
                </a:cxn>
                <a:cxn ang="0">
                  <a:pos x="144" y="16"/>
                </a:cxn>
                <a:cxn ang="0">
                  <a:pos x="93" y="16"/>
                </a:cxn>
                <a:cxn ang="0">
                  <a:pos x="31" y="7"/>
                </a:cxn>
                <a:cxn ang="0">
                  <a:pos x="36" y="51"/>
                </a:cxn>
                <a:cxn ang="0">
                  <a:pos x="19" y="79"/>
                </a:cxn>
                <a:cxn ang="0">
                  <a:pos x="16" y="90"/>
                </a:cxn>
                <a:cxn ang="0">
                  <a:pos x="0" y="113"/>
                </a:cxn>
                <a:cxn ang="0">
                  <a:pos x="20" y="118"/>
                </a:cxn>
                <a:cxn ang="0">
                  <a:pos x="20" y="118"/>
                </a:cxn>
                <a:cxn ang="0">
                  <a:pos x="69" y="143"/>
                </a:cxn>
                <a:cxn ang="0">
                  <a:pos x="121" y="156"/>
                </a:cxn>
                <a:cxn ang="0">
                  <a:pos x="148" y="132"/>
                </a:cxn>
                <a:cxn ang="0">
                  <a:pos x="185" y="134"/>
                </a:cxn>
                <a:cxn ang="0">
                  <a:pos x="229" y="122"/>
                </a:cxn>
                <a:cxn ang="0">
                  <a:pos x="260" y="71"/>
                </a:cxn>
                <a:cxn ang="0">
                  <a:pos x="280" y="39"/>
                </a:cxn>
              </a:cxnLst>
              <a:rect l="0" t="0" r="r" b="b"/>
              <a:pathLst>
                <a:path w="280" h="156">
                  <a:moveTo>
                    <a:pt x="280" y="39"/>
                  </a:moveTo>
                  <a:lnTo>
                    <a:pt x="244" y="9"/>
                  </a:lnTo>
                  <a:lnTo>
                    <a:pt x="220" y="0"/>
                  </a:lnTo>
                  <a:lnTo>
                    <a:pt x="144" y="16"/>
                  </a:lnTo>
                  <a:lnTo>
                    <a:pt x="93" y="16"/>
                  </a:lnTo>
                  <a:lnTo>
                    <a:pt x="31" y="7"/>
                  </a:lnTo>
                  <a:lnTo>
                    <a:pt x="36" y="51"/>
                  </a:lnTo>
                  <a:lnTo>
                    <a:pt x="19" y="79"/>
                  </a:lnTo>
                  <a:lnTo>
                    <a:pt x="16" y="90"/>
                  </a:lnTo>
                  <a:lnTo>
                    <a:pt x="0" y="113"/>
                  </a:lnTo>
                  <a:lnTo>
                    <a:pt x="20" y="118"/>
                  </a:lnTo>
                  <a:lnTo>
                    <a:pt x="20" y="118"/>
                  </a:lnTo>
                  <a:lnTo>
                    <a:pt x="69" y="143"/>
                  </a:lnTo>
                  <a:lnTo>
                    <a:pt x="121" y="156"/>
                  </a:lnTo>
                  <a:lnTo>
                    <a:pt x="148" y="132"/>
                  </a:lnTo>
                  <a:lnTo>
                    <a:pt x="185" y="134"/>
                  </a:lnTo>
                  <a:lnTo>
                    <a:pt x="229" y="122"/>
                  </a:lnTo>
                  <a:lnTo>
                    <a:pt x="260" y="71"/>
                  </a:lnTo>
                  <a:lnTo>
                    <a:pt x="280" y="3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3" name="Freeform 233"/>
            <p:cNvSpPr>
              <a:spLocks noChangeAspect="1"/>
            </p:cNvSpPr>
            <p:nvPr/>
          </p:nvSpPr>
          <p:spPr bwMode="auto">
            <a:xfrm>
              <a:off x="808377" y="2721688"/>
              <a:ext cx="84396" cy="69223"/>
            </a:xfrm>
            <a:custGeom>
              <a:avLst/>
              <a:gdLst/>
              <a:ahLst/>
              <a:cxnLst>
                <a:cxn ang="0">
                  <a:pos x="3" y="9"/>
                </a:cxn>
                <a:cxn ang="0">
                  <a:pos x="0" y="37"/>
                </a:cxn>
                <a:cxn ang="0">
                  <a:pos x="36" y="57"/>
                </a:cxn>
                <a:cxn ang="0">
                  <a:pos x="55" y="96"/>
                </a:cxn>
                <a:cxn ang="0">
                  <a:pos x="108" y="116"/>
                </a:cxn>
                <a:cxn ang="0">
                  <a:pos x="114" y="92"/>
                </a:cxn>
                <a:cxn ang="0">
                  <a:pos x="144" y="61"/>
                </a:cxn>
                <a:cxn ang="0">
                  <a:pos x="114" y="44"/>
                </a:cxn>
                <a:cxn ang="0">
                  <a:pos x="106" y="5"/>
                </a:cxn>
                <a:cxn ang="0">
                  <a:pos x="77" y="0"/>
                </a:cxn>
                <a:cxn ang="0">
                  <a:pos x="51" y="9"/>
                </a:cxn>
                <a:cxn ang="0">
                  <a:pos x="3" y="9"/>
                </a:cxn>
              </a:cxnLst>
              <a:rect l="0" t="0" r="r" b="b"/>
              <a:pathLst>
                <a:path w="144" h="116">
                  <a:moveTo>
                    <a:pt x="3" y="9"/>
                  </a:moveTo>
                  <a:lnTo>
                    <a:pt x="0" y="37"/>
                  </a:lnTo>
                  <a:lnTo>
                    <a:pt x="36" y="57"/>
                  </a:lnTo>
                  <a:lnTo>
                    <a:pt x="55" y="96"/>
                  </a:lnTo>
                  <a:lnTo>
                    <a:pt x="108" y="116"/>
                  </a:lnTo>
                  <a:lnTo>
                    <a:pt x="114" y="92"/>
                  </a:lnTo>
                  <a:lnTo>
                    <a:pt x="144" y="61"/>
                  </a:lnTo>
                  <a:lnTo>
                    <a:pt x="114" y="44"/>
                  </a:lnTo>
                  <a:lnTo>
                    <a:pt x="106" y="5"/>
                  </a:lnTo>
                  <a:lnTo>
                    <a:pt x="77" y="0"/>
                  </a:lnTo>
                  <a:lnTo>
                    <a:pt x="51" y="9"/>
                  </a:lnTo>
                  <a:lnTo>
                    <a:pt x="3" y="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4" name="Freeform 234"/>
            <p:cNvSpPr>
              <a:spLocks noChangeAspect="1"/>
            </p:cNvSpPr>
            <p:nvPr/>
          </p:nvSpPr>
          <p:spPr bwMode="auto">
            <a:xfrm>
              <a:off x="929696" y="2485619"/>
              <a:ext cx="72088" cy="115372"/>
            </a:xfrm>
            <a:custGeom>
              <a:avLst/>
              <a:gdLst/>
              <a:ahLst/>
              <a:cxnLst>
                <a:cxn ang="0">
                  <a:pos x="98" y="183"/>
                </a:cxn>
                <a:cxn ang="0">
                  <a:pos x="47" y="196"/>
                </a:cxn>
                <a:cxn ang="0">
                  <a:pos x="27" y="150"/>
                </a:cxn>
                <a:cxn ang="0">
                  <a:pos x="0" y="138"/>
                </a:cxn>
                <a:cxn ang="0">
                  <a:pos x="0" y="59"/>
                </a:cxn>
                <a:cxn ang="0">
                  <a:pos x="60" y="55"/>
                </a:cxn>
                <a:cxn ang="0">
                  <a:pos x="88" y="0"/>
                </a:cxn>
                <a:cxn ang="0">
                  <a:pos x="123" y="55"/>
                </a:cxn>
                <a:cxn ang="0">
                  <a:pos x="91" y="134"/>
                </a:cxn>
                <a:cxn ang="0">
                  <a:pos x="98" y="183"/>
                </a:cxn>
              </a:cxnLst>
              <a:rect l="0" t="0" r="r" b="b"/>
              <a:pathLst>
                <a:path w="123" h="196">
                  <a:moveTo>
                    <a:pt x="98" y="183"/>
                  </a:moveTo>
                  <a:lnTo>
                    <a:pt x="47" y="196"/>
                  </a:lnTo>
                  <a:lnTo>
                    <a:pt x="27" y="150"/>
                  </a:lnTo>
                  <a:lnTo>
                    <a:pt x="0" y="138"/>
                  </a:lnTo>
                  <a:lnTo>
                    <a:pt x="0" y="59"/>
                  </a:lnTo>
                  <a:lnTo>
                    <a:pt x="60" y="55"/>
                  </a:lnTo>
                  <a:lnTo>
                    <a:pt x="88" y="0"/>
                  </a:lnTo>
                  <a:lnTo>
                    <a:pt x="123" y="55"/>
                  </a:lnTo>
                  <a:lnTo>
                    <a:pt x="91" y="134"/>
                  </a:lnTo>
                  <a:lnTo>
                    <a:pt x="98" y="18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5" name="Freeform 235"/>
            <p:cNvSpPr>
              <a:spLocks noChangeAspect="1"/>
            </p:cNvSpPr>
            <p:nvPr/>
          </p:nvSpPr>
          <p:spPr bwMode="auto">
            <a:xfrm>
              <a:off x="957828" y="2466095"/>
              <a:ext cx="33407" cy="14200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8" y="0"/>
                </a:cxn>
                <a:cxn ang="0">
                  <a:pos x="37" y="0"/>
                </a:cxn>
                <a:cxn ang="0">
                  <a:pos x="56" y="0"/>
                </a:cxn>
                <a:cxn ang="0">
                  <a:pos x="0" y="24"/>
                </a:cxn>
              </a:cxnLst>
              <a:rect l="0" t="0" r="r" b="b"/>
              <a:pathLst>
                <a:path w="56" h="24">
                  <a:moveTo>
                    <a:pt x="0" y="24"/>
                  </a:moveTo>
                  <a:lnTo>
                    <a:pt x="8" y="0"/>
                  </a:lnTo>
                  <a:lnTo>
                    <a:pt x="37" y="0"/>
                  </a:lnTo>
                  <a:lnTo>
                    <a:pt x="56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6" name="Freeform 236"/>
            <p:cNvSpPr>
              <a:spLocks noChangeAspect="1"/>
            </p:cNvSpPr>
            <p:nvPr/>
          </p:nvSpPr>
          <p:spPr bwMode="auto">
            <a:xfrm>
              <a:off x="8688189" y="2068176"/>
              <a:ext cx="246154" cy="149096"/>
            </a:xfrm>
            <a:custGeom>
              <a:avLst/>
              <a:gdLst/>
              <a:ahLst/>
              <a:cxnLst>
                <a:cxn ang="0">
                  <a:pos x="127" y="47"/>
                </a:cxn>
                <a:cxn ang="0">
                  <a:pos x="72" y="0"/>
                </a:cxn>
                <a:cxn ang="0">
                  <a:pos x="0" y="79"/>
                </a:cxn>
                <a:cxn ang="0">
                  <a:pos x="8" y="118"/>
                </a:cxn>
                <a:cxn ang="0">
                  <a:pos x="87" y="103"/>
                </a:cxn>
                <a:cxn ang="0">
                  <a:pos x="87" y="165"/>
                </a:cxn>
                <a:cxn ang="0">
                  <a:pos x="64" y="205"/>
                </a:cxn>
                <a:cxn ang="0">
                  <a:pos x="135" y="189"/>
                </a:cxn>
                <a:cxn ang="0">
                  <a:pos x="206" y="221"/>
                </a:cxn>
                <a:cxn ang="0">
                  <a:pos x="230" y="252"/>
                </a:cxn>
                <a:cxn ang="0">
                  <a:pos x="293" y="189"/>
                </a:cxn>
                <a:cxn ang="0">
                  <a:pos x="348" y="189"/>
                </a:cxn>
                <a:cxn ang="0">
                  <a:pos x="403" y="150"/>
                </a:cxn>
                <a:cxn ang="0">
                  <a:pos x="420" y="86"/>
                </a:cxn>
                <a:cxn ang="0">
                  <a:pos x="403" y="16"/>
                </a:cxn>
                <a:cxn ang="0">
                  <a:pos x="324" y="16"/>
                </a:cxn>
                <a:cxn ang="0">
                  <a:pos x="245" y="38"/>
                </a:cxn>
                <a:cxn ang="0">
                  <a:pos x="158" y="7"/>
                </a:cxn>
                <a:cxn ang="0">
                  <a:pos x="127" y="47"/>
                </a:cxn>
              </a:cxnLst>
              <a:rect l="0" t="0" r="r" b="b"/>
              <a:pathLst>
                <a:path w="420" h="252">
                  <a:moveTo>
                    <a:pt x="127" y="47"/>
                  </a:moveTo>
                  <a:lnTo>
                    <a:pt x="72" y="0"/>
                  </a:lnTo>
                  <a:lnTo>
                    <a:pt x="0" y="79"/>
                  </a:lnTo>
                  <a:lnTo>
                    <a:pt x="8" y="118"/>
                  </a:lnTo>
                  <a:lnTo>
                    <a:pt x="87" y="103"/>
                  </a:lnTo>
                  <a:lnTo>
                    <a:pt x="87" y="165"/>
                  </a:lnTo>
                  <a:lnTo>
                    <a:pt x="64" y="205"/>
                  </a:lnTo>
                  <a:lnTo>
                    <a:pt x="135" y="189"/>
                  </a:lnTo>
                  <a:lnTo>
                    <a:pt x="206" y="221"/>
                  </a:lnTo>
                  <a:lnTo>
                    <a:pt x="230" y="252"/>
                  </a:lnTo>
                  <a:lnTo>
                    <a:pt x="293" y="189"/>
                  </a:lnTo>
                  <a:lnTo>
                    <a:pt x="348" y="189"/>
                  </a:lnTo>
                  <a:lnTo>
                    <a:pt x="403" y="150"/>
                  </a:lnTo>
                  <a:lnTo>
                    <a:pt x="420" y="86"/>
                  </a:lnTo>
                  <a:lnTo>
                    <a:pt x="403" y="16"/>
                  </a:lnTo>
                  <a:lnTo>
                    <a:pt x="324" y="16"/>
                  </a:lnTo>
                  <a:lnTo>
                    <a:pt x="245" y="38"/>
                  </a:lnTo>
                  <a:lnTo>
                    <a:pt x="158" y="7"/>
                  </a:lnTo>
                  <a:lnTo>
                    <a:pt x="127" y="4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7" name="Freeform 237"/>
            <p:cNvSpPr>
              <a:spLocks noChangeAspect="1"/>
            </p:cNvSpPr>
            <p:nvPr/>
          </p:nvSpPr>
          <p:spPr bwMode="auto">
            <a:xfrm>
              <a:off x="1256729" y="2425271"/>
              <a:ext cx="216264" cy="102947"/>
            </a:xfrm>
            <a:custGeom>
              <a:avLst/>
              <a:gdLst/>
              <a:ahLst/>
              <a:cxnLst>
                <a:cxn ang="0">
                  <a:pos x="270" y="174"/>
                </a:cxn>
                <a:cxn ang="0">
                  <a:pos x="267" y="143"/>
                </a:cxn>
                <a:cxn ang="0">
                  <a:pos x="176" y="106"/>
                </a:cxn>
                <a:cxn ang="0">
                  <a:pos x="81" y="162"/>
                </a:cxn>
                <a:cxn ang="0">
                  <a:pos x="5" y="166"/>
                </a:cxn>
                <a:cxn ang="0">
                  <a:pos x="0" y="87"/>
                </a:cxn>
                <a:cxn ang="0">
                  <a:pos x="33" y="56"/>
                </a:cxn>
                <a:cxn ang="0">
                  <a:pos x="68" y="107"/>
                </a:cxn>
                <a:cxn ang="0">
                  <a:pos x="116" y="107"/>
                </a:cxn>
                <a:cxn ang="0">
                  <a:pos x="127" y="59"/>
                </a:cxn>
                <a:cxn ang="0">
                  <a:pos x="92" y="44"/>
                </a:cxn>
                <a:cxn ang="0">
                  <a:pos x="76" y="8"/>
                </a:cxn>
                <a:cxn ang="0">
                  <a:pos x="165" y="0"/>
                </a:cxn>
                <a:cxn ang="0">
                  <a:pos x="210" y="38"/>
                </a:cxn>
                <a:cxn ang="0">
                  <a:pos x="297" y="42"/>
                </a:cxn>
                <a:cxn ang="0">
                  <a:pos x="368" y="106"/>
                </a:cxn>
                <a:cxn ang="0">
                  <a:pos x="334" y="128"/>
                </a:cxn>
                <a:cxn ang="0">
                  <a:pos x="289" y="113"/>
                </a:cxn>
                <a:cxn ang="0">
                  <a:pos x="270" y="174"/>
                </a:cxn>
              </a:cxnLst>
              <a:rect l="0" t="0" r="r" b="b"/>
              <a:pathLst>
                <a:path w="368" h="174">
                  <a:moveTo>
                    <a:pt x="270" y="174"/>
                  </a:moveTo>
                  <a:lnTo>
                    <a:pt x="267" y="143"/>
                  </a:lnTo>
                  <a:lnTo>
                    <a:pt x="176" y="106"/>
                  </a:lnTo>
                  <a:lnTo>
                    <a:pt x="81" y="162"/>
                  </a:lnTo>
                  <a:lnTo>
                    <a:pt x="5" y="166"/>
                  </a:lnTo>
                  <a:lnTo>
                    <a:pt x="0" y="87"/>
                  </a:lnTo>
                  <a:lnTo>
                    <a:pt x="33" y="56"/>
                  </a:lnTo>
                  <a:lnTo>
                    <a:pt x="68" y="107"/>
                  </a:lnTo>
                  <a:lnTo>
                    <a:pt x="116" y="107"/>
                  </a:lnTo>
                  <a:lnTo>
                    <a:pt x="127" y="59"/>
                  </a:lnTo>
                  <a:lnTo>
                    <a:pt x="92" y="44"/>
                  </a:lnTo>
                  <a:lnTo>
                    <a:pt x="76" y="8"/>
                  </a:lnTo>
                  <a:lnTo>
                    <a:pt x="165" y="0"/>
                  </a:lnTo>
                  <a:lnTo>
                    <a:pt x="210" y="38"/>
                  </a:lnTo>
                  <a:lnTo>
                    <a:pt x="297" y="42"/>
                  </a:lnTo>
                  <a:lnTo>
                    <a:pt x="368" y="106"/>
                  </a:lnTo>
                  <a:lnTo>
                    <a:pt x="334" y="128"/>
                  </a:lnTo>
                  <a:lnTo>
                    <a:pt x="289" y="113"/>
                  </a:lnTo>
                  <a:lnTo>
                    <a:pt x="270" y="17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8" name="Freeform 238"/>
            <p:cNvSpPr>
              <a:spLocks noChangeAspect="1"/>
            </p:cNvSpPr>
            <p:nvPr/>
          </p:nvSpPr>
          <p:spPr bwMode="auto">
            <a:xfrm>
              <a:off x="1290136" y="2977282"/>
              <a:ext cx="147692" cy="113597"/>
            </a:xfrm>
            <a:custGeom>
              <a:avLst/>
              <a:gdLst/>
              <a:ahLst/>
              <a:cxnLst>
                <a:cxn ang="0">
                  <a:pos x="191" y="166"/>
                </a:cxn>
                <a:cxn ang="0">
                  <a:pos x="148" y="174"/>
                </a:cxn>
                <a:cxn ang="0">
                  <a:pos x="126" y="172"/>
                </a:cxn>
                <a:cxn ang="0">
                  <a:pos x="95" y="192"/>
                </a:cxn>
                <a:cxn ang="0">
                  <a:pos x="56" y="181"/>
                </a:cxn>
                <a:cxn ang="0">
                  <a:pos x="31" y="181"/>
                </a:cxn>
                <a:cxn ang="0">
                  <a:pos x="28" y="111"/>
                </a:cxn>
                <a:cxn ang="0">
                  <a:pos x="4" y="67"/>
                </a:cxn>
                <a:cxn ang="0">
                  <a:pos x="0" y="39"/>
                </a:cxn>
                <a:cxn ang="0">
                  <a:pos x="40" y="7"/>
                </a:cxn>
                <a:cxn ang="0">
                  <a:pos x="51" y="19"/>
                </a:cxn>
                <a:cxn ang="0">
                  <a:pos x="65" y="0"/>
                </a:cxn>
                <a:cxn ang="0">
                  <a:pos x="117" y="19"/>
                </a:cxn>
                <a:cxn ang="0">
                  <a:pos x="131" y="58"/>
                </a:cxn>
                <a:cxn ang="0">
                  <a:pos x="196" y="50"/>
                </a:cxn>
                <a:cxn ang="0">
                  <a:pos x="237" y="44"/>
                </a:cxn>
                <a:cxn ang="0">
                  <a:pos x="252" y="83"/>
                </a:cxn>
                <a:cxn ang="0">
                  <a:pos x="239" y="114"/>
                </a:cxn>
                <a:cxn ang="0">
                  <a:pos x="221" y="136"/>
                </a:cxn>
                <a:cxn ang="0">
                  <a:pos x="235" y="160"/>
                </a:cxn>
                <a:cxn ang="0">
                  <a:pos x="191" y="166"/>
                </a:cxn>
              </a:cxnLst>
              <a:rect l="0" t="0" r="r" b="b"/>
              <a:pathLst>
                <a:path w="252" h="192">
                  <a:moveTo>
                    <a:pt x="191" y="166"/>
                  </a:moveTo>
                  <a:lnTo>
                    <a:pt x="148" y="174"/>
                  </a:lnTo>
                  <a:lnTo>
                    <a:pt x="126" y="172"/>
                  </a:lnTo>
                  <a:lnTo>
                    <a:pt x="95" y="192"/>
                  </a:lnTo>
                  <a:lnTo>
                    <a:pt x="56" y="181"/>
                  </a:lnTo>
                  <a:lnTo>
                    <a:pt x="31" y="181"/>
                  </a:lnTo>
                  <a:lnTo>
                    <a:pt x="28" y="111"/>
                  </a:lnTo>
                  <a:lnTo>
                    <a:pt x="4" y="67"/>
                  </a:lnTo>
                  <a:lnTo>
                    <a:pt x="0" y="39"/>
                  </a:lnTo>
                  <a:lnTo>
                    <a:pt x="40" y="7"/>
                  </a:lnTo>
                  <a:lnTo>
                    <a:pt x="51" y="19"/>
                  </a:lnTo>
                  <a:lnTo>
                    <a:pt x="65" y="0"/>
                  </a:lnTo>
                  <a:lnTo>
                    <a:pt x="117" y="19"/>
                  </a:lnTo>
                  <a:lnTo>
                    <a:pt x="131" y="58"/>
                  </a:lnTo>
                  <a:lnTo>
                    <a:pt x="196" y="50"/>
                  </a:lnTo>
                  <a:lnTo>
                    <a:pt x="237" y="44"/>
                  </a:lnTo>
                  <a:lnTo>
                    <a:pt x="252" y="83"/>
                  </a:lnTo>
                  <a:lnTo>
                    <a:pt x="239" y="114"/>
                  </a:lnTo>
                  <a:lnTo>
                    <a:pt x="221" y="136"/>
                  </a:lnTo>
                  <a:lnTo>
                    <a:pt x="235" y="160"/>
                  </a:lnTo>
                  <a:lnTo>
                    <a:pt x="191" y="16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9" name="Freeform 239"/>
            <p:cNvSpPr>
              <a:spLocks noChangeAspect="1"/>
            </p:cNvSpPr>
            <p:nvPr/>
          </p:nvSpPr>
          <p:spPr bwMode="auto">
            <a:xfrm>
              <a:off x="1302443" y="2393322"/>
              <a:ext cx="128352" cy="56799"/>
            </a:xfrm>
            <a:custGeom>
              <a:avLst/>
              <a:gdLst/>
              <a:ahLst/>
              <a:cxnLst>
                <a:cxn ang="0">
                  <a:pos x="221" y="96"/>
                </a:cxn>
                <a:cxn ang="0">
                  <a:pos x="134" y="92"/>
                </a:cxn>
                <a:cxn ang="0">
                  <a:pos x="89" y="54"/>
                </a:cxn>
                <a:cxn ang="0">
                  <a:pos x="0" y="62"/>
                </a:cxn>
                <a:cxn ang="0">
                  <a:pos x="36" y="30"/>
                </a:cxn>
                <a:cxn ang="0">
                  <a:pos x="99" y="0"/>
                </a:cxn>
                <a:cxn ang="0">
                  <a:pos x="171" y="24"/>
                </a:cxn>
                <a:cxn ang="0">
                  <a:pos x="221" y="96"/>
                </a:cxn>
              </a:cxnLst>
              <a:rect l="0" t="0" r="r" b="b"/>
              <a:pathLst>
                <a:path w="221" h="96">
                  <a:moveTo>
                    <a:pt x="221" y="96"/>
                  </a:moveTo>
                  <a:lnTo>
                    <a:pt x="134" y="92"/>
                  </a:lnTo>
                  <a:lnTo>
                    <a:pt x="89" y="54"/>
                  </a:lnTo>
                  <a:lnTo>
                    <a:pt x="0" y="62"/>
                  </a:lnTo>
                  <a:lnTo>
                    <a:pt x="36" y="30"/>
                  </a:lnTo>
                  <a:lnTo>
                    <a:pt x="99" y="0"/>
                  </a:lnTo>
                  <a:lnTo>
                    <a:pt x="171" y="24"/>
                  </a:lnTo>
                  <a:lnTo>
                    <a:pt x="221" y="9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0" name="Freeform 240"/>
            <p:cNvSpPr>
              <a:spLocks noChangeAspect="1"/>
            </p:cNvSpPr>
            <p:nvPr/>
          </p:nvSpPr>
          <p:spPr bwMode="auto">
            <a:xfrm>
              <a:off x="1240905" y="1947808"/>
              <a:ext cx="256704" cy="454389"/>
            </a:xfrm>
            <a:custGeom>
              <a:avLst/>
              <a:gdLst/>
              <a:ahLst/>
              <a:cxnLst>
                <a:cxn ang="0">
                  <a:pos x="59" y="320"/>
                </a:cxn>
                <a:cxn ang="0">
                  <a:pos x="91" y="300"/>
                </a:cxn>
                <a:cxn ang="0">
                  <a:pos x="86" y="202"/>
                </a:cxn>
                <a:cxn ang="0">
                  <a:pos x="82" y="169"/>
                </a:cxn>
                <a:cxn ang="0">
                  <a:pos x="47" y="138"/>
                </a:cxn>
                <a:cxn ang="0">
                  <a:pos x="12" y="99"/>
                </a:cxn>
                <a:cxn ang="0">
                  <a:pos x="44" y="106"/>
                </a:cxn>
                <a:cxn ang="0">
                  <a:pos x="86" y="114"/>
                </a:cxn>
                <a:cxn ang="0">
                  <a:pos x="150" y="106"/>
                </a:cxn>
                <a:cxn ang="0">
                  <a:pos x="170" y="59"/>
                </a:cxn>
                <a:cxn ang="0">
                  <a:pos x="198" y="23"/>
                </a:cxn>
                <a:cxn ang="0">
                  <a:pos x="226" y="0"/>
                </a:cxn>
                <a:cxn ang="0">
                  <a:pos x="261" y="7"/>
                </a:cxn>
                <a:cxn ang="0">
                  <a:pos x="296" y="40"/>
                </a:cxn>
                <a:cxn ang="0">
                  <a:pos x="268" y="114"/>
                </a:cxn>
                <a:cxn ang="0">
                  <a:pos x="318" y="160"/>
                </a:cxn>
                <a:cxn ang="0">
                  <a:pos x="318" y="160"/>
                </a:cxn>
                <a:cxn ang="0">
                  <a:pos x="318" y="211"/>
                </a:cxn>
                <a:cxn ang="0">
                  <a:pos x="335" y="273"/>
                </a:cxn>
                <a:cxn ang="0">
                  <a:pos x="339" y="349"/>
                </a:cxn>
                <a:cxn ang="0">
                  <a:pos x="359" y="411"/>
                </a:cxn>
                <a:cxn ang="0">
                  <a:pos x="383" y="483"/>
                </a:cxn>
                <a:cxn ang="0">
                  <a:pos x="405" y="511"/>
                </a:cxn>
                <a:cxn ang="0">
                  <a:pos x="438" y="538"/>
                </a:cxn>
                <a:cxn ang="0">
                  <a:pos x="403" y="568"/>
                </a:cxn>
                <a:cxn ang="0">
                  <a:pos x="355" y="620"/>
                </a:cxn>
                <a:cxn ang="0">
                  <a:pos x="312" y="671"/>
                </a:cxn>
                <a:cxn ang="0">
                  <a:pos x="300" y="715"/>
                </a:cxn>
                <a:cxn ang="0">
                  <a:pos x="303" y="767"/>
                </a:cxn>
                <a:cxn ang="0">
                  <a:pos x="257" y="696"/>
                </a:cxn>
                <a:cxn ang="0">
                  <a:pos x="198" y="707"/>
                </a:cxn>
                <a:cxn ang="0">
                  <a:pos x="170" y="734"/>
                </a:cxn>
                <a:cxn ang="0">
                  <a:pos x="91" y="730"/>
                </a:cxn>
                <a:cxn ang="0">
                  <a:pos x="36" y="691"/>
                </a:cxn>
                <a:cxn ang="0">
                  <a:pos x="16" y="640"/>
                </a:cxn>
                <a:cxn ang="0">
                  <a:pos x="0" y="589"/>
                </a:cxn>
                <a:cxn ang="0">
                  <a:pos x="12" y="502"/>
                </a:cxn>
                <a:cxn ang="0">
                  <a:pos x="67" y="478"/>
                </a:cxn>
                <a:cxn ang="0">
                  <a:pos x="106" y="438"/>
                </a:cxn>
                <a:cxn ang="0">
                  <a:pos x="119" y="386"/>
                </a:cxn>
                <a:cxn ang="0">
                  <a:pos x="185" y="395"/>
                </a:cxn>
                <a:cxn ang="0">
                  <a:pos x="146" y="327"/>
                </a:cxn>
                <a:cxn ang="0">
                  <a:pos x="59" y="320"/>
                </a:cxn>
              </a:cxnLst>
              <a:rect l="0" t="0" r="r" b="b"/>
              <a:pathLst>
                <a:path w="438" h="767">
                  <a:moveTo>
                    <a:pt x="59" y="320"/>
                  </a:moveTo>
                  <a:lnTo>
                    <a:pt x="91" y="300"/>
                  </a:lnTo>
                  <a:lnTo>
                    <a:pt x="86" y="202"/>
                  </a:lnTo>
                  <a:lnTo>
                    <a:pt x="82" y="169"/>
                  </a:lnTo>
                  <a:lnTo>
                    <a:pt x="47" y="138"/>
                  </a:lnTo>
                  <a:lnTo>
                    <a:pt x="12" y="99"/>
                  </a:lnTo>
                  <a:lnTo>
                    <a:pt x="44" y="106"/>
                  </a:lnTo>
                  <a:lnTo>
                    <a:pt x="86" y="114"/>
                  </a:lnTo>
                  <a:lnTo>
                    <a:pt x="150" y="106"/>
                  </a:lnTo>
                  <a:lnTo>
                    <a:pt x="170" y="59"/>
                  </a:lnTo>
                  <a:lnTo>
                    <a:pt x="198" y="23"/>
                  </a:lnTo>
                  <a:lnTo>
                    <a:pt x="226" y="0"/>
                  </a:lnTo>
                  <a:lnTo>
                    <a:pt x="261" y="7"/>
                  </a:lnTo>
                  <a:lnTo>
                    <a:pt x="296" y="40"/>
                  </a:lnTo>
                  <a:lnTo>
                    <a:pt x="268" y="114"/>
                  </a:lnTo>
                  <a:lnTo>
                    <a:pt x="318" y="160"/>
                  </a:lnTo>
                  <a:lnTo>
                    <a:pt x="318" y="160"/>
                  </a:lnTo>
                  <a:lnTo>
                    <a:pt x="318" y="211"/>
                  </a:lnTo>
                  <a:lnTo>
                    <a:pt x="335" y="273"/>
                  </a:lnTo>
                  <a:lnTo>
                    <a:pt x="339" y="349"/>
                  </a:lnTo>
                  <a:lnTo>
                    <a:pt x="359" y="411"/>
                  </a:lnTo>
                  <a:lnTo>
                    <a:pt x="383" y="483"/>
                  </a:lnTo>
                  <a:lnTo>
                    <a:pt x="405" y="511"/>
                  </a:lnTo>
                  <a:lnTo>
                    <a:pt x="438" y="538"/>
                  </a:lnTo>
                  <a:lnTo>
                    <a:pt x="403" y="568"/>
                  </a:lnTo>
                  <a:lnTo>
                    <a:pt x="355" y="620"/>
                  </a:lnTo>
                  <a:lnTo>
                    <a:pt x="312" y="671"/>
                  </a:lnTo>
                  <a:lnTo>
                    <a:pt x="300" y="715"/>
                  </a:lnTo>
                  <a:lnTo>
                    <a:pt x="303" y="767"/>
                  </a:lnTo>
                  <a:lnTo>
                    <a:pt x="257" y="696"/>
                  </a:lnTo>
                  <a:lnTo>
                    <a:pt x="198" y="707"/>
                  </a:lnTo>
                  <a:lnTo>
                    <a:pt x="170" y="734"/>
                  </a:lnTo>
                  <a:lnTo>
                    <a:pt x="91" y="730"/>
                  </a:lnTo>
                  <a:lnTo>
                    <a:pt x="36" y="691"/>
                  </a:lnTo>
                  <a:lnTo>
                    <a:pt x="16" y="640"/>
                  </a:lnTo>
                  <a:lnTo>
                    <a:pt x="0" y="589"/>
                  </a:lnTo>
                  <a:lnTo>
                    <a:pt x="12" y="502"/>
                  </a:lnTo>
                  <a:lnTo>
                    <a:pt x="67" y="478"/>
                  </a:lnTo>
                  <a:lnTo>
                    <a:pt x="106" y="438"/>
                  </a:lnTo>
                  <a:lnTo>
                    <a:pt x="119" y="386"/>
                  </a:lnTo>
                  <a:lnTo>
                    <a:pt x="185" y="395"/>
                  </a:lnTo>
                  <a:lnTo>
                    <a:pt x="146" y="327"/>
                  </a:lnTo>
                  <a:lnTo>
                    <a:pt x="59" y="32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1" name="Freeform 241"/>
            <p:cNvSpPr>
              <a:spLocks noChangeAspect="1"/>
            </p:cNvSpPr>
            <p:nvPr/>
          </p:nvSpPr>
          <p:spPr bwMode="auto">
            <a:xfrm>
              <a:off x="977168" y="2808661"/>
              <a:ext cx="174066" cy="102947"/>
            </a:xfrm>
            <a:custGeom>
              <a:avLst/>
              <a:gdLst/>
              <a:ahLst/>
              <a:cxnLst>
                <a:cxn ang="0">
                  <a:pos x="9" y="137"/>
                </a:cxn>
                <a:cxn ang="0">
                  <a:pos x="0" y="105"/>
                </a:cxn>
                <a:cxn ang="0">
                  <a:pos x="18" y="110"/>
                </a:cxn>
                <a:cxn ang="0">
                  <a:pos x="35" y="113"/>
                </a:cxn>
                <a:cxn ang="0">
                  <a:pos x="91" y="90"/>
                </a:cxn>
                <a:cxn ang="0">
                  <a:pos x="133" y="62"/>
                </a:cxn>
                <a:cxn ang="0">
                  <a:pos x="147" y="47"/>
                </a:cxn>
                <a:cxn ang="0">
                  <a:pos x="150" y="0"/>
                </a:cxn>
                <a:cxn ang="0">
                  <a:pos x="185" y="31"/>
                </a:cxn>
                <a:cxn ang="0">
                  <a:pos x="217" y="27"/>
                </a:cxn>
                <a:cxn ang="0">
                  <a:pos x="226" y="2"/>
                </a:cxn>
                <a:cxn ang="0">
                  <a:pos x="266" y="6"/>
                </a:cxn>
                <a:cxn ang="0">
                  <a:pos x="263" y="36"/>
                </a:cxn>
                <a:cxn ang="0">
                  <a:pos x="291" y="52"/>
                </a:cxn>
                <a:cxn ang="0">
                  <a:pos x="296" y="96"/>
                </a:cxn>
                <a:cxn ang="0">
                  <a:pos x="279" y="124"/>
                </a:cxn>
                <a:cxn ang="0">
                  <a:pos x="276" y="135"/>
                </a:cxn>
                <a:cxn ang="0">
                  <a:pos x="260" y="158"/>
                </a:cxn>
                <a:cxn ang="0">
                  <a:pos x="217" y="175"/>
                </a:cxn>
                <a:cxn ang="0">
                  <a:pos x="143" y="159"/>
                </a:cxn>
                <a:cxn ang="0">
                  <a:pos x="116" y="129"/>
                </a:cxn>
                <a:cxn ang="0">
                  <a:pos x="77" y="148"/>
                </a:cxn>
                <a:cxn ang="0">
                  <a:pos x="29" y="148"/>
                </a:cxn>
                <a:cxn ang="0">
                  <a:pos x="9" y="137"/>
                </a:cxn>
              </a:cxnLst>
              <a:rect l="0" t="0" r="r" b="b"/>
              <a:pathLst>
                <a:path w="296" h="175">
                  <a:moveTo>
                    <a:pt x="9" y="137"/>
                  </a:moveTo>
                  <a:lnTo>
                    <a:pt x="0" y="105"/>
                  </a:lnTo>
                  <a:lnTo>
                    <a:pt x="18" y="110"/>
                  </a:lnTo>
                  <a:lnTo>
                    <a:pt x="35" y="113"/>
                  </a:lnTo>
                  <a:lnTo>
                    <a:pt x="91" y="90"/>
                  </a:lnTo>
                  <a:lnTo>
                    <a:pt x="133" y="62"/>
                  </a:lnTo>
                  <a:lnTo>
                    <a:pt x="147" y="47"/>
                  </a:lnTo>
                  <a:lnTo>
                    <a:pt x="150" y="0"/>
                  </a:lnTo>
                  <a:lnTo>
                    <a:pt x="185" y="31"/>
                  </a:lnTo>
                  <a:lnTo>
                    <a:pt x="217" y="27"/>
                  </a:lnTo>
                  <a:lnTo>
                    <a:pt x="226" y="2"/>
                  </a:lnTo>
                  <a:lnTo>
                    <a:pt x="266" y="6"/>
                  </a:lnTo>
                  <a:lnTo>
                    <a:pt x="263" y="36"/>
                  </a:lnTo>
                  <a:lnTo>
                    <a:pt x="291" y="52"/>
                  </a:lnTo>
                  <a:lnTo>
                    <a:pt x="296" y="96"/>
                  </a:lnTo>
                  <a:lnTo>
                    <a:pt x="279" y="124"/>
                  </a:lnTo>
                  <a:lnTo>
                    <a:pt x="276" y="135"/>
                  </a:lnTo>
                  <a:lnTo>
                    <a:pt x="260" y="158"/>
                  </a:lnTo>
                  <a:lnTo>
                    <a:pt x="217" y="175"/>
                  </a:lnTo>
                  <a:lnTo>
                    <a:pt x="143" y="159"/>
                  </a:lnTo>
                  <a:lnTo>
                    <a:pt x="116" y="129"/>
                  </a:lnTo>
                  <a:lnTo>
                    <a:pt x="77" y="148"/>
                  </a:lnTo>
                  <a:lnTo>
                    <a:pt x="29" y="148"/>
                  </a:lnTo>
                  <a:lnTo>
                    <a:pt x="9" y="13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2" name="Freeform 242"/>
            <p:cNvSpPr>
              <a:spLocks noChangeAspect="1"/>
            </p:cNvSpPr>
            <p:nvPr/>
          </p:nvSpPr>
          <p:spPr bwMode="auto">
            <a:xfrm>
              <a:off x="977168" y="2808661"/>
              <a:ext cx="174066" cy="102947"/>
            </a:xfrm>
            <a:custGeom>
              <a:avLst/>
              <a:gdLst/>
              <a:ahLst/>
              <a:cxnLst>
                <a:cxn ang="0">
                  <a:pos x="9" y="137"/>
                </a:cxn>
                <a:cxn ang="0">
                  <a:pos x="0" y="105"/>
                </a:cxn>
                <a:cxn ang="0">
                  <a:pos x="18" y="110"/>
                </a:cxn>
                <a:cxn ang="0">
                  <a:pos x="35" y="113"/>
                </a:cxn>
                <a:cxn ang="0">
                  <a:pos x="91" y="90"/>
                </a:cxn>
                <a:cxn ang="0">
                  <a:pos x="133" y="62"/>
                </a:cxn>
                <a:cxn ang="0">
                  <a:pos x="147" y="47"/>
                </a:cxn>
                <a:cxn ang="0">
                  <a:pos x="150" y="0"/>
                </a:cxn>
                <a:cxn ang="0">
                  <a:pos x="185" y="31"/>
                </a:cxn>
                <a:cxn ang="0">
                  <a:pos x="217" y="27"/>
                </a:cxn>
                <a:cxn ang="0">
                  <a:pos x="226" y="2"/>
                </a:cxn>
                <a:cxn ang="0">
                  <a:pos x="266" y="6"/>
                </a:cxn>
                <a:cxn ang="0">
                  <a:pos x="263" y="36"/>
                </a:cxn>
                <a:cxn ang="0">
                  <a:pos x="291" y="52"/>
                </a:cxn>
                <a:cxn ang="0">
                  <a:pos x="296" y="96"/>
                </a:cxn>
                <a:cxn ang="0">
                  <a:pos x="279" y="124"/>
                </a:cxn>
                <a:cxn ang="0">
                  <a:pos x="276" y="135"/>
                </a:cxn>
                <a:cxn ang="0">
                  <a:pos x="260" y="158"/>
                </a:cxn>
                <a:cxn ang="0">
                  <a:pos x="217" y="175"/>
                </a:cxn>
                <a:cxn ang="0">
                  <a:pos x="143" y="159"/>
                </a:cxn>
                <a:cxn ang="0">
                  <a:pos x="116" y="129"/>
                </a:cxn>
                <a:cxn ang="0">
                  <a:pos x="77" y="148"/>
                </a:cxn>
                <a:cxn ang="0">
                  <a:pos x="29" y="148"/>
                </a:cxn>
                <a:cxn ang="0">
                  <a:pos x="9" y="137"/>
                </a:cxn>
              </a:cxnLst>
              <a:rect l="0" t="0" r="r" b="b"/>
              <a:pathLst>
                <a:path w="296" h="175">
                  <a:moveTo>
                    <a:pt x="9" y="137"/>
                  </a:moveTo>
                  <a:lnTo>
                    <a:pt x="0" y="105"/>
                  </a:lnTo>
                  <a:lnTo>
                    <a:pt x="18" y="110"/>
                  </a:lnTo>
                  <a:lnTo>
                    <a:pt x="35" y="113"/>
                  </a:lnTo>
                  <a:lnTo>
                    <a:pt x="91" y="90"/>
                  </a:lnTo>
                  <a:lnTo>
                    <a:pt x="133" y="62"/>
                  </a:lnTo>
                  <a:lnTo>
                    <a:pt x="147" y="47"/>
                  </a:lnTo>
                  <a:lnTo>
                    <a:pt x="150" y="0"/>
                  </a:lnTo>
                  <a:lnTo>
                    <a:pt x="185" y="31"/>
                  </a:lnTo>
                  <a:lnTo>
                    <a:pt x="217" y="27"/>
                  </a:lnTo>
                  <a:lnTo>
                    <a:pt x="226" y="2"/>
                  </a:lnTo>
                  <a:lnTo>
                    <a:pt x="266" y="6"/>
                  </a:lnTo>
                  <a:lnTo>
                    <a:pt x="263" y="36"/>
                  </a:lnTo>
                  <a:lnTo>
                    <a:pt x="291" y="52"/>
                  </a:lnTo>
                  <a:lnTo>
                    <a:pt x="296" y="96"/>
                  </a:lnTo>
                  <a:lnTo>
                    <a:pt x="279" y="124"/>
                  </a:lnTo>
                  <a:lnTo>
                    <a:pt x="276" y="135"/>
                  </a:lnTo>
                  <a:lnTo>
                    <a:pt x="260" y="158"/>
                  </a:lnTo>
                  <a:lnTo>
                    <a:pt x="217" y="175"/>
                  </a:lnTo>
                  <a:lnTo>
                    <a:pt x="143" y="159"/>
                  </a:lnTo>
                  <a:lnTo>
                    <a:pt x="116" y="129"/>
                  </a:lnTo>
                  <a:lnTo>
                    <a:pt x="77" y="148"/>
                  </a:lnTo>
                  <a:lnTo>
                    <a:pt x="29" y="148"/>
                  </a:lnTo>
                  <a:lnTo>
                    <a:pt x="9" y="137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3" name="Freeform 243"/>
            <p:cNvSpPr>
              <a:spLocks noChangeAspect="1"/>
            </p:cNvSpPr>
            <p:nvPr/>
          </p:nvSpPr>
          <p:spPr bwMode="auto">
            <a:xfrm>
              <a:off x="664201" y="2425271"/>
              <a:ext cx="15824" cy="8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16"/>
                </a:cxn>
                <a:cxn ang="0">
                  <a:pos x="29" y="0"/>
                </a:cxn>
                <a:cxn ang="0">
                  <a:pos x="0" y="0"/>
                </a:cxn>
              </a:cxnLst>
              <a:rect l="0" t="0" r="r" b="b"/>
              <a:pathLst>
                <a:path w="29" h="16">
                  <a:moveTo>
                    <a:pt x="0" y="0"/>
                  </a:moveTo>
                  <a:lnTo>
                    <a:pt x="5" y="16"/>
                  </a:lnTo>
                  <a:lnTo>
                    <a:pt x="2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4" name="Freeform 244"/>
            <p:cNvSpPr>
              <a:spLocks noChangeAspect="1"/>
            </p:cNvSpPr>
            <p:nvPr/>
          </p:nvSpPr>
          <p:spPr bwMode="auto">
            <a:xfrm>
              <a:off x="1080905" y="3202701"/>
              <a:ext cx="54506" cy="39049"/>
            </a:xfrm>
            <a:custGeom>
              <a:avLst/>
              <a:gdLst/>
              <a:ahLst/>
              <a:cxnLst>
                <a:cxn ang="0">
                  <a:pos x="85" y="0"/>
                </a:cxn>
                <a:cxn ang="0">
                  <a:pos x="48" y="8"/>
                </a:cxn>
                <a:cxn ang="0">
                  <a:pos x="0" y="5"/>
                </a:cxn>
                <a:cxn ang="0">
                  <a:pos x="8" y="20"/>
                </a:cxn>
                <a:cxn ang="0">
                  <a:pos x="18" y="41"/>
                </a:cxn>
                <a:cxn ang="0">
                  <a:pos x="44" y="45"/>
                </a:cxn>
                <a:cxn ang="0">
                  <a:pos x="93" y="64"/>
                </a:cxn>
                <a:cxn ang="0">
                  <a:pos x="91" y="30"/>
                </a:cxn>
                <a:cxn ang="0">
                  <a:pos x="85" y="0"/>
                </a:cxn>
              </a:cxnLst>
              <a:rect l="0" t="0" r="r" b="b"/>
              <a:pathLst>
                <a:path w="93" h="64">
                  <a:moveTo>
                    <a:pt x="85" y="0"/>
                  </a:moveTo>
                  <a:lnTo>
                    <a:pt x="48" y="8"/>
                  </a:lnTo>
                  <a:lnTo>
                    <a:pt x="0" y="5"/>
                  </a:lnTo>
                  <a:lnTo>
                    <a:pt x="8" y="20"/>
                  </a:lnTo>
                  <a:lnTo>
                    <a:pt x="18" y="41"/>
                  </a:lnTo>
                  <a:lnTo>
                    <a:pt x="44" y="45"/>
                  </a:lnTo>
                  <a:lnTo>
                    <a:pt x="93" y="64"/>
                  </a:lnTo>
                  <a:lnTo>
                    <a:pt x="91" y="30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5" name="Freeform 245"/>
            <p:cNvSpPr>
              <a:spLocks noChangeAspect="1"/>
            </p:cNvSpPr>
            <p:nvPr/>
          </p:nvSpPr>
          <p:spPr bwMode="auto">
            <a:xfrm>
              <a:off x="476069" y="2583242"/>
              <a:ext cx="109011" cy="140222"/>
            </a:xfrm>
            <a:custGeom>
              <a:avLst/>
              <a:gdLst/>
              <a:ahLst/>
              <a:cxnLst>
                <a:cxn ang="0">
                  <a:pos x="98" y="0"/>
                </a:cxn>
                <a:cxn ang="0">
                  <a:pos x="83" y="21"/>
                </a:cxn>
                <a:cxn ang="0">
                  <a:pos x="83" y="52"/>
                </a:cxn>
                <a:cxn ang="0">
                  <a:pos x="8" y="59"/>
                </a:cxn>
                <a:cxn ang="0">
                  <a:pos x="0" y="83"/>
                </a:cxn>
                <a:cxn ang="0">
                  <a:pos x="0" y="124"/>
                </a:cxn>
                <a:cxn ang="0">
                  <a:pos x="23" y="127"/>
                </a:cxn>
                <a:cxn ang="0">
                  <a:pos x="23" y="155"/>
                </a:cxn>
                <a:cxn ang="0">
                  <a:pos x="0" y="171"/>
                </a:cxn>
                <a:cxn ang="0">
                  <a:pos x="4" y="210"/>
                </a:cxn>
                <a:cxn ang="0">
                  <a:pos x="4" y="238"/>
                </a:cxn>
                <a:cxn ang="0">
                  <a:pos x="56" y="234"/>
                </a:cxn>
                <a:cxn ang="0">
                  <a:pos x="102" y="203"/>
                </a:cxn>
                <a:cxn ang="0">
                  <a:pos x="142" y="203"/>
                </a:cxn>
                <a:cxn ang="0">
                  <a:pos x="174" y="194"/>
                </a:cxn>
                <a:cxn ang="0">
                  <a:pos x="185" y="127"/>
                </a:cxn>
                <a:cxn ang="0">
                  <a:pos x="167" y="78"/>
                </a:cxn>
                <a:cxn ang="0">
                  <a:pos x="116" y="78"/>
                </a:cxn>
                <a:cxn ang="0">
                  <a:pos x="108" y="51"/>
                </a:cxn>
                <a:cxn ang="0">
                  <a:pos x="121" y="14"/>
                </a:cxn>
                <a:cxn ang="0">
                  <a:pos x="98" y="0"/>
                </a:cxn>
              </a:cxnLst>
              <a:rect l="0" t="0" r="r" b="b"/>
              <a:pathLst>
                <a:path w="185" h="238">
                  <a:moveTo>
                    <a:pt x="98" y="0"/>
                  </a:moveTo>
                  <a:lnTo>
                    <a:pt x="83" y="21"/>
                  </a:lnTo>
                  <a:lnTo>
                    <a:pt x="83" y="52"/>
                  </a:lnTo>
                  <a:lnTo>
                    <a:pt x="8" y="59"/>
                  </a:lnTo>
                  <a:lnTo>
                    <a:pt x="0" y="83"/>
                  </a:lnTo>
                  <a:lnTo>
                    <a:pt x="0" y="124"/>
                  </a:lnTo>
                  <a:lnTo>
                    <a:pt x="23" y="127"/>
                  </a:lnTo>
                  <a:lnTo>
                    <a:pt x="23" y="155"/>
                  </a:lnTo>
                  <a:lnTo>
                    <a:pt x="0" y="171"/>
                  </a:lnTo>
                  <a:lnTo>
                    <a:pt x="4" y="210"/>
                  </a:lnTo>
                  <a:lnTo>
                    <a:pt x="4" y="238"/>
                  </a:lnTo>
                  <a:lnTo>
                    <a:pt x="56" y="234"/>
                  </a:lnTo>
                  <a:lnTo>
                    <a:pt x="102" y="203"/>
                  </a:lnTo>
                  <a:lnTo>
                    <a:pt x="142" y="203"/>
                  </a:lnTo>
                  <a:lnTo>
                    <a:pt x="174" y="194"/>
                  </a:lnTo>
                  <a:lnTo>
                    <a:pt x="185" y="127"/>
                  </a:lnTo>
                  <a:lnTo>
                    <a:pt x="167" y="78"/>
                  </a:lnTo>
                  <a:lnTo>
                    <a:pt x="116" y="78"/>
                  </a:lnTo>
                  <a:lnTo>
                    <a:pt x="108" y="51"/>
                  </a:lnTo>
                  <a:lnTo>
                    <a:pt x="121" y="14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6" name="Freeform 246"/>
            <p:cNvSpPr>
              <a:spLocks noChangeAspect="1"/>
            </p:cNvSpPr>
            <p:nvPr/>
          </p:nvSpPr>
          <p:spPr bwMode="auto">
            <a:xfrm>
              <a:off x="539366" y="2581467"/>
              <a:ext cx="54506" cy="47924"/>
            </a:xfrm>
            <a:custGeom>
              <a:avLst/>
              <a:gdLst/>
              <a:ahLst/>
              <a:cxnLst>
                <a:cxn ang="0">
                  <a:pos x="59" y="81"/>
                </a:cxn>
                <a:cxn ang="0">
                  <a:pos x="8" y="81"/>
                </a:cxn>
                <a:cxn ang="0">
                  <a:pos x="0" y="54"/>
                </a:cxn>
                <a:cxn ang="0">
                  <a:pos x="13" y="17"/>
                </a:cxn>
                <a:cxn ang="0">
                  <a:pos x="38" y="0"/>
                </a:cxn>
                <a:cxn ang="0">
                  <a:pos x="66" y="7"/>
                </a:cxn>
                <a:cxn ang="0">
                  <a:pos x="86" y="27"/>
                </a:cxn>
                <a:cxn ang="0">
                  <a:pos x="93" y="59"/>
                </a:cxn>
                <a:cxn ang="0">
                  <a:pos x="59" y="81"/>
                </a:cxn>
              </a:cxnLst>
              <a:rect l="0" t="0" r="r" b="b"/>
              <a:pathLst>
                <a:path w="93" h="81">
                  <a:moveTo>
                    <a:pt x="59" y="81"/>
                  </a:moveTo>
                  <a:lnTo>
                    <a:pt x="8" y="81"/>
                  </a:lnTo>
                  <a:lnTo>
                    <a:pt x="0" y="54"/>
                  </a:lnTo>
                  <a:lnTo>
                    <a:pt x="13" y="17"/>
                  </a:lnTo>
                  <a:lnTo>
                    <a:pt x="38" y="0"/>
                  </a:lnTo>
                  <a:lnTo>
                    <a:pt x="66" y="7"/>
                  </a:lnTo>
                  <a:lnTo>
                    <a:pt x="86" y="27"/>
                  </a:lnTo>
                  <a:lnTo>
                    <a:pt x="93" y="59"/>
                  </a:lnTo>
                  <a:lnTo>
                    <a:pt x="59" y="8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7" name="Freeform 247"/>
            <p:cNvSpPr>
              <a:spLocks noChangeAspect="1"/>
            </p:cNvSpPr>
            <p:nvPr/>
          </p:nvSpPr>
          <p:spPr bwMode="auto">
            <a:xfrm>
              <a:off x="553431" y="2455445"/>
              <a:ext cx="22857" cy="39049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5" y="20"/>
                </a:cxn>
                <a:cxn ang="0">
                  <a:pos x="0" y="52"/>
                </a:cxn>
                <a:cxn ang="0">
                  <a:pos x="16" y="68"/>
                </a:cxn>
                <a:cxn ang="0">
                  <a:pos x="40" y="35"/>
                </a:cxn>
                <a:cxn ang="0">
                  <a:pos x="36" y="0"/>
                </a:cxn>
              </a:cxnLst>
              <a:rect l="0" t="0" r="r" b="b"/>
              <a:pathLst>
                <a:path w="40" h="68">
                  <a:moveTo>
                    <a:pt x="36" y="0"/>
                  </a:moveTo>
                  <a:lnTo>
                    <a:pt x="5" y="20"/>
                  </a:lnTo>
                  <a:lnTo>
                    <a:pt x="0" y="52"/>
                  </a:lnTo>
                  <a:lnTo>
                    <a:pt x="16" y="68"/>
                  </a:lnTo>
                  <a:lnTo>
                    <a:pt x="40" y="35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8" name="Freeform 248"/>
            <p:cNvSpPr>
              <a:spLocks noChangeAspect="1"/>
            </p:cNvSpPr>
            <p:nvPr/>
          </p:nvSpPr>
          <p:spPr bwMode="auto">
            <a:xfrm>
              <a:off x="579805" y="2448345"/>
              <a:ext cx="193407" cy="337242"/>
            </a:xfrm>
            <a:custGeom>
              <a:avLst/>
              <a:gdLst/>
              <a:ahLst/>
              <a:cxnLst>
                <a:cxn ang="0">
                  <a:pos x="52" y="7"/>
                </a:cxn>
                <a:cxn ang="0">
                  <a:pos x="32" y="43"/>
                </a:cxn>
                <a:cxn ang="0">
                  <a:pos x="0" y="79"/>
                </a:cxn>
                <a:cxn ang="0">
                  <a:pos x="24" y="90"/>
                </a:cxn>
                <a:cxn ang="0">
                  <a:pos x="32" y="118"/>
                </a:cxn>
                <a:cxn ang="0">
                  <a:pos x="32" y="146"/>
                </a:cxn>
                <a:cxn ang="0">
                  <a:pos x="4" y="162"/>
                </a:cxn>
                <a:cxn ang="0">
                  <a:pos x="17" y="190"/>
                </a:cxn>
                <a:cxn ang="0">
                  <a:pos x="44" y="193"/>
                </a:cxn>
                <a:cxn ang="0">
                  <a:pos x="52" y="217"/>
                </a:cxn>
                <a:cxn ang="0">
                  <a:pos x="41" y="241"/>
                </a:cxn>
                <a:cxn ang="0">
                  <a:pos x="115" y="256"/>
                </a:cxn>
                <a:cxn ang="0">
                  <a:pos x="131" y="284"/>
                </a:cxn>
                <a:cxn ang="0">
                  <a:pos x="155" y="292"/>
                </a:cxn>
                <a:cxn ang="0">
                  <a:pos x="147" y="315"/>
                </a:cxn>
                <a:cxn ang="0">
                  <a:pos x="107" y="339"/>
                </a:cxn>
                <a:cxn ang="0">
                  <a:pos x="76" y="339"/>
                </a:cxn>
                <a:cxn ang="0">
                  <a:pos x="72" y="375"/>
                </a:cxn>
                <a:cxn ang="0">
                  <a:pos x="83" y="394"/>
                </a:cxn>
                <a:cxn ang="0">
                  <a:pos x="76" y="427"/>
                </a:cxn>
                <a:cxn ang="0">
                  <a:pos x="52" y="442"/>
                </a:cxn>
                <a:cxn ang="0">
                  <a:pos x="123" y="458"/>
                </a:cxn>
                <a:cxn ang="0">
                  <a:pos x="120" y="470"/>
                </a:cxn>
                <a:cxn ang="0">
                  <a:pos x="92" y="473"/>
                </a:cxn>
                <a:cxn ang="0">
                  <a:pos x="63" y="505"/>
                </a:cxn>
                <a:cxn ang="0">
                  <a:pos x="36" y="537"/>
                </a:cxn>
                <a:cxn ang="0">
                  <a:pos x="32" y="569"/>
                </a:cxn>
                <a:cxn ang="0">
                  <a:pos x="100" y="541"/>
                </a:cxn>
                <a:cxn ang="0">
                  <a:pos x="142" y="517"/>
                </a:cxn>
                <a:cxn ang="0">
                  <a:pos x="203" y="534"/>
                </a:cxn>
                <a:cxn ang="0">
                  <a:pos x="249" y="501"/>
                </a:cxn>
                <a:cxn ang="0">
                  <a:pos x="309" y="486"/>
                </a:cxn>
                <a:cxn ang="0">
                  <a:pos x="273" y="458"/>
                </a:cxn>
                <a:cxn ang="0">
                  <a:pos x="293" y="442"/>
                </a:cxn>
                <a:cxn ang="0">
                  <a:pos x="324" y="446"/>
                </a:cxn>
                <a:cxn ang="0">
                  <a:pos x="328" y="375"/>
                </a:cxn>
                <a:cxn ang="0">
                  <a:pos x="269" y="355"/>
                </a:cxn>
                <a:cxn ang="0">
                  <a:pos x="265" y="308"/>
                </a:cxn>
                <a:cxn ang="0">
                  <a:pos x="258" y="280"/>
                </a:cxn>
                <a:cxn ang="0">
                  <a:pos x="226" y="269"/>
                </a:cxn>
                <a:cxn ang="0">
                  <a:pos x="230" y="228"/>
                </a:cxn>
                <a:cxn ang="0">
                  <a:pos x="203" y="221"/>
                </a:cxn>
                <a:cxn ang="0">
                  <a:pos x="210" y="166"/>
                </a:cxn>
                <a:cxn ang="0">
                  <a:pos x="135" y="110"/>
                </a:cxn>
                <a:cxn ang="0">
                  <a:pos x="175" y="98"/>
                </a:cxn>
                <a:cxn ang="0">
                  <a:pos x="179" y="51"/>
                </a:cxn>
                <a:cxn ang="0">
                  <a:pos x="107" y="51"/>
                </a:cxn>
                <a:cxn ang="0">
                  <a:pos x="107" y="0"/>
                </a:cxn>
                <a:cxn ang="0">
                  <a:pos x="52" y="7"/>
                </a:cxn>
              </a:cxnLst>
              <a:rect l="0" t="0" r="r" b="b"/>
              <a:pathLst>
                <a:path w="328" h="569">
                  <a:moveTo>
                    <a:pt x="52" y="7"/>
                  </a:moveTo>
                  <a:lnTo>
                    <a:pt x="32" y="43"/>
                  </a:lnTo>
                  <a:lnTo>
                    <a:pt x="0" y="79"/>
                  </a:lnTo>
                  <a:lnTo>
                    <a:pt x="24" y="90"/>
                  </a:lnTo>
                  <a:lnTo>
                    <a:pt x="32" y="118"/>
                  </a:lnTo>
                  <a:lnTo>
                    <a:pt x="32" y="146"/>
                  </a:lnTo>
                  <a:lnTo>
                    <a:pt x="4" y="162"/>
                  </a:lnTo>
                  <a:lnTo>
                    <a:pt x="17" y="190"/>
                  </a:lnTo>
                  <a:lnTo>
                    <a:pt x="44" y="193"/>
                  </a:lnTo>
                  <a:lnTo>
                    <a:pt x="52" y="217"/>
                  </a:lnTo>
                  <a:lnTo>
                    <a:pt x="41" y="241"/>
                  </a:lnTo>
                  <a:lnTo>
                    <a:pt x="115" y="256"/>
                  </a:lnTo>
                  <a:lnTo>
                    <a:pt x="131" y="284"/>
                  </a:lnTo>
                  <a:lnTo>
                    <a:pt x="155" y="292"/>
                  </a:lnTo>
                  <a:lnTo>
                    <a:pt x="147" y="315"/>
                  </a:lnTo>
                  <a:lnTo>
                    <a:pt x="107" y="339"/>
                  </a:lnTo>
                  <a:lnTo>
                    <a:pt x="76" y="339"/>
                  </a:lnTo>
                  <a:lnTo>
                    <a:pt x="72" y="375"/>
                  </a:lnTo>
                  <a:lnTo>
                    <a:pt x="83" y="394"/>
                  </a:lnTo>
                  <a:lnTo>
                    <a:pt x="76" y="427"/>
                  </a:lnTo>
                  <a:lnTo>
                    <a:pt x="52" y="442"/>
                  </a:lnTo>
                  <a:lnTo>
                    <a:pt x="123" y="458"/>
                  </a:lnTo>
                  <a:lnTo>
                    <a:pt x="120" y="470"/>
                  </a:lnTo>
                  <a:lnTo>
                    <a:pt x="92" y="473"/>
                  </a:lnTo>
                  <a:lnTo>
                    <a:pt x="63" y="505"/>
                  </a:lnTo>
                  <a:lnTo>
                    <a:pt x="36" y="537"/>
                  </a:lnTo>
                  <a:lnTo>
                    <a:pt x="32" y="569"/>
                  </a:lnTo>
                  <a:lnTo>
                    <a:pt x="100" y="541"/>
                  </a:lnTo>
                  <a:lnTo>
                    <a:pt x="142" y="517"/>
                  </a:lnTo>
                  <a:lnTo>
                    <a:pt x="203" y="534"/>
                  </a:lnTo>
                  <a:lnTo>
                    <a:pt x="249" y="501"/>
                  </a:lnTo>
                  <a:lnTo>
                    <a:pt x="309" y="486"/>
                  </a:lnTo>
                  <a:lnTo>
                    <a:pt x="273" y="458"/>
                  </a:lnTo>
                  <a:lnTo>
                    <a:pt x="293" y="442"/>
                  </a:lnTo>
                  <a:lnTo>
                    <a:pt x="324" y="446"/>
                  </a:lnTo>
                  <a:lnTo>
                    <a:pt x="328" y="375"/>
                  </a:lnTo>
                  <a:lnTo>
                    <a:pt x="269" y="355"/>
                  </a:lnTo>
                  <a:lnTo>
                    <a:pt x="265" y="308"/>
                  </a:lnTo>
                  <a:lnTo>
                    <a:pt x="258" y="280"/>
                  </a:lnTo>
                  <a:lnTo>
                    <a:pt x="226" y="269"/>
                  </a:lnTo>
                  <a:lnTo>
                    <a:pt x="230" y="228"/>
                  </a:lnTo>
                  <a:lnTo>
                    <a:pt x="203" y="221"/>
                  </a:lnTo>
                  <a:lnTo>
                    <a:pt x="210" y="166"/>
                  </a:lnTo>
                  <a:lnTo>
                    <a:pt x="135" y="110"/>
                  </a:lnTo>
                  <a:lnTo>
                    <a:pt x="175" y="98"/>
                  </a:lnTo>
                  <a:lnTo>
                    <a:pt x="179" y="51"/>
                  </a:lnTo>
                  <a:lnTo>
                    <a:pt x="107" y="51"/>
                  </a:lnTo>
                  <a:lnTo>
                    <a:pt x="107" y="0"/>
                  </a:lnTo>
                  <a:lnTo>
                    <a:pt x="52" y="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9" name="Freeform 249"/>
            <p:cNvSpPr>
              <a:spLocks noChangeAspect="1"/>
            </p:cNvSpPr>
            <p:nvPr/>
          </p:nvSpPr>
          <p:spPr bwMode="auto">
            <a:xfrm>
              <a:off x="688816" y="2359597"/>
              <a:ext cx="17582" cy="33724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28"/>
                </a:cxn>
                <a:cxn ang="0">
                  <a:pos x="8" y="59"/>
                </a:cxn>
                <a:cxn ang="0">
                  <a:pos x="28" y="59"/>
                </a:cxn>
                <a:cxn ang="0">
                  <a:pos x="24" y="0"/>
                </a:cxn>
              </a:cxnLst>
              <a:rect l="0" t="0" r="r" b="b"/>
              <a:pathLst>
                <a:path w="28" h="59">
                  <a:moveTo>
                    <a:pt x="24" y="0"/>
                  </a:moveTo>
                  <a:lnTo>
                    <a:pt x="0" y="28"/>
                  </a:lnTo>
                  <a:lnTo>
                    <a:pt x="8" y="59"/>
                  </a:lnTo>
                  <a:lnTo>
                    <a:pt x="28" y="59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0" name="Freeform 250"/>
            <p:cNvSpPr>
              <a:spLocks noChangeAspect="1"/>
            </p:cNvSpPr>
            <p:nvPr/>
          </p:nvSpPr>
          <p:spPr bwMode="auto">
            <a:xfrm>
              <a:off x="850575" y="1891009"/>
              <a:ext cx="652308" cy="573311"/>
            </a:xfrm>
            <a:custGeom>
              <a:avLst/>
              <a:gdLst/>
              <a:ahLst/>
              <a:cxnLst>
                <a:cxn ang="0">
                  <a:pos x="961" y="136"/>
                </a:cxn>
                <a:cxn ang="0">
                  <a:pos x="891" y="96"/>
                </a:cxn>
                <a:cxn ang="0">
                  <a:pos x="835" y="155"/>
                </a:cxn>
                <a:cxn ang="0">
                  <a:pos x="751" y="210"/>
                </a:cxn>
                <a:cxn ang="0">
                  <a:pos x="677" y="195"/>
                </a:cxn>
                <a:cxn ang="0">
                  <a:pos x="626" y="246"/>
                </a:cxn>
                <a:cxn ang="0">
                  <a:pos x="550" y="250"/>
                </a:cxn>
                <a:cxn ang="0">
                  <a:pos x="503" y="285"/>
                </a:cxn>
                <a:cxn ang="0">
                  <a:pos x="471" y="317"/>
                </a:cxn>
                <a:cxn ang="0">
                  <a:pos x="440" y="372"/>
                </a:cxn>
                <a:cxn ang="0">
                  <a:pos x="396" y="412"/>
                </a:cxn>
                <a:cxn ang="0">
                  <a:pos x="365" y="482"/>
                </a:cxn>
                <a:cxn ang="0">
                  <a:pos x="372" y="546"/>
                </a:cxn>
                <a:cxn ang="0">
                  <a:pos x="309" y="554"/>
                </a:cxn>
                <a:cxn ang="0">
                  <a:pos x="309" y="668"/>
                </a:cxn>
                <a:cxn ang="0">
                  <a:pos x="341" y="771"/>
                </a:cxn>
                <a:cxn ang="0">
                  <a:pos x="309" y="850"/>
                </a:cxn>
                <a:cxn ang="0">
                  <a:pos x="278" y="937"/>
                </a:cxn>
                <a:cxn ang="0">
                  <a:pos x="179" y="929"/>
                </a:cxn>
                <a:cxn ang="0">
                  <a:pos x="107" y="965"/>
                </a:cxn>
                <a:cxn ang="0">
                  <a:pos x="48" y="914"/>
                </a:cxn>
                <a:cxn ang="0">
                  <a:pos x="37" y="815"/>
                </a:cxn>
                <a:cxn ang="0">
                  <a:pos x="0" y="692"/>
                </a:cxn>
                <a:cxn ang="0">
                  <a:pos x="44" y="653"/>
                </a:cxn>
                <a:cxn ang="0">
                  <a:pos x="127" y="633"/>
                </a:cxn>
                <a:cxn ang="0">
                  <a:pos x="195" y="602"/>
                </a:cxn>
                <a:cxn ang="0">
                  <a:pos x="262" y="526"/>
                </a:cxn>
                <a:cxn ang="0">
                  <a:pos x="302" y="460"/>
                </a:cxn>
                <a:cxn ang="0">
                  <a:pos x="326" y="372"/>
                </a:cxn>
                <a:cxn ang="0">
                  <a:pos x="412" y="278"/>
                </a:cxn>
                <a:cxn ang="0">
                  <a:pos x="519" y="237"/>
                </a:cxn>
                <a:cxn ang="0">
                  <a:pos x="622" y="206"/>
                </a:cxn>
                <a:cxn ang="0">
                  <a:pos x="672" y="147"/>
                </a:cxn>
                <a:cxn ang="0">
                  <a:pos x="629" y="76"/>
                </a:cxn>
                <a:cxn ang="0">
                  <a:pos x="692" y="29"/>
                </a:cxn>
                <a:cxn ang="0">
                  <a:pos x="724" y="79"/>
                </a:cxn>
                <a:cxn ang="0">
                  <a:pos x="747" y="57"/>
                </a:cxn>
                <a:cxn ang="0">
                  <a:pos x="788" y="84"/>
                </a:cxn>
                <a:cxn ang="0">
                  <a:pos x="779" y="33"/>
                </a:cxn>
                <a:cxn ang="0">
                  <a:pos x="858" y="40"/>
                </a:cxn>
                <a:cxn ang="0">
                  <a:pos x="894" y="44"/>
                </a:cxn>
                <a:cxn ang="0">
                  <a:pos x="977" y="16"/>
                </a:cxn>
                <a:cxn ang="0">
                  <a:pos x="1020" y="84"/>
                </a:cxn>
                <a:cxn ang="0">
                  <a:pos x="1055" y="152"/>
                </a:cxn>
                <a:cxn ang="0">
                  <a:pos x="983" y="256"/>
                </a:cxn>
                <a:cxn ang="0">
                  <a:pos x="961" y="136"/>
                </a:cxn>
              </a:cxnLst>
              <a:rect l="0" t="0" r="r" b="b"/>
              <a:pathLst>
                <a:path w="1112" h="970">
                  <a:moveTo>
                    <a:pt x="933" y="210"/>
                  </a:moveTo>
                  <a:lnTo>
                    <a:pt x="961" y="136"/>
                  </a:lnTo>
                  <a:lnTo>
                    <a:pt x="926" y="103"/>
                  </a:lnTo>
                  <a:lnTo>
                    <a:pt x="891" y="96"/>
                  </a:lnTo>
                  <a:lnTo>
                    <a:pt x="863" y="119"/>
                  </a:lnTo>
                  <a:lnTo>
                    <a:pt x="835" y="155"/>
                  </a:lnTo>
                  <a:lnTo>
                    <a:pt x="815" y="202"/>
                  </a:lnTo>
                  <a:lnTo>
                    <a:pt x="751" y="210"/>
                  </a:lnTo>
                  <a:lnTo>
                    <a:pt x="709" y="202"/>
                  </a:lnTo>
                  <a:lnTo>
                    <a:pt x="677" y="195"/>
                  </a:lnTo>
                  <a:lnTo>
                    <a:pt x="650" y="219"/>
                  </a:lnTo>
                  <a:lnTo>
                    <a:pt x="626" y="246"/>
                  </a:lnTo>
                  <a:lnTo>
                    <a:pt x="582" y="246"/>
                  </a:lnTo>
                  <a:lnTo>
                    <a:pt x="550" y="250"/>
                  </a:lnTo>
                  <a:lnTo>
                    <a:pt x="526" y="274"/>
                  </a:lnTo>
                  <a:lnTo>
                    <a:pt x="503" y="285"/>
                  </a:lnTo>
                  <a:lnTo>
                    <a:pt x="475" y="278"/>
                  </a:lnTo>
                  <a:lnTo>
                    <a:pt x="471" y="317"/>
                  </a:lnTo>
                  <a:lnTo>
                    <a:pt x="447" y="333"/>
                  </a:lnTo>
                  <a:lnTo>
                    <a:pt x="440" y="372"/>
                  </a:lnTo>
                  <a:lnTo>
                    <a:pt x="408" y="377"/>
                  </a:lnTo>
                  <a:lnTo>
                    <a:pt x="396" y="412"/>
                  </a:lnTo>
                  <a:lnTo>
                    <a:pt x="372" y="423"/>
                  </a:lnTo>
                  <a:lnTo>
                    <a:pt x="365" y="482"/>
                  </a:lnTo>
                  <a:lnTo>
                    <a:pt x="344" y="523"/>
                  </a:lnTo>
                  <a:lnTo>
                    <a:pt x="372" y="546"/>
                  </a:lnTo>
                  <a:lnTo>
                    <a:pt x="353" y="561"/>
                  </a:lnTo>
                  <a:lnTo>
                    <a:pt x="309" y="554"/>
                  </a:lnTo>
                  <a:lnTo>
                    <a:pt x="298" y="585"/>
                  </a:lnTo>
                  <a:lnTo>
                    <a:pt x="309" y="668"/>
                  </a:lnTo>
                  <a:lnTo>
                    <a:pt x="317" y="720"/>
                  </a:lnTo>
                  <a:lnTo>
                    <a:pt x="341" y="771"/>
                  </a:lnTo>
                  <a:lnTo>
                    <a:pt x="353" y="826"/>
                  </a:lnTo>
                  <a:lnTo>
                    <a:pt x="309" y="850"/>
                  </a:lnTo>
                  <a:lnTo>
                    <a:pt x="293" y="906"/>
                  </a:lnTo>
                  <a:lnTo>
                    <a:pt x="278" y="937"/>
                  </a:lnTo>
                  <a:lnTo>
                    <a:pt x="247" y="918"/>
                  </a:lnTo>
                  <a:lnTo>
                    <a:pt x="179" y="929"/>
                  </a:lnTo>
                  <a:lnTo>
                    <a:pt x="144" y="953"/>
                  </a:lnTo>
                  <a:lnTo>
                    <a:pt x="107" y="965"/>
                  </a:lnTo>
                  <a:lnTo>
                    <a:pt x="52" y="970"/>
                  </a:lnTo>
                  <a:lnTo>
                    <a:pt x="48" y="914"/>
                  </a:lnTo>
                  <a:lnTo>
                    <a:pt x="24" y="898"/>
                  </a:lnTo>
                  <a:lnTo>
                    <a:pt x="37" y="815"/>
                  </a:lnTo>
                  <a:lnTo>
                    <a:pt x="5" y="811"/>
                  </a:lnTo>
                  <a:lnTo>
                    <a:pt x="0" y="692"/>
                  </a:lnTo>
                  <a:lnTo>
                    <a:pt x="37" y="681"/>
                  </a:lnTo>
                  <a:lnTo>
                    <a:pt x="44" y="653"/>
                  </a:lnTo>
                  <a:lnTo>
                    <a:pt x="88" y="637"/>
                  </a:lnTo>
                  <a:lnTo>
                    <a:pt x="127" y="633"/>
                  </a:lnTo>
                  <a:lnTo>
                    <a:pt x="147" y="605"/>
                  </a:lnTo>
                  <a:lnTo>
                    <a:pt x="195" y="602"/>
                  </a:lnTo>
                  <a:lnTo>
                    <a:pt x="199" y="546"/>
                  </a:lnTo>
                  <a:lnTo>
                    <a:pt x="262" y="526"/>
                  </a:lnTo>
                  <a:lnTo>
                    <a:pt x="269" y="482"/>
                  </a:lnTo>
                  <a:lnTo>
                    <a:pt x="302" y="460"/>
                  </a:lnTo>
                  <a:lnTo>
                    <a:pt x="313" y="416"/>
                  </a:lnTo>
                  <a:lnTo>
                    <a:pt x="326" y="372"/>
                  </a:lnTo>
                  <a:lnTo>
                    <a:pt x="372" y="325"/>
                  </a:lnTo>
                  <a:lnTo>
                    <a:pt x="412" y="278"/>
                  </a:lnTo>
                  <a:lnTo>
                    <a:pt x="455" y="246"/>
                  </a:lnTo>
                  <a:lnTo>
                    <a:pt x="519" y="237"/>
                  </a:lnTo>
                  <a:lnTo>
                    <a:pt x="554" y="219"/>
                  </a:lnTo>
                  <a:lnTo>
                    <a:pt x="622" y="206"/>
                  </a:lnTo>
                  <a:lnTo>
                    <a:pt x="633" y="167"/>
                  </a:lnTo>
                  <a:lnTo>
                    <a:pt x="672" y="147"/>
                  </a:lnTo>
                  <a:lnTo>
                    <a:pt x="661" y="99"/>
                  </a:lnTo>
                  <a:lnTo>
                    <a:pt x="629" y="76"/>
                  </a:lnTo>
                  <a:lnTo>
                    <a:pt x="677" y="60"/>
                  </a:lnTo>
                  <a:lnTo>
                    <a:pt x="692" y="29"/>
                  </a:lnTo>
                  <a:lnTo>
                    <a:pt x="701" y="72"/>
                  </a:lnTo>
                  <a:lnTo>
                    <a:pt x="724" y="79"/>
                  </a:lnTo>
                  <a:lnTo>
                    <a:pt x="724" y="57"/>
                  </a:lnTo>
                  <a:lnTo>
                    <a:pt x="747" y="57"/>
                  </a:lnTo>
                  <a:lnTo>
                    <a:pt x="756" y="76"/>
                  </a:lnTo>
                  <a:lnTo>
                    <a:pt x="788" y="84"/>
                  </a:lnTo>
                  <a:lnTo>
                    <a:pt x="803" y="48"/>
                  </a:lnTo>
                  <a:lnTo>
                    <a:pt x="779" y="33"/>
                  </a:lnTo>
                  <a:lnTo>
                    <a:pt x="819" y="9"/>
                  </a:lnTo>
                  <a:lnTo>
                    <a:pt x="858" y="40"/>
                  </a:lnTo>
                  <a:lnTo>
                    <a:pt x="882" y="0"/>
                  </a:lnTo>
                  <a:lnTo>
                    <a:pt x="894" y="44"/>
                  </a:lnTo>
                  <a:lnTo>
                    <a:pt x="933" y="48"/>
                  </a:lnTo>
                  <a:lnTo>
                    <a:pt x="977" y="16"/>
                  </a:lnTo>
                  <a:lnTo>
                    <a:pt x="1029" y="48"/>
                  </a:lnTo>
                  <a:lnTo>
                    <a:pt x="1020" y="84"/>
                  </a:lnTo>
                  <a:lnTo>
                    <a:pt x="1112" y="116"/>
                  </a:lnTo>
                  <a:lnTo>
                    <a:pt x="1055" y="152"/>
                  </a:lnTo>
                  <a:lnTo>
                    <a:pt x="1004" y="207"/>
                  </a:lnTo>
                  <a:lnTo>
                    <a:pt x="983" y="256"/>
                  </a:lnTo>
                  <a:lnTo>
                    <a:pt x="933" y="210"/>
                  </a:lnTo>
                  <a:lnTo>
                    <a:pt x="961" y="136"/>
                  </a:lnTo>
                  <a:lnTo>
                    <a:pt x="933" y="21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1" name="Freeform 251"/>
            <p:cNvSpPr>
              <a:spLocks noChangeAspect="1"/>
            </p:cNvSpPr>
            <p:nvPr/>
          </p:nvSpPr>
          <p:spPr bwMode="auto">
            <a:xfrm>
              <a:off x="850575" y="1891009"/>
              <a:ext cx="652308" cy="573311"/>
            </a:xfrm>
            <a:custGeom>
              <a:avLst/>
              <a:gdLst/>
              <a:ahLst/>
              <a:cxnLst>
                <a:cxn ang="0">
                  <a:pos x="961" y="136"/>
                </a:cxn>
                <a:cxn ang="0">
                  <a:pos x="891" y="96"/>
                </a:cxn>
                <a:cxn ang="0">
                  <a:pos x="835" y="155"/>
                </a:cxn>
                <a:cxn ang="0">
                  <a:pos x="751" y="210"/>
                </a:cxn>
                <a:cxn ang="0">
                  <a:pos x="677" y="195"/>
                </a:cxn>
                <a:cxn ang="0">
                  <a:pos x="626" y="246"/>
                </a:cxn>
                <a:cxn ang="0">
                  <a:pos x="550" y="250"/>
                </a:cxn>
                <a:cxn ang="0">
                  <a:pos x="503" y="285"/>
                </a:cxn>
                <a:cxn ang="0">
                  <a:pos x="471" y="317"/>
                </a:cxn>
                <a:cxn ang="0">
                  <a:pos x="440" y="372"/>
                </a:cxn>
                <a:cxn ang="0">
                  <a:pos x="396" y="412"/>
                </a:cxn>
                <a:cxn ang="0">
                  <a:pos x="365" y="482"/>
                </a:cxn>
                <a:cxn ang="0">
                  <a:pos x="372" y="546"/>
                </a:cxn>
                <a:cxn ang="0">
                  <a:pos x="309" y="554"/>
                </a:cxn>
                <a:cxn ang="0">
                  <a:pos x="309" y="668"/>
                </a:cxn>
                <a:cxn ang="0">
                  <a:pos x="341" y="771"/>
                </a:cxn>
                <a:cxn ang="0">
                  <a:pos x="309" y="850"/>
                </a:cxn>
                <a:cxn ang="0">
                  <a:pos x="278" y="937"/>
                </a:cxn>
                <a:cxn ang="0">
                  <a:pos x="179" y="929"/>
                </a:cxn>
                <a:cxn ang="0">
                  <a:pos x="107" y="965"/>
                </a:cxn>
                <a:cxn ang="0">
                  <a:pos x="48" y="914"/>
                </a:cxn>
                <a:cxn ang="0">
                  <a:pos x="37" y="815"/>
                </a:cxn>
                <a:cxn ang="0">
                  <a:pos x="0" y="692"/>
                </a:cxn>
                <a:cxn ang="0">
                  <a:pos x="44" y="653"/>
                </a:cxn>
                <a:cxn ang="0">
                  <a:pos x="127" y="633"/>
                </a:cxn>
                <a:cxn ang="0">
                  <a:pos x="195" y="602"/>
                </a:cxn>
                <a:cxn ang="0">
                  <a:pos x="262" y="526"/>
                </a:cxn>
                <a:cxn ang="0">
                  <a:pos x="302" y="460"/>
                </a:cxn>
                <a:cxn ang="0">
                  <a:pos x="326" y="372"/>
                </a:cxn>
                <a:cxn ang="0">
                  <a:pos x="412" y="278"/>
                </a:cxn>
                <a:cxn ang="0">
                  <a:pos x="519" y="237"/>
                </a:cxn>
                <a:cxn ang="0">
                  <a:pos x="622" y="206"/>
                </a:cxn>
                <a:cxn ang="0">
                  <a:pos x="672" y="147"/>
                </a:cxn>
                <a:cxn ang="0">
                  <a:pos x="629" y="76"/>
                </a:cxn>
                <a:cxn ang="0">
                  <a:pos x="692" y="29"/>
                </a:cxn>
                <a:cxn ang="0">
                  <a:pos x="724" y="79"/>
                </a:cxn>
                <a:cxn ang="0">
                  <a:pos x="747" y="57"/>
                </a:cxn>
                <a:cxn ang="0">
                  <a:pos x="788" y="84"/>
                </a:cxn>
                <a:cxn ang="0">
                  <a:pos x="779" y="33"/>
                </a:cxn>
                <a:cxn ang="0">
                  <a:pos x="858" y="40"/>
                </a:cxn>
                <a:cxn ang="0">
                  <a:pos x="894" y="44"/>
                </a:cxn>
                <a:cxn ang="0">
                  <a:pos x="977" y="16"/>
                </a:cxn>
                <a:cxn ang="0">
                  <a:pos x="1020" y="84"/>
                </a:cxn>
                <a:cxn ang="0">
                  <a:pos x="1055" y="152"/>
                </a:cxn>
                <a:cxn ang="0">
                  <a:pos x="983" y="256"/>
                </a:cxn>
                <a:cxn ang="0">
                  <a:pos x="961" y="136"/>
                </a:cxn>
              </a:cxnLst>
              <a:rect l="0" t="0" r="r" b="b"/>
              <a:pathLst>
                <a:path w="1112" h="970">
                  <a:moveTo>
                    <a:pt x="933" y="210"/>
                  </a:moveTo>
                  <a:lnTo>
                    <a:pt x="961" y="136"/>
                  </a:lnTo>
                  <a:lnTo>
                    <a:pt x="926" y="103"/>
                  </a:lnTo>
                  <a:lnTo>
                    <a:pt x="891" y="96"/>
                  </a:lnTo>
                  <a:lnTo>
                    <a:pt x="863" y="119"/>
                  </a:lnTo>
                  <a:lnTo>
                    <a:pt x="835" y="155"/>
                  </a:lnTo>
                  <a:lnTo>
                    <a:pt x="815" y="202"/>
                  </a:lnTo>
                  <a:lnTo>
                    <a:pt x="751" y="210"/>
                  </a:lnTo>
                  <a:lnTo>
                    <a:pt x="709" y="202"/>
                  </a:lnTo>
                  <a:lnTo>
                    <a:pt x="677" y="195"/>
                  </a:lnTo>
                  <a:lnTo>
                    <a:pt x="650" y="219"/>
                  </a:lnTo>
                  <a:lnTo>
                    <a:pt x="626" y="246"/>
                  </a:lnTo>
                  <a:lnTo>
                    <a:pt x="582" y="246"/>
                  </a:lnTo>
                  <a:lnTo>
                    <a:pt x="550" y="250"/>
                  </a:lnTo>
                  <a:lnTo>
                    <a:pt x="526" y="274"/>
                  </a:lnTo>
                  <a:lnTo>
                    <a:pt x="503" y="285"/>
                  </a:lnTo>
                  <a:lnTo>
                    <a:pt x="475" y="278"/>
                  </a:lnTo>
                  <a:lnTo>
                    <a:pt x="471" y="317"/>
                  </a:lnTo>
                  <a:lnTo>
                    <a:pt x="447" y="333"/>
                  </a:lnTo>
                  <a:lnTo>
                    <a:pt x="440" y="372"/>
                  </a:lnTo>
                  <a:lnTo>
                    <a:pt x="408" y="377"/>
                  </a:lnTo>
                  <a:lnTo>
                    <a:pt x="396" y="412"/>
                  </a:lnTo>
                  <a:lnTo>
                    <a:pt x="372" y="423"/>
                  </a:lnTo>
                  <a:lnTo>
                    <a:pt x="365" y="482"/>
                  </a:lnTo>
                  <a:lnTo>
                    <a:pt x="344" y="523"/>
                  </a:lnTo>
                  <a:lnTo>
                    <a:pt x="372" y="546"/>
                  </a:lnTo>
                  <a:lnTo>
                    <a:pt x="353" y="561"/>
                  </a:lnTo>
                  <a:lnTo>
                    <a:pt x="309" y="554"/>
                  </a:lnTo>
                  <a:lnTo>
                    <a:pt x="298" y="585"/>
                  </a:lnTo>
                  <a:lnTo>
                    <a:pt x="309" y="668"/>
                  </a:lnTo>
                  <a:lnTo>
                    <a:pt x="317" y="720"/>
                  </a:lnTo>
                  <a:lnTo>
                    <a:pt x="341" y="771"/>
                  </a:lnTo>
                  <a:lnTo>
                    <a:pt x="353" y="826"/>
                  </a:lnTo>
                  <a:lnTo>
                    <a:pt x="309" y="850"/>
                  </a:lnTo>
                  <a:lnTo>
                    <a:pt x="293" y="906"/>
                  </a:lnTo>
                  <a:lnTo>
                    <a:pt x="278" y="937"/>
                  </a:lnTo>
                  <a:lnTo>
                    <a:pt x="247" y="918"/>
                  </a:lnTo>
                  <a:lnTo>
                    <a:pt x="179" y="929"/>
                  </a:lnTo>
                  <a:lnTo>
                    <a:pt x="144" y="953"/>
                  </a:lnTo>
                  <a:lnTo>
                    <a:pt x="107" y="965"/>
                  </a:lnTo>
                  <a:lnTo>
                    <a:pt x="52" y="970"/>
                  </a:lnTo>
                  <a:lnTo>
                    <a:pt x="48" y="914"/>
                  </a:lnTo>
                  <a:lnTo>
                    <a:pt x="24" y="898"/>
                  </a:lnTo>
                  <a:lnTo>
                    <a:pt x="37" y="815"/>
                  </a:lnTo>
                  <a:lnTo>
                    <a:pt x="5" y="811"/>
                  </a:lnTo>
                  <a:lnTo>
                    <a:pt x="0" y="692"/>
                  </a:lnTo>
                  <a:lnTo>
                    <a:pt x="37" y="681"/>
                  </a:lnTo>
                  <a:lnTo>
                    <a:pt x="44" y="653"/>
                  </a:lnTo>
                  <a:lnTo>
                    <a:pt x="88" y="637"/>
                  </a:lnTo>
                  <a:lnTo>
                    <a:pt x="127" y="633"/>
                  </a:lnTo>
                  <a:lnTo>
                    <a:pt x="147" y="605"/>
                  </a:lnTo>
                  <a:lnTo>
                    <a:pt x="195" y="602"/>
                  </a:lnTo>
                  <a:lnTo>
                    <a:pt x="199" y="546"/>
                  </a:lnTo>
                  <a:lnTo>
                    <a:pt x="262" y="526"/>
                  </a:lnTo>
                  <a:lnTo>
                    <a:pt x="269" y="482"/>
                  </a:lnTo>
                  <a:lnTo>
                    <a:pt x="302" y="460"/>
                  </a:lnTo>
                  <a:lnTo>
                    <a:pt x="313" y="416"/>
                  </a:lnTo>
                  <a:lnTo>
                    <a:pt x="326" y="372"/>
                  </a:lnTo>
                  <a:lnTo>
                    <a:pt x="372" y="325"/>
                  </a:lnTo>
                  <a:lnTo>
                    <a:pt x="412" y="278"/>
                  </a:lnTo>
                  <a:lnTo>
                    <a:pt x="455" y="246"/>
                  </a:lnTo>
                  <a:lnTo>
                    <a:pt x="519" y="237"/>
                  </a:lnTo>
                  <a:lnTo>
                    <a:pt x="554" y="219"/>
                  </a:lnTo>
                  <a:lnTo>
                    <a:pt x="622" y="206"/>
                  </a:lnTo>
                  <a:lnTo>
                    <a:pt x="633" y="167"/>
                  </a:lnTo>
                  <a:lnTo>
                    <a:pt x="672" y="147"/>
                  </a:lnTo>
                  <a:lnTo>
                    <a:pt x="661" y="99"/>
                  </a:lnTo>
                  <a:lnTo>
                    <a:pt x="629" y="76"/>
                  </a:lnTo>
                  <a:lnTo>
                    <a:pt x="677" y="60"/>
                  </a:lnTo>
                  <a:lnTo>
                    <a:pt x="692" y="29"/>
                  </a:lnTo>
                  <a:lnTo>
                    <a:pt x="701" y="72"/>
                  </a:lnTo>
                  <a:lnTo>
                    <a:pt x="724" y="79"/>
                  </a:lnTo>
                  <a:lnTo>
                    <a:pt x="724" y="57"/>
                  </a:lnTo>
                  <a:lnTo>
                    <a:pt x="747" y="57"/>
                  </a:lnTo>
                  <a:lnTo>
                    <a:pt x="756" y="76"/>
                  </a:lnTo>
                  <a:lnTo>
                    <a:pt x="788" y="84"/>
                  </a:lnTo>
                  <a:lnTo>
                    <a:pt x="803" y="48"/>
                  </a:lnTo>
                  <a:lnTo>
                    <a:pt x="779" y="33"/>
                  </a:lnTo>
                  <a:lnTo>
                    <a:pt x="819" y="9"/>
                  </a:lnTo>
                  <a:lnTo>
                    <a:pt x="858" y="40"/>
                  </a:lnTo>
                  <a:lnTo>
                    <a:pt x="882" y="0"/>
                  </a:lnTo>
                  <a:lnTo>
                    <a:pt x="894" y="44"/>
                  </a:lnTo>
                  <a:lnTo>
                    <a:pt x="933" y="48"/>
                  </a:lnTo>
                  <a:lnTo>
                    <a:pt x="977" y="16"/>
                  </a:lnTo>
                  <a:lnTo>
                    <a:pt x="1029" y="48"/>
                  </a:lnTo>
                  <a:lnTo>
                    <a:pt x="1020" y="84"/>
                  </a:lnTo>
                  <a:lnTo>
                    <a:pt x="1112" y="116"/>
                  </a:lnTo>
                  <a:lnTo>
                    <a:pt x="1055" y="152"/>
                  </a:lnTo>
                  <a:lnTo>
                    <a:pt x="1004" y="207"/>
                  </a:lnTo>
                  <a:lnTo>
                    <a:pt x="983" y="256"/>
                  </a:lnTo>
                  <a:lnTo>
                    <a:pt x="933" y="210"/>
                  </a:lnTo>
                  <a:lnTo>
                    <a:pt x="961" y="136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2" name="Freeform 252"/>
            <p:cNvSpPr>
              <a:spLocks noChangeAspect="1"/>
            </p:cNvSpPr>
            <p:nvPr/>
          </p:nvSpPr>
          <p:spPr bwMode="auto">
            <a:xfrm>
              <a:off x="620245" y="2727013"/>
              <a:ext cx="312967" cy="331917"/>
            </a:xfrm>
            <a:custGeom>
              <a:avLst/>
              <a:gdLst/>
              <a:ahLst/>
              <a:cxnLst>
                <a:cxn ang="0">
                  <a:pos x="280" y="10"/>
                </a:cxn>
                <a:cxn ang="0">
                  <a:pos x="269" y="49"/>
                </a:cxn>
                <a:cxn ang="0">
                  <a:pos x="245" y="69"/>
                </a:cxn>
                <a:cxn ang="0">
                  <a:pos x="237" y="93"/>
                </a:cxn>
                <a:cxn ang="0">
                  <a:pos x="201" y="89"/>
                </a:cxn>
                <a:cxn ang="0">
                  <a:pos x="194" y="117"/>
                </a:cxn>
                <a:cxn ang="0">
                  <a:pos x="158" y="121"/>
                </a:cxn>
                <a:cxn ang="0">
                  <a:pos x="135" y="92"/>
                </a:cxn>
                <a:cxn ang="0">
                  <a:pos x="111" y="101"/>
                </a:cxn>
                <a:cxn ang="0">
                  <a:pos x="122" y="123"/>
                </a:cxn>
                <a:cxn ang="0">
                  <a:pos x="114" y="152"/>
                </a:cxn>
                <a:cxn ang="0">
                  <a:pos x="74" y="156"/>
                </a:cxn>
                <a:cxn ang="0">
                  <a:pos x="55" y="168"/>
                </a:cxn>
                <a:cxn ang="0">
                  <a:pos x="47" y="172"/>
                </a:cxn>
                <a:cxn ang="0">
                  <a:pos x="3" y="180"/>
                </a:cxn>
                <a:cxn ang="0">
                  <a:pos x="3" y="191"/>
                </a:cxn>
                <a:cxn ang="0">
                  <a:pos x="0" y="211"/>
                </a:cxn>
                <a:cxn ang="0">
                  <a:pos x="58" y="239"/>
                </a:cxn>
                <a:cxn ang="0">
                  <a:pos x="83" y="251"/>
                </a:cxn>
                <a:cxn ang="0">
                  <a:pos x="111" y="283"/>
                </a:cxn>
                <a:cxn ang="0">
                  <a:pos x="126" y="325"/>
                </a:cxn>
                <a:cxn ang="0">
                  <a:pos x="153" y="353"/>
                </a:cxn>
                <a:cxn ang="0">
                  <a:pos x="131" y="365"/>
                </a:cxn>
                <a:cxn ang="0">
                  <a:pos x="114" y="480"/>
                </a:cxn>
                <a:cxn ang="0">
                  <a:pos x="98" y="507"/>
                </a:cxn>
                <a:cxn ang="0">
                  <a:pos x="158" y="527"/>
                </a:cxn>
                <a:cxn ang="0">
                  <a:pos x="221" y="531"/>
                </a:cxn>
                <a:cxn ang="0">
                  <a:pos x="253" y="559"/>
                </a:cxn>
                <a:cxn ang="0">
                  <a:pos x="339" y="555"/>
                </a:cxn>
                <a:cxn ang="0">
                  <a:pos x="332" y="524"/>
                </a:cxn>
                <a:cxn ang="0">
                  <a:pos x="348" y="487"/>
                </a:cxn>
                <a:cxn ang="0">
                  <a:pos x="383" y="483"/>
                </a:cxn>
                <a:cxn ang="0">
                  <a:pos x="422" y="483"/>
                </a:cxn>
                <a:cxn ang="0">
                  <a:pos x="450" y="505"/>
                </a:cxn>
                <a:cxn ang="0">
                  <a:pos x="486" y="515"/>
                </a:cxn>
                <a:cxn ang="0">
                  <a:pos x="511" y="470"/>
                </a:cxn>
                <a:cxn ang="0">
                  <a:pos x="511" y="438"/>
                </a:cxn>
                <a:cxn ang="0">
                  <a:pos x="476" y="423"/>
                </a:cxn>
                <a:cxn ang="0">
                  <a:pos x="472" y="379"/>
                </a:cxn>
                <a:cxn ang="0">
                  <a:pos x="492" y="352"/>
                </a:cxn>
                <a:cxn ang="0">
                  <a:pos x="491" y="318"/>
                </a:cxn>
                <a:cxn ang="0">
                  <a:pos x="467" y="298"/>
                </a:cxn>
                <a:cxn ang="0">
                  <a:pos x="475" y="266"/>
                </a:cxn>
                <a:cxn ang="0">
                  <a:pos x="495" y="239"/>
                </a:cxn>
                <a:cxn ang="0">
                  <a:pos x="524" y="230"/>
                </a:cxn>
                <a:cxn ang="0">
                  <a:pos x="515" y="162"/>
                </a:cxn>
                <a:cxn ang="0">
                  <a:pos x="535" y="138"/>
                </a:cxn>
                <a:cxn ang="0">
                  <a:pos x="492" y="103"/>
                </a:cxn>
                <a:cxn ang="0">
                  <a:pos x="430" y="107"/>
                </a:cxn>
                <a:cxn ang="0">
                  <a:pos x="377" y="87"/>
                </a:cxn>
                <a:cxn ang="0">
                  <a:pos x="358" y="48"/>
                </a:cxn>
                <a:cxn ang="0">
                  <a:pos x="322" y="28"/>
                </a:cxn>
                <a:cxn ang="0">
                  <a:pos x="325" y="0"/>
                </a:cxn>
                <a:cxn ang="0">
                  <a:pos x="280" y="10"/>
                </a:cxn>
              </a:cxnLst>
              <a:rect l="0" t="0" r="r" b="b"/>
              <a:pathLst>
                <a:path w="535" h="559">
                  <a:moveTo>
                    <a:pt x="280" y="10"/>
                  </a:moveTo>
                  <a:lnTo>
                    <a:pt x="269" y="49"/>
                  </a:lnTo>
                  <a:lnTo>
                    <a:pt x="245" y="69"/>
                  </a:lnTo>
                  <a:lnTo>
                    <a:pt x="237" y="93"/>
                  </a:lnTo>
                  <a:lnTo>
                    <a:pt x="201" y="89"/>
                  </a:lnTo>
                  <a:lnTo>
                    <a:pt x="194" y="117"/>
                  </a:lnTo>
                  <a:lnTo>
                    <a:pt x="158" y="121"/>
                  </a:lnTo>
                  <a:lnTo>
                    <a:pt x="135" y="92"/>
                  </a:lnTo>
                  <a:lnTo>
                    <a:pt x="111" y="101"/>
                  </a:lnTo>
                  <a:lnTo>
                    <a:pt x="122" y="123"/>
                  </a:lnTo>
                  <a:lnTo>
                    <a:pt x="114" y="152"/>
                  </a:lnTo>
                  <a:lnTo>
                    <a:pt x="74" y="156"/>
                  </a:lnTo>
                  <a:lnTo>
                    <a:pt x="55" y="168"/>
                  </a:lnTo>
                  <a:lnTo>
                    <a:pt x="47" y="172"/>
                  </a:lnTo>
                  <a:lnTo>
                    <a:pt x="3" y="180"/>
                  </a:lnTo>
                  <a:lnTo>
                    <a:pt x="3" y="191"/>
                  </a:lnTo>
                  <a:lnTo>
                    <a:pt x="0" y="211"/>
                  </a:lnTo>
                  <a:lnTo>
                    <a:pt x="58" y="239"/>
                  </a:lnTo>
                  <a:lnTo>
                    <a:pt x="83" y="251"/>
                  </a:lnTo>
                  <a:lnTo>
                    <a:pt x="111" y="283"/>
                  </a:lnTo>
                  <a:lnTo>
                    <a:pt x="126" y="325"/>
                  </a:lnTo>
                  <a:lnTo>
                    <a:pt x="153" y="353"/>
                  </a:lnTo>
                  <a:lnTo>
                    <a:pt x="131" y="365"/>
                  </a:lnTo>
                  <a:lnTo>
                    <a:pt x="114" y="480"/>
                  </a:lnTo>
                  <a:lnTo>
                    <a:pt x="98" y="507"/>
                  </a:lnTo>
                  <a:lnTo>
                    <a:pt x="158" y="527"/>
                  </a:lnTo>
                  <a:lnTo>
                    <a:pt x="221" y="531"/>
                  </a:lnTo>
                  <a:lnTo>
                    <a:pt x="253" y="559"/>
                  </a:lnTo>
                  <a:lnTo>
                    <a:pt x="339" y="555"/>
                  </a:lnTo>
                  <a:lnTo>
                    <a:pt x="332" y="524"/>
                  </a:lnTo>
                  <a:lnTo>
                    <a:pt x="348" y="487"/>
                  </a:lnTo>
                  <a:lnTo>
                    <a:pt x="383" y="483"/>
                  </a:lnTo>
                  <a:lnTo>
                    <a:pt x="422" y="483"/>
                  </a:lnTo>
                  <a:lnTo>
                    <a:pt x="450" y="505"/>
                  </a:lnTo>
                  <a:lnTo>
                    <a:pt x="486" y="515"/>
                  </a:lnTo>
                  <a:lnTo>
                    <a:pt x="511" y="470"/>
                  </a:lnTo>
                  <a:lnTo>
                    <a:pt x="511" y="438"/>
                  </a:lnTo>
                  <a:lnTo>
                    <a:pt x="476" y="423"/>
                  </a:lnTo>
                  <a:lnTo>
                    <a:pt x="472" y="379"/>
                  </a:lnTo>
                  <a:lnTo>
                    <a:pt x="492" y="352"/>
                  </a:lnTo>
                  <a:lnTo>
                    <a:pt x="491" y="318"/>
                  </a:lnTo>
                  <a:lnTo>
                    <a:pt x="467" y="298"/>
                  </a:lnTo>
                  <a:lnTo>
                    <a:pt x="475" y="266"/>
                  </a:lnTo>
                  <a:lnTo>
                    <a:pt x="495" y="239"/>
                  </a:lnTo>
                  <a:lnTo>
                    <a:pt x="524" y="230"/>
                  </a:lnTo>
                  <a:lnTo>
                    <a:pt x="515" y="162"/>
                  </a:lnTo>
                  <a:lnTo>
                    <a:pt x="535" y="138"/>
                  </a:lnTo>
                  <a:lnTo>
                    <a:pt x="492" y="103"/>
                  </a:lnTo>
                  <a:lnTo>
                    <a:pt x="430" y="107"/>
                  </a:lnTo>
                  <a:lnTo>
                    <a:pt x="377" y="87"/>
                  </a:lnTo>
                  <a:lnTo>
                    <a:pt x="358" y="48"/>
                  </a:lnTo>
                  <a:lnTo>
                    <a:pt x="322" y="28"/>
                  </a:lnTo>
                  <a:lnTo>
                    <a:pt x="325" y="0"/>
                  </a:lnTo>
                  <a:lnTo>
                    <a:pt x="280" y="1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3" name="Freeform 253"/>
            <p:cNvSpPr>
              <a:spLocks noChangeAspect="1"/>
            </p:cNvSpPr>
            <p:nvPr/>
          </p:nvSpPr>
          <p:spPr bwMode="auto">
            <a:xfrm>
              <a:off x="896289" y="2884984"/>
              <a:ext cx="320000" cy="317717"/>
            </a:xfrm>
            <a:custGeom>
              <a:avLst/>
              <a:gdLst/>
              <a:ahLst/>
              <a:cxnLst>
                <a:cxn ang="0">
                  <a:pos x="39" y="205"/>
                </a:cxn>
                <a:cxn ang="0">
                  <a:pos x="39" y="173"/>
                </a:cxn>
                <a:cxn ang="0">
                  <a:pos x="4" y="158"/>
                </a:cxn>
                <a:cxn ang="0">
                  <a:pos x="0" y="114"/>
                </a:cxn>
                <a:cxn ang="0">
                  <a:pos x="20" y="87"/>
                </a:cxn>
                <a:cxn ang="0">
                  <a:pos x="19" y="53"/>
                </a:cxn>
                <a:cxn ang="0">
                  <a:pos x="64" y="50"/>
                </a:cxn>
                <a:cxn ang="0">
                  <a:pos x="82" y="33"/>
                </a:cxn>
                <a:cxn ang="0">
                  <a:pos x="98" y="54"/>
                </a:cxn>
                <a:cxn ang="0">
                  <a:pos x="112" y="36"/>
                </a:cxn>
                <a:cxn ang="0">
                  <a:pos x="130" y="44"/>
                </a:cxn>
                <a:cxn ang="0">
                  <a:pos x="146" y="8"/>
                </a:cxn>
                <a:cxn ang="0">
                  <a:pos x="166" y="19"/>
                </a:cxn>
                <a:cxn ang="0">
                  <a:pos x="214" y="19"/>
                </a:cxn>
                <a:cxn ang="0">
                  <a:pos x="253" y="0"/>
                </a:cxn>
                <a:cxn ang="0">
                  <a:pos x="280" y="30"/>
                </a:cxn>
                <a:cxn ang="0">
                  <a:pos x="292" y="65"/>
                </a:cxn>
                <a:cxn ang="0">
                  <a:pos x="266" y="87"/>
                </a:cxn>
                <a:cxn ang="0">
                  <a:pos x="253" y="128"/>
                </a:cxn>
                <a:cxn ang="0">
                  <a:pos x="256" y="159"/>
                </a:cxn>
                <a:cxn ang="0">
                  <a:pos x="276" y="172"/>
                </a:cxn>
                <a:cxn ang="0">
                  <a:pos x="303" y="218"/>
                </a:cxn>
                <a:cxn ang="0">
                  <a:pos x="335" y="266"/>
                </a:cxn>
                <a:cxn ang="0">
                  <a:pos x="391" y="320"/>
                </a:cxn>
                <a:cxn ang="0">
                  <a:pos x="421" y="321"/>
                </a:cxn>
                <a:cxn ang="0">
                  <a:pos x="442" y="314"/>
                </a:cxn>
                <a:cxn ang="0">
                  <a:pos x="446" y="334"/>
                </a:cxn>
                <a:cxn ang="0">
                  <a:pos x="462" y="352"/>
                </a:cxn>
                <a:cxn ang="0">
                  <a:pos x="475" y="374"/>
                </a:cxn>
                <a:cxn ang="0">
                  <a:pos x="496" y="391"/>
                </a:cxn>
                <a:cxn ang="0">
                  <a:pos x="519" y="411"/>
                </a:cxn>
                <a:cxn ang="0">
                  <a:pos x="544" y="441"/>
                </a:cxn>
                <a:cxn ang="0">
                  <a:pos x="525" y="452"/>
                </a:cxn>
                <a:cxn ang="0">
                  <a:pos x="489" y="426"/>
                </a:cxn>
                <a:cxn ang="0">
                  <a:pos x="459" y="437"/>
                </a:cxn>
                <a:cxn ang="0">
                  <a:pos x="454" y="458"/>
                </a:cxn>
                <a:cxn ang="0">
                  <a:pos x="469" y="493"/>
                </a:cxn>
                <a:cxn ang="0">
                  <a:pos x="454" y="511"/>
                </a:cxn>
                <a:cxn ang="0">
                  <a:pos x="438" y="537"/>
                </a:cxn>
                <a:cxn ang="0">
                  <a:pos x="413" y="535"/>
                </a:cxn>
                <a:cxn ang="0">
                  <a:pos x="417" y="483"/>
                </a:cxn>
                <a:cxn ang="0">
                  <a:pos x="417" y="455"/>
                </a:cxn>
                <a:cxn ang="0">
                  <a:pos x="386" y="434"/>
                </a:cxn>
                <a:cxn ang="0">
                  <a:pos x="369" y="404"/>
                </a:cxn>
                <a:cxn ang="0">
                  <a:pos x="342" y="401"/>
                </a:cxn>
                <a:cxn ang="0">
                  <a:pos x="344" y="373"/>
                </a:cxn>
                <a:cxn ang="0">
                  <a:pos x="279" y="352"/>
                </a:cxn>
                <a:cxn ang="0">
                  <a:pos x="235" y="314"/>
                </a:cxn>
                <a:cxn ang="0">
                  <a:pos x="211" y="296"/>
                </a:cxn>
                <a:cxn ang="0">
                  <a:pos x="184" y="274"/>
                </a:cxn>
                <a:cxn ang="0">
                  <a:pos x="170" y="218"/>
                </a:cxn>
                <a:cxn ang="0">
                  <a:pos x="156" y="187"/>
                </a:cxn>
                <a:cxn ang="0">
                  <a:pos x="104" y="177"/>
                </a:cxn>
                <a:cxn ang="0">
                  <a:pos x="93" y="203"/>
                </a:cxn>
                <a:cxn ang="0">
                  <a:pos x="39" y="205"/>
                </a:cxn>
              </a:cxnLst>
              <a:rect l="0" t="0" r="r" b="b"/>
              <a:pathLst>
                <a:path w="544" h="537">
                  <a:moveTo>
                    <a:pt x="39" y="205"/>
                  </a:moveTo>
                  <a:lnTo>
                    <a:pt x="39" y="173"/>
                  </a:lnTo>
                  <a:lnTo>
                    <a:pt x="4" y="158"/>
                  </a:lnTo>
                  <a:lnTo>
                    <a:pt x="0" y="114"/>
                  </a:lnTo>
                  <a:lnTo>
                    <a:pt x="20" y="87"/>
                  </a:lnTo>
                  <a:lnTo>
                    <a:pt x="19" y="53"/>
                  </a:lnTo>
                  <a:lnTo>
                    <a:pt x="64" y="50"/>
                  </a:lnTo>
                  <a:lnTo>
                    <a:pt x="82" y="33"/>
                  </a:lnTo>
                  <a:lnTo>
                    <a:pt x="98" y="54"/>
                  </a:lnTo>
                  <a:lnTo>
                    <a:pt x="112" y="36"/>
                  </a:lnTo>
                  <a:lnTo>
                    <a:pt x="130" y="44"/>
                  </a:lnTo>
                  <a:lnTo>
                    <a:pt x="146" y="8"/>
                  </a:lnTo>
                  <a:lnTo>
                    <a:pt x="166" y="19"/>
                  </a:lnTo>
                  <a:lnTo>
                    <a:pt x="214" y="19"/>
                  </a:lnTo>
                  <a:lnTo>
                    <a:pt x="253" y="0"/>
                  </a:lnTo>
                  <a:lnTo>
                    <a:pt x="280" y="30"/>
                  </a:lnTo>
                  <a:lnTo>
                    <a:pt x="292" y="65"/>
                  </a:lnTo>
                  <a:lnTo>
                    <a:pt x="266" y="87"/>
                  </a:lnTo>
                  <a:lnTo>
                    <a:pt x="253" y="128"/>
                  </a:lnTo>
                  <a:lnTo>
                    <a:pt x="256" y="159"/>
                  </a:lnTo>
                  <a:lnTo>
                    <a:pt x="276" y="172"/>
                  </a:lnTo>
                  <a:lnTo>
                    <a:pt x="303" y="218"/>
                  </a:lnTo>
                  <a:lnTo>
                    <a:pt x="335" y="266"/>
                  </a:lnTo>
                  <a:lnTo>
                    <a:pt x="391" y="320"/>
                  </a:lnTo>
                  <a:lnTo>
                    <a:pt x="421" y="321"/>
                  </a:lnTo>
                  <a:lnTo>
                    <a:pt x="442" y="314"/>
                  </a:lnTo>
                  <a:lnTo>
                    <a:pt x="446" y="334"/>
                  </a:lnTo>
                  <a:lnTo>
                    <a:pt x="462" y="352"/>
                  </a:lnTo>
                  <a:lnTo>
                    <a:pt x="475" y="374"/>
                  </a:lnTo>
                  <a:lnTo>
                    <a:pt x="496" y="391"/>
                  </a:lnTo>
                  <a:lnTo>
                    <a:pt x="519" y="411"/>
                  </a:lnTo>
                  <a:lnTo>
                    <a:pt x="544" y="441"/>
                  </a:lnTo>
                  <a:lnTo>
                    <a:pt x="525" y="452"/>
                  </a:lnTo>
                  <a:lnTo>
                    <a:pt x="489" y="426"/>
                  </a:lnTo>
                  <a:lnTo>
                    <a:pt x="459" y="437"/>
                  </a:lnTo>
                  <a:lnTo>
                    <a:pt x="454" y="458"/>
                  </a:lnTo>
                  <a:lnTo>
                    <a:pt x="469" y="493"/>
                  </a:lnTo>
                  <a:lnTo>
                    <a:pt x="454" y="511"/>
                  </a:lnTo>
                  <a:lnTo>
                    <a:pt x="438" y="537"/>
                  </a:lnTo>
                  <a:lnTo>
                    <a:pt x="413" y="535"/>
                  </a:lnTo>
                  <a:lnTo>
                    <a:pt x="417" y="483"/>
                  </a:lnTo>
                  <a:lnTo>
                    <a:pt x="417" y="455"/>
                  </a:lnTo>
                  <a:lnTo>
                    <a:pt x="386" y="434"/>
                  </a:lnTo>
                  <a:lnTo>
                    <a:pt x="369" y="404"/>
                  </a:lnTo>
                  <a:lnTo>
                    <a:pt x="342" y="401"/>
                  </a:lnTo>
                  <a:lnTo>
                    <a:pt x="344" y="373"/>
                  </a:lnTo>
                  <a:lnTo>
                    <a:pt x="279" y="352"/>
                  </a:lnTo>
                  <a:lnTo>
                    <a:pt x="235" y="314"/>
                  </a:lnTo>
                  <a:lnTo>
                    <a:pt x="211" y="296"/>
                  </a:lnTo>
                  <a:lnTo>
                    <a:pt x="184" y="274"/>
                  </a:lnTo>
                  <a:lnTo>
                    <a:pt x="170" y="218"/>
                  </a:lnTo>
                  <a:lnTo>
                    <a:pt x="156" y="187"/>
                  </a:lnTo>
                  <a:lnTo>
                    <a:pt x="104" y="177"/>
                  </a:lnTo>
                  <a:lnTo>
                    <a:pt x="93" y="203"/>
                  </a:lnTo>
                  <a:lnTo>
                    <a:pt x="39" y="20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4" name="Freeform 254"/>
            <p:cNvSpPr>
              <a:spLocks noChangeAspect="1"/>
            </p:cNvSpPr>
            <p:nvPr/>
          </p:nvSpPr>
          <p:spPr bwMode="auto">
            <a:xfrm>
              <a:off x="497168" y="3009231"/>
              <a:ext cx="321759" cy="259144"/>
            </a:xfrm>
            <a:custGeom>
              <a:avLst/>
              <a:gdLst/>
              <a:ahLst/>
              <a:cxnLst>
                <a:cxn ang="0">
                  <a:pos x="548" y="79"/>
                </a:cxn>
                <a:cxn ang="0">
                  <a:pos x="462" y="83"/>
                </a:cxn>
                <a:cxn ang="0">
                  <a:pos x="430" y="55"/>
                </a:cxn>
                <a:cxn ang="0">
                  <a:pos x="367" y="51"/>
                </a:cxn>
                <a:cxn ang="0">
                  <a:pos x="307" y="31"/>
                </a:cxn>
                <a:cxn ang="0">
                  <a:pos x="241" y="7"/>
                </a:cxn>
                <a:cxn ang="0">
                  <a:pos x="200" y="20"/>
                </a:cxn>
                <a:cxn ang="0">
                  <a:pos x="169" y="0"/>
                </a:cxn>
                <a:cxn ang="0">
                  <a:pos x="15" y="4"/>
                </a:cxn>
                <a:cxn ang="0">
                  <a:pos x="23" y="28"/>
                </a:cxn>
                <a:cxn ang="0">
                  <a:pos x="0" y="35"/>
                </a:cxn>
                <a:cxn ang="0">
                  <a:pos x="3" y="72"/>
                </a:cxn>
                <a:cxn ang="0">
                  <a:pos x="27" y="95"/>
                </a:cxn>
                <a:cxn ang="0">
                  <a:pos x="35" y="127"/>
                </a:cxn>
                <a:cxn ang="0">
                  <a:pos x="79" y="123"/>
                </a:cxn>
                <a:cxn ang="0">
                  <a:pos x="110" y="110"/>
                </a:cxn>
                <a:cxn ang="0">
                  <a:pos x="121" y="127"/>
                </a:cxn>
                <a:cxn ang="0">
                  <a:pos x="114" y="142"/>
                </a:cxn>
                <a:cxn ang="0">
                  <a:pos x="102" y="158"/>
                </a:cxn>
                <a:cxn ang="0">
                  <a:pos x="86" y="245"/>
                </a:cxn>
                <a:cxn ang="0">
                  <a:pos x="66" y="265"/>
                </a:cxn>
                <a:cxn ang="0">
                  <a:pos x="90" y="285"/>
                </a:cxn>
                <a:cxn ang="0">
                  <a:pos x="94" y="352"/>
                </a:cxn>
                <a:cxn ang="0">
                  <a:pos x="99" y="383"/>
                </a:cxn>
                <a:cxn ang="0">
                  <a:pos x="126" y="387"/>
                </a:cxn>
                <a:cxn ang="0">
                  <a:pos x="126" y="419"/>
                </a:cxn>
                <a:cxn ang="0">
                  <a:pos x="158" y="438"/>
                </a:cxn>
                <a:cxn ang="0">
                  <a:pos x="189" y="431"/>
                </a:cxn>
                <a:cxn ang="0">
                  <a:pos x="209" y="416"/>
                </a:cxn>
                <a:cxn ang="0">
                  <a:pos x="320" y="419"/>
                </a:cxn>
                <a:cxn ang="0">
                  <a:pos x="344" y="399"/>
                </a:cxn>
                <a:cxn ang="0">
                  <a:pos x="344" y="372"/>
                </a:cxn>
                <a:cxn ang="0">
                  <a:pos x="375" y="352"/>
                </a:cxn>
                <a:cxn ang="0">
                  <a:pos x="399" y="324"/>
                </a:cxn>
                <a:cxn ang="0">
                  <a:pos x="406" y="293"/>
                </a:cxn>
                <a:cxn ang="0">
                  <a:pos x="375" y="252"/>
                </a:cxn>
                <a:cxn ang="0">
                  <a:pos x="399" y="225"/>
                </a:cxn>
                <a:cxn ang="0">
                  <a:pos x="418" y="193"/>
                </a:cxn>
                <a:cxn ang="0">
                  <a:pos x="454" y="186"/>
                </a:cxn>
                <a:cxn ang="0">
                  <a:pos x="489" y="138"/>
                </a:cxn>
                <a:cxn ang="0">
                  <a:pos x="513" y="114"/>
                </a:cxn>
                <a:cxn ang="0">
                  <a:pos x="548" y="79"/>
                </a:cxn>
              </a:cxnLst>
              <a:rect l="0" t="0" r="r" b="b"/>
              <a:pathLst>
                <a:path w="548" h="438">
                  <a:moveTo>
                    <a:pt x="548" y="79"/>
                  </a:moveTo>
                  <a:lnTo>
                    <a:pt x="462" y="83"/>
                  </a:lnTo>
                  <a:lnTo>
                    <a:pt x="430" y="55"/>
                  </a:lnTo>
                  <a:lnTo>
                    <a:pt x="367" y="51"/>
                  </a:lnTo>
                  <a:lnTo>
                    <a:pt x="307" y="31"/>
                  </a:lnTo>
                  <a:lnTo>
                    <a:pt x="241" y="7"/>
                  </a:lnTo>
                  <a:lnTo>
                    <a:pt x="200" y="20"/>
                  </a:lnTo>
                  <a:lnTo>
                    <a:pt x="169" y="0"/>
                  </a:lnTo>
                  <a:lnTo>
                    <a:pt x="15" y="4"/>
                  </a:lnTo>
                  <a:lnTo>
                    <a:pt x="23" y="28"/>
                  </a:lnTo>
                  <a:lnTo>
                    <a:pt x="0" y="35"/>
                  </a:lnTo>
                  <a:lnTo>
                    <a:pt x="3" y="72"/>
                  </a:lnTo>
                  <a:lnTo>
                    <a:pt x="27" y="95"/>
                  </a:lnTo>
                  <a:lnTo>
                    <a:pt x="35" y="127"/>
                  </a:lnTo>
                  <a:lnTo>
                    <a:pt x="79" y="123"/>
                  </a:lnTo>
                  <a:lnTo>
                    <a:pt x="110" y="110"/>
                  </a:lnTo>
                  <a:lnTo>
                    <a:pt x="121" y="127"/>
                  </a:lnTo>
                  <a:lnTo>
                    <a:pt x="114" y="142"/>
                  </a:lnTo>
                  <a:lnTo>
                    <a:pt x="102" y="158"/>
                  </a:lnTo>
                  <a:lnTo>
                    <a:pt x="86" y="245"/>
                  </a:lnTo>
                  <a:lnTo>
                    <a:pt x="66" y="265"/>
                  </a:lnTo>
                  <a:lnTo>
                    <a:pt x="90" y="285"/>
                  </a:lnTo>
                  <a:lnTo>
                    <a:pt x="94" y="352"/>
                  </a:lnTo>
                  <a:lnTo>
                    <a:pt x="99" y="383"/>
                  </a:lnTo>
                  <a:lnTo>
                    <a:pt x="126" y="387"/>
                  </a:lnTo>
                  <a:lnTo>
                    <a:pt x="126" y="419"/>
                  </a:lnTo>
                  <a:lnTo>
                    <a:pt x="158" y="438"/>
                  </a:lnTo>
                  <a:lnTo>
                    <a:pt x="189" y="431"/>
                  </a:lnTo>
                  <a:lnTo>
                    <a:pt x="209" y="416"/>
                  </a:lnTo>
                  <a:lnTo>
                    <a:pt x="320" y="419"/>
                  </a:lnTo>
                  <a:lnTo>
                    <a:pt x="344" y="399"/>
                  </a:lnTo>
                  <a:lnTo>
                    <a:pt x="344" y="372"/>
                  </a:lnTo>
                  <a:lnTo>
                    <a:pt x="375" y="352"/>
                  </a:lnTo>
                  <a:lnTo>
                    <a:pt x="399" y="324"/>
                  </a:lnTo>
                  <a:lnTo>
                    <a:pt x="406" y="293"/>
                  </a:lnTo>
                  <a:lnTo>
                    <a:pt x="375" y="252"/>
                  </a:lnTo>
                  <a:lnTo>
                    <a:pt x="399" y="225"/>
                  </a:lnTo>
                  <a:lnTo>
                    <a:pt x="418" y="193"/>
                  </a:lnTo>
                  <a:lnTo>
                    <a:pt x="454" y="186"/>
                  </a:lnTo>
                  <a:lnTo>
                    <a:pt x="489" y="138"/>
                  </a:lnTo>
                  <a:lnTo>
                    <a:pt x="513" y="114"/>
                  </a:lnTo>
                  <a:lnTo>
                    <a:pt x="548" y="7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5" name="Freeform 255"/>
            <p:cNvSpPr>
              <a:spLocks noChangeAspect="1"/>
            </p:cNvSpPr>
            <p:nvPr/>
          </p:nvSpPr>
          <p:spPr bwMode="auto">
            <a:xfrm>
              <a:off x="476069" y="3066030"/>
              <a:ext cx="93187" cy="175721"/>
            </a:xfrm>
            <a:custGeom>
              <a:avLst/>
              <a:gdLst/>
              <a:ahLst/>
              <a:cxnLst>
                <a:cxn ang="0">
                  <a:pos x="130" y="257"/>
                </a:cxn>
                <a:cxn ang="0">
                  <a:pos x="126" y="190"/>
                </a:cxn>
                <a:cxn ang="0">
                  <a:pos x="102" y="170"/>
                </a:cxn>
                <a:cxn ang="0">
                  <a:pos x="122" y="150"/>
                </a:cxn>
                <a:cxn ang="0">
                  <a:pos x="138" y="63"/>
                </a:cxn>
                <a:cxn ang="0">
                  <a:pos x="150" y="47"/>
                </a:cxn>
                <a:cxn ang="0">
                  <a:pos x="157" y="32"/>
                </a:cxn>
                <a:cxn ang="0">
                  <a:pos x="146" y="15"/>
                </a:cxn>
                <a:cxn ang="0">
                  <a:pos x="115" y="28"/>
                </a:cxn>
                <a:cxn ang="0">
                  <a:pos x="71" y="32"/>
                </a:cxn>
                <a:cxn ang="0">
                  <a:pos x="63" y="0"/>
                </a:cxn>
                <a:cxn ang="0">
                  <a:pos x="43" y="39"/>
                </a:cxn>
                <a:cxn ang="0">
                  <a:pos x="43" y="87"/>
                </a:cxn>
                <a:cxn ang="0">
                  <a:pos x="51" y="107"/>
                </a:cxn>
                <a:cxn ang="0">
                  <a:pos x="32" y="139"/>
                </a:cxn>
                <a:cxn ang="0">
                  <a:pos x="4" y="157"/>
                </a:cxn>
                <a:cxn ang="0">
                  <a:pos x="0" y="205"/>
                </a:cxn>
                <a:cxn ang="0">
                  <a:pos x="32" y="221"/>
                </a:cxn>
                <a:cxn ang="0">
                  <a:pos x="36" y="253"/>
                </a:cxn>
                <a:cxn ang="0">
                  <a:pos x="39" y="284"/>
                </a:cxn>
                <a:cxn ang="0">
                  <a:pos x="71" y="297"/>
                </a:cxn>
                <a:cxn ang="0">
                  <a:pos x="107" y="297"/>
                </a:cxn>
                <a:cxn ang="0">
                  <a:pos x="130" y="257"/>
                </a:cxn>
              </a:cxnLst>
              <a:rect l="0" t="0" r="r" b="b"/>
              <a:pathLst>
                <a:path w="157" h="297">
                  <a:moveTo>
                    <a:pt x="130" y="257"/>
                  </a:moveTo>
                  <a:lnTo>
                    <a:pt x="126" y="190"/>
                  </a:lnTo>
                  <a:lnTo>
                    <a:pt x="102" y="170"/>
                  </a:lnTo>
                  <a:lnTo>
                    <a:pt x="122" y="150"/>
                  </a:lnTo>
                  <a:lnTo>
                    <a:pt x="138" y="63"/>
                  </a:lnTo>
                  <a:lnTo>
                    <a:pt x="150" y="47"/>
                  </a:lnTo>
                  <a:lnTo>
                    <a:pt x="157" y="32"/>
                  </a:lnTo>
                  <a:lnTo>
                    <a:pt x="146" y="15"/>
                  </a:lnTo>
                  <a:lnTo>
                    <a:pt x="115" y="28"/>
                  </a:lnTo>
                  <a:lnTo>
                    <a:pt x="71" y="32"/>
                  </a:lnTo>
                  <a:lnTo>
                    <a:pt x="63" y="0"/>
                  </a:lnTo>
                  <a:lnTo>
                    <a:pt x="43" y="39"/>
                  </a:lnTo>
                  <a:lnTo>
                    <a:pt x="43" y="87"/>
                  </a:lnTo>
                  <a:lnTo>
                    <a:pt x="51" y="107"/>
                  </a:lnTo>
                  <a:lnTo>
                    <a:pt x="32" y="139"/>
                  </a:lnTo>
                  <a:lnTo>
                    <a:pt x="4" y="157"/>
                  </a:lnTo>
                  <a:lnTo>
                    <a:pt x="0" y="205"/>
                  </a:lnTo>
                  <a:lnTo>
                    <a:pt x="32" y="221"/>
                  </a:lnTo>
                  <a:lnTo>
                    <a:pt x="36" y="253"/>
                  </a:lnTo>
                  <a:lnTo>
                    <a:pt x="39" y="284"/>
                  </a:lnTo>
                  <a:lnTo>
                    <a:pt x="71" y="297"/>
                  </a:lnTo>
                  <a:lnTo>
                    <a:pt x="107" y="297"/>
                  </a:lnTo>
                  <a:lnTo>
                    <a:pt x="130" y="25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6" name="Freeform 256"/>
            <p:cNvSpPr>
              <a:spLocks noChangeAspect="1"/>
            </p:cNvSpPr>
            <p:nvPr/>
          </p:nvSpPr>
          <p:spPr bwMode="auto">
            <a:xfrm>
              <a:off x="959586" y="3041180"/>
              <a:ext cx="22857" cy="51474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25" y="17"/>
                </a:cxn>
                <a:cxn ang="0">
                  <a:pos x="0" y="34"/>
                </a:cxn>
                <a:cxn ang="0">
                  <a:pos x="5" y="66"/>
                </a:cxn>
                <a:cxn ang="0">
                  <a:pos x="29" y="86"/>
                </a:cxn>
                <a:cxn ang="0">
                  <a:pos x="38" y="0"/>
                </a:cxn>
              </a:cxnLst>
              <a:rect l="0" t="0" r="r" b="b"/>
              <a:pathLst>
                <a:path w="38" h="86">
                  <a:moveTo>
                    <a:pt x="38" y="0"/>
                  </a:moveTo>
                  <a:lnTo>
                    <a:pt x="25" y="17"/>
                  </a:lnTo>
                  <a:lnTo>
                    <a:pt x="0" y="34"/>
                  </a:lnTo>
                  <a:lnTo>
                    <a:pt x="5" y="66"/>
                  </a:lnTo>
                  <a:lnTo>
                    <a:pt x="29" y="86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7" name="Freeform 257"/>
            <p:cNvSpPr>
              <a:spLocks noChangeAspect="1"/>
            </p:cNvSpPr>
            <p:nvPr/>
          </p:nvSpPr>
          <p:spPr bwMode="auto">
            <a:xfrm>
              <a:off x="950795" y="3108629"/>
              <a:ext cx="31648" cy="63898"/>
            </a:xfrm>
            <a:custGeom>
              <a:avLst/>
              <a:gdLst/>
              <a:ahLst/>
              <a:cxnLst>
                <a:cxn ang="0">
                  <a:pos x="3" y="12"/>
                </a:cxn>
                <a:cxn ang="0">
                  <a:pos x="13" y="10"/>
                </a:cxn>
                <a:cxn ang="0">
                  <a:pos x="36" y="4"/>
                </a:cxn>
                <a:cxn ang="0">
                  <a:pos x="49" y="0"/>
                </a:cxn>
                <a:cxn ang="0">
                  <a:pos x="55" y="17"/>
                </a:cxn>
                <a:cxn ang="0">
                  <a:pos x="56" y="43"/>
                </a:cxn>
                <a:cxn ang="0">
                  <a:pos x="54" y="68"/>
                </a:cxn>
                <a:cxn ang="0">
                  <a:pos x="47" y="101"/>
                </a:cxn>
                <a:cxn ang="0">
                  <a:pos x="25" y="107"/>
                </a:cxn>
                <a:cxn ang="0">
                  <a:pos x="8" y="99"/>
                </a:cxn>
                <a:cxn ang="0">
                  <a:pos x="7" y="73"/>
                </a:cxn>
                <a:cxn ang="0">
                  <a:pos x="6" y="47"/>
                </a:cxn>
                <a:cxn ang="0">
                  <a:pos x="0" y="25"/>
                </a:cxn>
                <a:cxn ang="0">
                  <a:pos x="3" y="12"/>
                </a:cxn>
              </a:cxnLst>
              <a:rect l="0" t="0" r="r" b="b"/>
              <a:pathLst>
                <a:path w="56" h="107">
                  <a:moveTo>
                    <a:pt x="3" y="12"/>
                  </a:moveTo>
                  <a:lnTo>
                    <a:pt x="13" y="10"/>
                  </a:lnTo>
                  <a:lnTo>
                    <a:pt x="36" y="4"/>
                  </a:lnTo>
                  <a:lnTo>
                    <a:pt x="49" y="0"/>
                  </a:lnTo>
                  <a:lnTo>
                    <a:pt x="55" y="17"/>
                  </a:lnTo>
                  <a:lnTo>
                    <a:pt x="56" y="43"/>
                  </a:lnTo>
                  <a:lnTo>
                    <a:pt x="54" y="68"/>
                  </a:lnTo>
                  <a:lnTo>
                    <a:pt x="47" y="101"/>
                  </a:lnTo>
                  <a:lnTo>
                    <a:pt x="25" y="107"/>
                  </a:lnTo>
                  <a:lnTo>
                    <a:pt x="8" y="99"/>
                  </a:lnTo>
                  <a:lnTo>
                    <a:pt x="7" y="73"/>
                  </a:lnTo>
                  <a:lnTo>
                    <a:pt x="6" y="47"/>
                  </a:lnTo>
                  <a:lnTo>
                    <a:pt x="0" y="25"/>
                  </a:lnTo>
                  <a:lnTo>
                    <a:pt x="3" y="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8" name="Freeform 258"/>
            <p:cNvSpPr>
              <a:spLocks noChangeAspect="1"/>
            </p:cNvSpPr>
            <p:nvPr/>
          </p:nvSpPr>
          <p:spPr bwMode="auto">
            <a:xfrm>
              <a:off x="1239147" y="3080230"/>
              <a:ext cx="138901" cy="147321"/>
            </a:xfrm>
            <a:custGeom>
              <a:avLst/>
              <a:gdLst/>
              <a:ahLst/>
              <a:cxnLst>
                <a:cxn ang="0">
                  <a:pos x="107" y="181"/>
                </a:cxn>
                <a:cxn ang="0">
                  <a:pos x="52" y="171"/>
                </a:cxn>
                <a:cxn ang="0">
                  <a:pos x="46" y="142"/>
                </a:cxn>
                <a:cxn ang="0">
                  <a:pos x="4" y="102"/>
                </a:cxn>
                <a:cxn ang="0">
                  <a:pos x="0" y="69"/>
                </a:cxn>
                <a:cxn ang="0">
                  <a:pos x="42" y="33"/>
                </a:cxn>
                <a:cxn ang="0">
                  <a:pos x="42" y="33"/>
                </a:cxn>
                <a:cxn ang="0">
                  <a:pos x="76" y="44"/>
                </a:cxn>
                <a:cxn ang="0">
                  <a:pos x="118" y="9"/>
                </a:cxn>
                <a:cxn ang="0">
                  <a:pos x="143" y="9"/>
                </a:cxn>
                <a:cxn ang="0">
                  <a:pos x="182" y="20"/>
                </a:cxn>
                <a:cxn ang="0">
                  <a:pos x="213" y="0"/>
                </a:cxn>
                <a:cxn ang="0">
                  <a:pos x="235" y="2"/>
                </a:cxn>
                <a:cxn ang="0">
                  <a:pos x="235" y="38"/>
                </a:cxn>
                <a:cxn ang="0">
                  <a:pos x="209" y="45"/>
                </a:cxn>
                <a:cxn ang="0">
                  <a:pos x="194" y="59"/>
                </a:cxn>
                <a:cxn ang="0">
                  <a:pos x="177" y="74"/>
                </a:cxn>
                <a:cxn ang="0">
                  <a:pos x="187" y="97"/>
                </a:cxn>
                <a:cxn ang="0">
                  <a:pos x="159" y="104"/>
                </a:cxn>
                <a:cxn ang="0">
                  <a:pos x="142" y="94"/>
                </a:cxn>
                <a:cxn ang="0">
                  <a:pos x="126" y="97"/>
                </a:cxn>
                <a:cxn ang="0">
                  <a:pos x="145" y="116"/>
                </a:cxn>
                <a:cxn ang="0">
                  <a:pos x="121" y="142"/>
                </a:cxn>
                <a:cxn ang="0">
                  <a:pos x="150" y="156"/>
                </a:cxn>
                <a:cxn ang="0">
                  <a:pos x="194" y="184"/>
                </a:cxn>
                <a:cxn ang="0">
                  <a:pos x="204" y="205"/>
                </a:cxn>
                <a:cxn ang="0">
                  <a:pos x="186" y="201"/>
                </a:cxn>
                <a:cxn ang="0">
                  <a:pos x="145" y="217"/>
                </a:cxn>
                <a:cxn ang="0">
                  <a:pos x="160" y="245"/>
                </a:cxn>
                <a:cxn ang="0">
                  <a:pos x="81" y="249"/>
                </a:cxn>
                <a:cxn ang="0">
                  <a:pos x="81" y="217"/>
                </a:cxn>
                <a:cxn ang="0">
                  <a:pos x="53" y="205"/>
                </a:cxn>
                <a:cxn ang="0">
                  <a:pos x="81" y="191"/>
                </a:cxn>
                <a:cxn ang="0">
                  <a:pos x="101" y="190"/>
                </a:cxn>
                <a:cxn ang="0">
                  <a:pos x="107" y="181"/>
                </a:cxn>
              </a:cxnLst>
              <a:rect l="0" t="0" r="r" b="b"/>
              <a:pathLst>
                <a:path w="235" h="249">
                  <a:moveTo>
                    <a:pt x="107" y="181"/>
                  </a:moveTo>
                  <a:lnTo>
                    <a:pt x="52" y="171"/>
                  </a:lnTo>
                  <a:lnTo>
                    <a:pt x="46" y="142"/>
                  </a:lnTo>
                  <a:lnTo>
                    <a:pt x="4" y="102"/>
                  </a:lnTo>
                  <a:lnTo>
                    <a:pt x="0" y="69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76" y="44"/>
                  </a:lnTo>
                  <a:lnTo>
                    <a:pt x="118" y="9"/>
                  </a:lnTo>
                  <a:lnTo>
                    <a:pt x="143" y="9"/>
                  </a:lnTo>
                  <a:lnTo>
                    <a:pt x="182" y="20"/>
                  </a:lnTo>
                  <a:lnTo>
                    <a:pt x="213" y="0"/>
                  </a:lnTo>
                  <a:lnTo>
                    <a:pt x="235" y="2"/>
                  </a:lnTo>
                  <a:lnTo>
                    <a:pt x="235" y="38"/>
                  </a:lnTo>
                  <a:lnTo>
                    <a:pt x="209" y="45"/>
                  </a:lnTo>
                  <a:lnTo>
                    <a:pt x="194" y="59"/>
                  </a:lnTo>
                  <a:lnTo>
                    <a:pt x="177" y="74"/>
                  </a:lnTo>
                  <a:lnTo>
                    <a:pt x="187" y="97"/>
                  </a:lnTo>
                  <a:lnTo>
                    <a:pt x="159" y="104"/>
                  </a:lnTo>
                  <a:lnTo>
                    <a:pt x="142" y="94"/>
                  </a:lnTo>
                  <a:lnTo>
                    <a:pt x="126" y="97"/>
                  </a:lnTo>
                  <a:lnTo>
                    <a:pt x="145" y="116"/>
                  </a:lnTo>
                  <a:lnTo>
                    <a:pt x="121" y="142"/>
                  </a:lnTo>
                  <a:lnTo>
                    <a:pt x="150" y="156"/>
                  </a:lnTo>
                  <a:lnTo>
                    <a:pt x="194" y="184"/>
                  </a:lnTo>
                  <a:lnTo>
                    <a:pt x="204" y="205"/>
                  </a:lnTo>
                  <a:lnTo>
                    <a:pt x="186" y="201"/>
                  </a:lnTo>
                  <a:lnTo>
                    <a:pt x="145" y="217"/>
                  </a:lnTo>
                  <a:lnTo>
                    <a:pt x="160" y="245"/>
                  </a:lnTo>
                  <a:lnTo>
                    <a:pt x="81" y="249"/>
                  </a:lnTo>
                  <a:lnTo>
                    <a:pt x="81" y="217"/>
                  </a:lnTo>
                  <a:lnTo>
                    <a:pt x="53" y="205"/>
                  </a:lnTo>
                  <a:lnTo>
                    <a:pt x="81" y="191"/>
                  </a:lnTo>
                  <a:lnTo>
                    <a:pt x="101" y="190"/>
                  </a:lnTo>
                  <a:lnTo>
                    <a:pt x="107" y="18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9" name="Freeform 259"/>
            <p:cNvSpPr>
              <a:spLocks noChangeAspect="1"/>
            </p:cNvSpPr>
            <p:nvPr/>
          </p:nvSpPr>
          <p:spPr bwMode="auto">
            <a:xfrm>
              <a:off x="871674" y="2593892"/>
              <a:ext cx="225055" cy="280443"/>
            </a:xfrm>
            <a:custGeom>
              <a:avLst/>
              <a:gdLst/>
              <a:ahLst/>
              <a:cxnLst>
                <a:cxn ang="0">
                  <a:pos x="386" y="231"/>
                </a:cxn>
                <a:cxn ang="0">
                  <a:pos x="259" y="281"/>
                </a:cxn>
                <a:cxn ang="0">
                  <a:pos x="259" y="281"/>
                </a:cxn>
                <a:cxn ang="0">
                  <a:pos x="386" y="231"/>
                </a:cxn>
                <a:cxn ang="0">
                  <a:pos x="357" y="148"/>
                </a:cxn>
                <a:cxn ang="0">
                  <a:pos x="366" y="58"/>
                </a:cxn>
                <a:cxn ang="0">
                  <a:pos x="351" y="41"/>
                </a:cxn>
                <a:cxn ang="0">
                  <a:pos x="241" y="64"/>
                </a:cxn>
                <a:cxn ang="0">
                  <a:pos x="220" y="36"/>
                </a:cxn>
                <a:cxn ang="0">
                  <a:pos x="199" y="0"/>
                </a:cxn>
                <a:cxn ang="0">
                  <a:pos x="148" y="13"/>
                </a:cxn>
                <a:cxn ang="0">
                  <a:pos x="145" y="58"/>
                </a:cxn>
                <a:cxn ang="0">
                  <a:pos x="148" y="75"/>
                </a:cxn>
                <a:cxn ang="0">
                  <a:pos x="131" y="75"/>
                </a:cxn>
                <a:cxn ang="0">
                  <a:pos x="76" y="95"/>
                </a:cxn>
                <a:cxn ang="0">
                  <a:pos x="76" y="143"/>
                </a:cxn>
                <a:cxn ang="0">
                  <a:pos x="48" y="186"/>
                </a:cxn>
                <a:cxn ang="0">
                  <a:pos x="0" y="222"/>
                </a:cxn>
                <a:cxn ang="0">
                  <a:pos x="8" y="261"/>
                </a:cxn>
                <a:cxn ang="0">
                  <a:pos x="38" y="278"/>
                </a:cxn>
                <a:cxn ang="0">
                  <a:pos x="4" y="324"/>
                </a:cxn>
                <a:cxn ang="0">
                  <a:pos x="64" y="329"/>
                </a:cxn>
                <a:cxn ang="0">
                  <a:pos x="107" y="364"/>
                </a:cxn>
                <a:cxn ang="0">
                  <a:pos x="87" y="388"/>
                </a:cxn>
                <a:cxn ang="0">
                  <a:pos x="96" y="456"/>
                </a:cxn>
                <a:cxn ang="0">
                  <a:pos x="123" y="460"/>
                </a:cxn>
                <a:cxn ang="0">
                  <a:pos x="156" y="452"/>
                </a:cxn>
                <a:cxn ang="0">
                  <a:pos x="181" y="467"/>
                </a:cxn>
                <a:cxn ang="0">
                  <a:pos x="199" y="472"/>
                </a:cxn>
                <a:cxn ang="0">
                  <a:pos x="216" y="475"/>
                </a:cxn>
                <a:cxn ang="0">
                  <a:pos x="272" y="452"/>
                </a:cxn>
                <a:cxn ang="0">
                  <a:pos x="314" y="424"/>
                </a:cxn>
                <a:cxn ang="0">
                  <a:pos x="328" y="409"/>
                </a:cxn>
                <a:cxn ang="0">
                  <a:pos x="331" y="362"/>
                </a:cxn>
                <a:cxn ang="0">
                  <a:pos x="259" y="281"/>
                </a:cxn>
                <a:cxn ang="0">
                  <a:pos x="386" y="231"/>
                </a:cxn>
              </a:cxnLst>
              <a:rect l="0" t="0" r="r" b="b"/>
              <a:pathLst>
                <a:path w="386" h="475">
                  <a:moveTo>
                    <a:pt x="386" y="231"/>
                  </a:moveTo>
                  <a:lnTo>
                    <a:pt x="259" y="281"/>
                  </a:lnTo>
                  <a:lnTo>
                    <a:pt x="259" y="281"/>
                  </a:lnTo>
                  <a:lnTo>
                    <a:pt x="386" y="231"/>
                  </a:lnTo>
                  <a:lnTo>
                    <a:pt x="357" y="148"/>
                  </a:lnTo>
                  <a:lnTo>
                    <a:pt x="366" y="58"/>
                  </a:lnTo>
                  <a:lnTo>
                    <a:pt x="351" y="41"/>
                  </a:lnTo>
                  <a:lnTo>
                    <a:pt x="241" y="64"/>
                  </a:lnTo>
                  <a:lnTo>
                    <a:pt x="220" y="36"/>
                  </a:lnTo>
                  <a:lnTo>
                    <a:pt x="199" y="0"/>
                  </a:lnTo>
                  <a:lnTo>
                    <a:pt x="148" y="13"/>
                  </a:lnTo>
                  <a:lnTo>
                    <a:pt x="145" y="58"/>
                  </a:lnTo>
                  <a:lnTo>
                    <a:pt x="148" y="75"/>
                  </a:lnTo>
                  <a:lnTo>
                    <a:pt x="131" y="75"/>
                  </a:lnTo>
                  <a:lnTo>
                    <a:pt x="76" y="95"/>
                  </a:lnTo>
                  <a:lnTo>
                    <a:pt x="76" y="143"/>
                  </a:lnTo>
                  <a:lnTo>
                    <a:pt x="48" y="186"/>
                  </a:lnTo>
                  <a:lnTo>
                    <a:pt x="0" y="222"/>
                  </a:lnTo>
                  <a:lnTo>
                    <a:pt x="8" y="261"/>
                  </a:lnTo>
                  <a:lnTo>
                    <a:pt x="38" y="278"/>
                  </a:lnTo>
                  <a:lnTo>
                    <a:pt x="4" y="324"/>
                  </a:lnTo>
                  <a:lnTo>
                    <a:pt x="64" y="329"/>
                  </a:lnTo>
                  <a:lnTo>
                    <a:pt x="107" y="364"/>
                  </a:lnTo>
                  <a:lnTo>
                    <a:pt x="87" y="388"/>
                  </a:lnTo>
                  <a:lnTo>
                    <a:pt x="96" y="456"/>
                  </a:lnTo>
                  <a:lnTo>
                    <a:pt x="123" y="460"/>
                  </a:lnTo>
                  <a:lnTo>
                    <a:pt x="156" y="452"/>
                  </a:lnTo>
                  <a:lnTo>
                    <a:pt x="181" y="467"/>
                  </a:lnTo>
                  <a:lnTo>
                    <a:pt x="199" y="472"/>
                  </a:lnTo>
                  <a:lnTo>
                    <a:pt x="216" y="475"/>
                  </a:lnTo>
                  <a:lnTo>
                    <a:pt x="272" y="452"/>
                  </a:lnTo>
                  <a:lnTo>
                    <a:pt x="314" y="424"/>
                  </a:lnTo>
                  <a:lnTo>
                    <a:pt x="328" y="409"/>
                  </a:lnTo>
                  <a:lnTo>
                    <a:pt x="331" y="362"/>
                  </a:lnTo>
                  <a:lnTo>
                    <a:pt x="259" y="281"/>
                  </a:lnTo>
                  <a:lnTo>
                    <a:pt x="386" y="23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0" name="Freeform 260"/>
            <p:cNvSpPr>
              <a:spLocks noChangeAspect="1"/>
            </p:cNvSpPr>
            <p:nvPr/>
          </p:nvSpPr>
          <p:spPr bwMode="auto">
            <a:xfrm>
              <a:off x="1080905" y="2593892"/>
              <a:ext cx="242638" cy="191695"/>
            </a:xfrm>
            <a:custGeom>
              <a:avLst/>
              <a:gdLst/>
              <a:ahLst/>
              <a:cxnLst>
                <a:cxn ang="0">
                  <a:pos x="29" y="232"/>
                </a:cxn>
                <a:cxn ang="0">
                  <a:pos x="0" y="149"/>
                </a:cxn>
                <a:cxn ang="0">
                  <a:pos x="9" y="59"/>
                </a:cxn>
                <a:cxn ang="0">
                  <a:pos x="135" y="0"/>
                </a:cxn>
                <a:cxn ang="0">
                  <a:pos x="181" y="17"/>
                </a:cxn>
                <a:cxn ang="0">
                  <a:pos x="243" y="10"/>
                </a:cxn>
                <a:cxn ang="0">
                  <a:pos x="319" y="37"/>
                </a:cxn>
                <a:cxn ang="0">
                  <a:pos x="382" y="93"/>
                </a:cxn>
                <a:cxn ang="0">
                  <a:pos x="382" y="155"/>
                </a:cxn>
                <a:cxn ang="0">
                  <a:pos x="409" y="155"/>
                </a:cxn>
                <a:cxn ang="0">
                  <a:pos x="412" y="208"/>
                </a:cxn>
                <a:cxn ang="0">
                  <a:pos x="414" y="290"/>
                </a:cxn>
                <a:cxn ang="0">
                  <a:pos x="379" y="317"/>
                </a:cxn>
                <a:cxn ang="0">
                  <a:pos x="379" y="317"/>
                </a:cxn>
                <a:cxn ang="0">
                  <a:pos x="305" y="320"/>
                </a:cxn>
                <a:cxn ang="0">
                  <a:pos x="231" y="325"/>
                </a:cxn>
                <a:cxn ang="0">
                  <a:pos x="181" y="297"/>
                </a:cxn>
                <a:cxn ang="0">
                  <a:pos x="73" y="260"/>
                </a:cxn>
                <a:cxn ang="0">
                  <a:pos x="29" y="232"/>
                </a:cxn>
              </a:cxnLst>
              <a:rect l="0" t="0" r="r" b="b"/>
              <a:pathLst>
                <a:path w="414" h="325">
                  <a:moveTo>
                    <a:pt x="29" y="232"/>
                  </a:moveTo>
                  <a:lnTo>
                    <a:pt x="0" y="149"/>
                  </a:lnTo>
                  <a:lnTo>
                    <a:pt x="9" y="59"/>
                  </a:lnTo>
                  <a:lnTo>
                    <a:pt x="135" y="0"/>
                  </a:lnTo>
                  <a:lnTo>
                    <a:pt x="181" y="17"/>
                  </a:lnTo>
                  <a:lnTo>
                    <a:pt x="243" y="10"/>
                  </a:lnTo>
                  <a:lnTo>
                    <a:pt x="319" y="37"/>
                  </a:lnTo>
                  <a:lnTo>
                    <a:pt x="382" y="93"/>
                  </a:lnTo>
                  <a:lnTo>
                    <a:pt x="382" y="155"/>
                  </a:lnTo>
                  <a:lnTo>
                    <a:pt x="409" y="155"/>
                  </a:lnTo>
                  <a:lnTo>
                    <a:pt x="412" y="208"/>
                  </a:lnTo>
                  <a:lnTo>
                    <a:pt x="414" y="290"/>
                  </a:lnTo>
                  <a:lnTo>
                    <a:pt x="379" y="317"/>
                  </a:lnTo>
                  <a:lnTo>
                    <a:pt x="379" y="317"/>
                  </a:lnTo>
                  <a:lnTo>
                    <a:pt x="305" y="320"/>
                  </a:lnTo>
                  <a:lnTo>
                    <a:pt x="231" y="325"/>
                  </a:lnTo>
                  <a:lnTo>
                    <a:pt x="181" y="297"/>
                  </a:lnTo>
                  <a:lnTo>
                    <a:pt x="73" y="260"/>
                  </a:lnTo>
                  <a:lnTo>
                    <a:pt x="29" y="23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1" name="Freeform 261"/>
            <p:cNvSpPr>
              <a:spLocks noChangeAspect="1"/>
            </p:cNvSpPr>
            <p:nvPr/>
          </p:nvSpPr>
          <p:spPr bwMode="auto">
            <a:xfrm>
              <a:off x="1080905" y="2593892"/>
              <a:ext cx="242638" cy="191695"/>
            </a:xfrm>
            <a:custGeom>
              <a:avLst/>
              <a:gdLst/>
              <a:ahLst/>
              <a:cxnLst>
                <a:cxn ang="0">
                  <a:pos x="29" y="232"/>
                </a:cxn>
                <a:cxn ang="0">
                  <a:pos x="0" y="149"/>
                </a:cxn>
                <a:cxn ang="0">
                  <a:pos x="9" y="59"/>
                </a:cxn>
                <a:cxn ang="0">
                  <a:pos x="135" y="0"/>
                </a:cxn>
                <a:cxn ang="0">
                  <a:pos x="181" y="17"/>
                </a:cxn>
                <a:cxn ang="0">
                  <a:pos x="243" y="10"/>
                </a:cxn>
                <a:cxn ang="0">
                  <a:pos x="319" y="37"/>
                </a:cxn>
                <a:cxn ang="0">
                  <a:pos x="382" y="93"/>
                </a:cxn>
                <a:cxn ang="0">
                  <a:pos x="382" y="155"/>
                </a:cxn>
                <a:cxn ang="0">
                  <a:pos x="409" y="155"/>
                </a:cxn>
                <a:cxn ang="0">
                  <a:pos x="412" y="208"/>
                </a:cxn>
                <a:cxn ang="0">
                  <a:pos x="414" y="290"/>
                </a:cxn>
                <a:cxn ang="0">
                  <a:pos x="379" y="317"/>
                </a:cxn>
                <a:cxn ang="0">
                  <a:pos x="379" y="317"/>
                </a:cxn>
                <a:cxn ang="0">
                  <a:pos x="305" y="320"/>
                </a:cxn>
                <a:cxn ang="0">
                  <a:pos x="231" y="325"/>
                </a:cxn>
                <a:cxn ang="0">
                  <a:pos x="181" y="297"/>
                </a:cxn>
                <a:cxn ang="0">
                  <a:pos x="73" y="260"/>
                </a:cxn>
                <a:cxn ang="0">
                  <a:pos x="29" y="232"/>
                </a:cxn>
              </a:cxnLst>
              <a:rect l="0" t="0" r="r" b="b"/>
              <a:pathLst>
                <a:path w="414" h="325">
                  <a:moveTo>
                    <a:pt x="29" y="232"/>
                  </a:moveTo>
                  <a:lnTo>
                    <a:pt x="0" y="149"/>
                  </a:lnTo>
                  <a:lnTo>
                    <a:pt x="9" y="59"/>
                  </a:lnTo>
                  <a:lnTo>
                    <a:pt x="135" y="0"/>
                  </a:lnTo>
                  <a:lnTo>
                    <a:pt x="181" y="17"/>
                  </a:lnTo>
                  <a:lnTo>
                    <a:pt x="243" y="10"/>
                  </a:lnTo>
                  <a:lnTo>
                    <a:pt x="319" y="37"/>
                  </a:lnTo>
                  <a:lnTo>
                    <a:pt x="382" y="93"/>
                  </a:lnTo>
                  <a:lnTo>
                    <a:pt x="382" y="155"/>
                  </a:lnTo>
                  <a:lnTo>
                    <a:pt x="409" y="155"/>
                  </a:lnTo>
                  <a:lnTo>
                    <a:pt x="412" y="208"/>
                  </a:lnTo>
                  <a:lnTo>
                    <a:pt x="414" y="290"/>
                  </a:lnTo>
                  <a:lnTo>
                    <a:pt x="379" y="317"/>
                  </a:lnTo>
                  <a:lnTo>
                    <a:pt x="379" y="317"/>
                  </a:lnTo>
                  <a:lnTo>
                    <a:pt x="305" y="320"/>
                  </a:lnTo>
                  <a:lnTo>
                    <a:pt x="231" y="325"/>
                  </a:lnTo>
                  <a:lnTo>
                    <a:pt x="181" y="297"/>
                  </a:lnTo>
                  <a:lnTo>
                    <a:pt x="73" y="260"/>
                  </a:lnTo>
                  <a:lnTo>
                    <a:pt x="29" y="232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2" name="Freeform 262"/>
            <p:cNvSpPr>
              <a:spLocks noChangeAspect="1"/>
            </p:cNvSpPr>
            <p:nvPr/>
          </p:nvSpPr>
          <p:spPr bwMode="auto">
            <a:xfrm>
              <a:off x="1014091" y="2006381"/>
              <a:ext cx="279561" cy="562661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15" y="711"/>
                </a:cxn>
                <a:cxn ang="0">
                  <a:pos x="31" y="655"/>
                </a:cxn>
                <a:cxn ang="0">
                  <a:pos x="75" y="631"/>
                </a:cxn>
                <a:cxn ang="0">
                  <a:pos x="63" y="576"/>
                </a:cxn>
                <a:cxn ang="0">
                  <a:pos x="39" y="525"/>
                </a:cxn>
                <a:cxn ang="0">
                  <a:pos x="31" y="473"/>
                </a:cxn>
                <a:cxn ang="0">
                  <a:pos x="20" y="390"/>
                </a:cxn>
                <a:cxn ang="0">
                  <a:pos x="31" y="359"/>
                </a:cxn>
                <a:cxn ang="0">
                  <a:pos x="75" y="366"/>
                </a:cxn>
                <a:cxn ang="0">
                  <a:pos x="94" y="351"/>
                </a:cxn>
                <a:cxn ang="0">
                  <a:pos x="66" y="328"/>
                </a:cxn>
                <a:cxn ang="0">
                  <a:pos x="87" y="287"/>
                </a:cxn>
                <a:cxn ang="0">
                  <a:pos x="94" y="228"/>
                </a:cxn>
                <a:cxn ang="0">
                  <a:pos x="118" y="217"/>
                </a:cxn>
                <a:cxn ang="0">
                  <a:pos x="130" y="182"/>
                </a:cxn>
                <a:cxn ang="0">
                  <a:pos x="162" y="177"/>
                </a:cxn>
                <a:cxn ang="0">
                  <a:pos x="169" y="138"/>
                </a:cxn>
                <a:cxn ang="0">
                  <a:pos x="193" y="122"/>
                </a:cxn>
                <a:cxn ang="0">
                  <a:pos x="197" y="83"/>
                </a:cxn>
                <a:cxn ang="0">
                  <a:pos x="225" y="90"/>
                </a:cxn>
                <a:cxn ang="0">
                  <a:pos x="248" y="79"/>
                </a:cxn>
                <a:cxn ang="0">
                  <a:pos x="272" y="55"/>
                </a:cxn>
                <a:cxn ang="0">
                  <a:pos x="304" y="51"/>
                </a:cxn>
                <a:cxn ang="0">
                  <a:pos x="348" y="51"/>
                </a:cxn>
                <a:cxn ang="0">
                  <a:pos x="372" y="24"/>
                </a:cxn>
                <a:cxn ang="0">
                  <a:pos x="399" y="0"/>
                </a:cxn>
                <a:cxn ang="0">
                  <a:pos x="434" y="39"/>
                </a:cxn>
                <a:cxn ang="0">
                  <a:pos x="469" y="70"/>
                </a:cxn>
                <a:cxn ang="0">
                  <a:pos x="473" y="103"/>
                </a:cxn>
                <a:cxn ang="0">
                  <a:pos x="478" y="201"/>
                </a:cxn>
                <a:cxn ang="0">
                  <a:pos x="446" y="221"/>
                </a:cxn>
                <a:cxn ang="0">
                  <a:pos x="410" y="248"/>
                </a:cxn>
                <a:cxn ang="0">
                  <a:pos x="399" y="304"/>
                </a:cxn>
                <a:cxn ang="0">
                  <a:pos x="403" y="339"/>
                </a:cxn>
                <a:cxn ang="0">
                  <a:pos x="355" y="371"/>
                </a:cxn>
                <a:cxn ang="0">
                  <a:pos x="328" y="407"/>
                </a:cxn>
                <a:cxn ang="0">
                  <a:pos x="265" y="418"/>
                </a:cxn>
                <a:cxn ang="0">
                  <a:pos x="241" y="469"/>
                </a:cxn>
                <a:cxn ang="0">
                  <a:pos x="241" y="557"/>
                </a:cxn>
                <a:cxn ang="0">
                  <a:pos x="276" y="600"/>
                </a:cxn>
                <a:cxn ang="0">
                  <a:pos x="292" y="635"/>
                </a:cxn>
                <a:cxn ang="0">
                  <a:pos x="217" y="672"/>
                </a:cxn>
                <a:cxn ang="0">
                  <a:pos x="252" y="672"/>
                </a:cxn>
                <a:cxn ang="0">
                  <a:pos x="272" y="692"/>
                </a:cxn>
                <a:cxn ang="0">
                  <a:pos x="284" y="723"/>
                </a:cxn>
                <a:cxn ang="0">
                  <a:pos x="256" y="742"/>
                </a:cxn>
                <a:cxn ang="0">
                  <a:pos x="225" y="778"/>
                </a:cxn>
                <a:cxn ang="0">
                  <a:pos x="225" y="837"/>
                </a:cxn>
                <a:cxn ang="0">
                  <a:pos x="189" y="865"/>
                </a:cxn>
                <a:cxn ang="0">
                  <a:pos x="177" y="896"/>
                </a:cxn>
                <a:cxn ang="0">
                  <a:pos x="142" y="920"/>
                </a:cxn>
                <a:cxn ang="0">
                  <a:pos x="122" y="952"/>
                </a:cxn>
                <a:cxn ang="0">
                  <a:pos x="70" y="933"/>
                </a:cxn>
                <a:cxn ang="0">
                  <a:pos x="75" y="872"/>
                </a:cxn>
                <a:cxn ang="0">
                  <a:pos x="48" y="865"/>
                </a:cxn>
                <a:cxn ang="0">
                  <a:pos x="39" y="830"/>
                </a:cxn>
                <a:cxn ang="0">
                  <a:pos x="20" y="782"/>
                </a:cxn>
                <a:cxn ang="0">
                  <a:pos x="0" y="742"/>
                </a:cxn>
              </a:cxnLst>
              <a:rect l="0" t="0" r="r" b="b"/>
              <a:pathLst>
                <a:path w="478" h="952">
                  <a:moveTo>
                    <a:pt x="0" y="742"/>
                  </a:moveTo>
                  <a:lnTo>
                    <a:pt x="15" y="711"/>
                  </a:lnTo>
                  <a:lnTo>
                    <a:pt x="31" y="655"/>
                  </a:lnTo>
                  <a:lnTo>
                    <a:pt x="75" y="631"/>
                  </a:lnTo>
                  <a:lnTo>
                    <a:pt x="63" y="576"/>
                  </a:lnTo>
                  <a:lnTo>
                    <a:pt x="39" y="525"/>
                  </a:lnTo>
                  <a:lnTo>
                    <a:pt x="31" y="473"/>
                  </a:lnTo>
                  <a:lnTo>
                    <a:pt x="20" y="390"/>
                  </a:lnTo>
                  <a:lnTo>
                    <a:pt x="31" y="359"/>
                  </a:lnTo>
                  <a:lnTo>
                    <a:pt x="75" y="366"/>
                  </a:lnTo>
                  <a:lnTo>
                    <a:pt x="94" y="351"/>
                  </a:lnTo>
                  <a:lnTo>
                    <a:pt x="66" y="328"/>
                  </a:lnTo>
                  <a:lnTo>
                    <a:pt x="87" y="287"/>
                  </a:lnTo>
                  <a:lnTo>
                    <a:pt x="94" y="228"/>
                  </a:lnTo>
                  <a:lnTo>
                    <a:pt x="118" y="217"/>
                  </a:lnTo>
                  <a:lnTo>
                    <a:pt x="130" y="182"/>
                  </a:lnTo>
                  <a:lnTo>
                    <a:pt x="162" y="177"/>
                  </a:lnTo>
                  <a:lnTo>
                    <a:pt x="169" y="138"/>
                  </a:lnTo>
                  <a:lnTo>
                    <a:pt x="193" y="122"/>
                  </a:lnTo>
                  <a:lnTo>
                    <a:pt x="197" y="83"/>
                  </a:lnTo>
                  <a:lnTo>
                    <a:pt x="225" y="90"/>
                  </a:lnTo>
                  <a:lnTo>
                    <a:pt x="248" y="79"/>
                  </a:lnTo>
                  <a:lnTo>
                    <a:pt x="272" y="55"/>
                  </a:lnTo>
                  <a:lnTo>
                    <a:pt x="304" y="51"/>
                  </a:lnTo>
                  <a:lnTo>
                    <a:pt x="348" y="51"/>
                  </a:lnTo>
                  <a:lnTo>
                    <a:pt x="372" y="24"/>
                  </a:lnTo>
                  <a:lnTo>
                    <a:pt x="399" y="0"/>
                  </a:lnTo>
                  <a:lnTo>
                    <a:pt x="434" y="39"/>
                  </a:lnTo>
                  <a:lnTo>
                    <a:pt x="469" y="70"/>
                  </a:lnTo>
                  <a:lnTo>
                    <a:pt x="473" y="103"/>
                  </a:lnTo>
                  <a:lnTo>
                    <a:pt x="478" y="201"/>
                  </a:lnTo>
                  <a:lnTo>
                    <a:pt x="446" y="221"/>
                  </a:lnTo>
                  <a:lnTo>
                    <a:pt x="410" y="248"/>
                  </a:lnTo>
                  <a:lnTo>
                    <a:pt x="399" y="304"/>
                  </a:lnTo>
                  <a:lnTo>
                    <a:pt x="403" y="339"/>
                  </a:lnTo>
                  <a:lnTo>
                    <a:pt x="355" y="371"/>
                  </a:lnTo>
                  <a:lnTo>
                    <a:pt x="328" y="407"/>
                  </a:lnTo>
                  <a:lnTo>
                    <a:pt x="265" y="418"/>
                  </a:lnTo>
                  <a:lnTo>
                    <a:pt x="241" y="469"/>
                  </a:lnTo>
                  <a:lnTo>
                    <a:pt x="241" y="557"/>
                  </a:lnTo>
                  <a:lnTo>
                    <a:pt x="276" y="600"/>
                  </a:lnTo>
                  <a:lnTo>
                    <a:pt x="292" y="635"/>
                  </a:lnTo>
                  <a:lnTo>
                    <a:pt x="217" y="672"/>
                  </a:lnTo>
                  <a:lnTo>
                    <a:pt x="252" y="672"/>
                  </a:lnTo>
                  <a:lnTo>
                    <a:pt x="272" y="692"/>
                  </a:lnTo>
                  <a:lnTo>
                    <a:pt x="284" y="723"/>
                  </a:lnTo>
                  <a:lnTo>
                    <a:pt x="256" y="742"/>
                  </a:lnTo>
                  <a:lnTo>
                    <a:pt x="225" y="778"/>
                  </a:lnTo>
                  <a:lnTo>
                    <a:pt x="225" y="837"/>
                  </a:lnTo>
                  <a:lnTo>
                    <a:pt x="189" y="865"/>
                  </a:lnTo>
                  <a:lnTo>
                    <a:pt x="177" y="896"/>
                  </a:lnTo>
                  <a:lnTo>
                    <a:pt x="142" y="920"/>
                  </a:lnTo>
                  <a:lnTo>
                    <a:pt x="122" y="952"/>
                  </a:lnTo>
                  <a:lnTo>
                    <a:pt x="70" y="933"/>
                  </a:lnTo>
                  <a:lnTo>
                    <a:pt x="75" y="872"/>
                  </a:lnTo>
                  <a:lnTo>
                    <a:pt x="48" y="865"/>
                  </a:lnTo>
                  <a:lnTo>
                    <a:pt x="39" y="830"/>
                  </a:lnTo>
                  <a:lnTo>
                    <a:pt x="20" y="782"/>
                  </a:lnTo>
                  <a:lnTo>
                    <a:pt x="0" y="74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3" name="Freeform 263"/>
            <p:cNvSpPr>
              <a:spLocks noChangeAspect="1"/>
            </p:cNvSpPr>
            <p:nvPr/>
          </p:nvSpPr>
          <p:spPr bwMode="auto">
            <a:xfrm>
              <a:off x="1237388" y="2856585"/>
              <a:ext cx="216264" cy="156196"/>
            </a:xfrm>
            <a:custGeom>
              <a:avLst/>
              <a:gdLst/>
              <a:ahLst/>
              <a:cxnLst>
                <a:cxn ang="0">
                  <a:pos x="130" y="211"/>
                </a:cxn>
                <a:cxn ang="0">
                  <a:pos x="103" y="190"/>
                </a:cxn>
                <a:cxn ang="0">
                  <a:pos x="59" y="168"/>
                </a:cxn>
                <a:cxn ang="0">
                  <a:pos x="12" y="140"/>
                </a:cxn>
                <a:cxn ang="0">
                  <a:pos x="0" y="96"/>
                </a:cxn>
                <a:cxn ang="0">
                  <a:pos x="44" y="84"/>
                </a:cxn>
                <a:cxn ang="0">
                  <a:pos x="75" y="33"/>
                </a:cxn>
                <a:cxn ang="0">
                  <a:pos x="95" y="1"/>
                </a:cxn>
                <a:cxn ang="0">
                  <a:pos x="162" y="0"/>
                </a:cxn>
                <a:cxn ang="0">
                  <a:pos x="184" y="18"/>
                </a:cxn>
                <a:cxn ang="0">
                  <a:pos x="252" y="23"/>
                </a:cxn>
                <a:cxn ang="0">
                  <a:pos x="278" y="13"/>
                </a:cxn>
                <a:cxn ang="0">
                  <a:pos x="340" y="76"/>
                </a:cxn>
                <a:cxn ang="0">
                  <a:pos x="345" y="128"/>
                </a:cxn>
                <a:cxn ang="0">
                  <a:pos x="369" y="185"/>
                </a:cxn>
                <a:cxn ang="0">
                  <a:pos x="362" y="218"/>
                </a:cxn>
                <a:cxn ang="0">
                  <a:pos x="327" y="248"/>
                </a:cxn>
                <a:cxn ang="0">
                  <a:pos x="286" y="254"/>
                </a:cxn>
                <a:cxn ang="0">
                  <a:pos x="221" y="262"/>
                </a:cxn>
                <a:cxn ang="0">
                  <a:pos x="207" y="223"/>
                </a:cxn>
                <a:cxn ang="0">
                  <a:pos x="155" y="204"/>
                </a:cxn>
                <a:cxn ang="0">
                  <a:pos x="141" y="223"/>
                </a:cxn>
                <a:cxn ang="0">
                  <a:pos x="130" y="211"/>
                </a:cxn>
              </a:cxnLst>
              <a:rect l="0" t="0" r="r" b="b"/>
              <a:pathLst>
                <a:path w="369" h="262">
                  <a:moveTo>
                    <a:pt x="130" y="211"/>
                  </a:moveTo>
                  <a:lnTo>
                    <a:pt x="103" y="190"/>
                  </a:lnTo>
                  <a:lnTo>
                    <a:pt x="59" y="168"/>
                  </a:lnTo>
                  <a:lnTo>
                    <a:pt x="12" y="140"/>
                  </a:lnTo>
                  <a:lnTo>
                    <a:pt x="0" y="96"/>
                  </a:lnTo>
                  <a:lnTo>
                    <a:pt x="44" y="84"/>
                  </a:lnTo>
                  <a:lnTo>
                    <a:pt x="75" y="33"/>
                  </a:lnTo>
                  <a:lnTo>
                    <a:pt x="95" y="1"/>
                  </a:lnTo>
                  <a:lnTo>
                    <a:pt x="162" y="0"/>
                  </a:lnTo>
                  <a:lnTo>
                    <a:pt x="184" y="18"/>
                  </a:lnTo>
                  <a:lnTo>
                    <a:pt x="252" y="23"/>
                  </a:lnTo>
                  <a:lnTo>
                    <a:pt x="278" y="13"/>
                  </a:lnTo>
                  <a:lnTo>
                    <a:pt x="340" y="76"/>
                  </a:lnTo>
                  <a:lnTo>
                    <a:pt x="345" y="128"/>
                  </a:lnTo>
                  <a:lnTo>
                    <a:pt x="369" y="185"/>
                  </a:lnTo>
                  <a:lnTo>
                    <a:pt x="362" y="218"/>
                  </a:lnTo>
                  <a:lnTo>
                    <a:pt x="327" y="248"/>
                  </a:lnTo>
                  <a:lnTo>
                    <a:pt x="286" y="254"/>
                  </a:lnTo>
                  <a:lnTo>
                    <a:pt x="221" y="262"/>
                  </a:lnTo>
                  <a:lnTo>
                    <a:pt x="207" y="223"/>
                  </a:lnTo>
                  <a:lnTo>
                    <a:pt x="155" y="204"/>
                  </a:lnTo>
                  <a:lnTo>
                    <a:pt x="141" y="223"/>
                  </a:lnTo>
                  <a:lnTo>
                    <a:pt x="130" y="21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4" name="Freeform 264"/>
            <p:cNvSpPr>
              <a:spLocks noChangeAspect="1"/>
            </p:cNvSpPr>
            <p:nvPr/>
          </p:nvSpPr>
          <p:spPr bwMode="auto">
            <a:xfrm>
              <a:off x="1378048" y="3076680"/>
              <a:ext cx="56264" cy="37274"/>
            </a:xfrm>
            <a:custGeom>
              <a:avLst/>
              <a:gdLst/>
              <a:ahLst/>
              <a:cxnLst>
                <a:cxn ang="0">
                  <a:pos x="20" y="63"/>
                </a:cxn>
                <a:cxn ang="0">
                  <a:pos x="62" y="64"/>
                </a:cxn>
                <a:cxn ang="0">
                  <a:pos x="97" y="31"/>
                </a:cxn>
                <a:cxn ang="0">
                  <a:pos x="43" y="0"/>
                </a:cxn>
                <a:cxn ang="0">
                  <a:pos x="0" y="8"/>
                </a:cxn>
                <a:cxn ang="0">
                  <a:pos x="0" y="44"/>
                </a:cxn>
                <a:cxn ang="0">
                  <a:pos x="20" y="63"/>
                </a:cxn>
              </a:cxnLst>
              <a:rect l="0" t="0" r="r" b="b"/>
              <a:pathLst>
                <a:path w="97" h="64">
                  <a:moveTo>
                    <a:pt x="20" y="63"/>
                  </a:moveTo>
                  <a:lnTo>
                    <a:pt x="62" y="64"/>
                  </a:lnTo>
                  <a:lnTo>
                    <a:pt x="97" y="31"/>
                  </a:lnTo>
                  <a:lnTo>
                    <a:pt x="43" y="0"/>
                  </a:lnTo>
                  <a:lnTo>
                    <a:pt x="0" y="8"/>
                  </a:lnTo>
                  <a:lnTo>
                    <a:pt x="0" y="44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5" name="Freeform 265"/>
            <p:cNvSpPr>
              <a:spLocks noChangeAspect="1"/>
            </p:cNvSpPr>
            <p:nvPr/>
          </p:nvSpPr>
          <p:spPr bwMode="auto">
            <a:xfrm>
              <a:off x="1407938" y="3055380"/>
              <a:ext cx="490550" cy="218320"/>
            </a:xfrm>
            <a:custGeom>
              <a:avLst/>
              <a:gdLst/>
              <a:ahLst/>
              <a:cxnLst>
                <a:cxn ang="0">
                  <a:pos x="420" y="349"/>
                </a:cxn>
                <a:cxn ang="0">
                  <a:pos x="460" y="342"/>
                </a:cxn>
                <a:cxn ang="0">
                  <a:pos x="532" y="333"/>
                </a:cxn>
                <a:cxn ang="0">
                  <a:pos x="583" y="333"/>
                </a:cxn>
                <a:cxn ang="0">
                  <a:pos x="642" y="322"/>
                </a:cxn>
                <a:cxn ang="0">
                  <a:pos x="657" y="369"/>
                </a:cxn>
                <a:cxn ang="0">
                  <a:pos x="690" y="342"/>
                </a:cxn>
                <a:cxn ang="0">
                  <a:pos x="718" y="314"/>
                </a:cxn>
                <a:cxn ang="0">
                  <a:pos x="760" y="301"/>
                </a:cxn>
                <a:cxn ang="0">
                  <a:pos x="780" y="333"/>
                </a:cxn>
                <a:cxn ang="0">
                  <a:pos x="836" y="338"/>
                </a:cxn>
                <a:cxn ang="0">
                  <a:pos x="824" y="278"/>
                </a:cxn>
                <a:cxn ang="0">
                  <a:pos x="801" y="219"/>
                </a:cxn>
                <a:cxn ang="0">
                  <a:pos x="780" y="160"/>
                </a:cxn>
                <a:cxn ang="0">
                  <a:pos x="796" y="139"/>
                </a:cxn>
                <a:cxn ang="0">
                  <a:pos x="760" y="104"/>
                </a:cxn>
                <a:cxn ang="0">
                  <a:pos x="721" y="40"/>
                </a:cxn>
                <a:cxn ang="0">
                  <a:pos x="662" y="45"/>
                </a:cxn>
                <a:cxn ang="0">
                  <a:pos x="640" y="75"/>
                </a:cxn>
                <a:cxn ang="0">
                  <a:pos x="544" y="79"/>
                </a:cxn>
                <a:cxn ang="0">
                  <a:pos x="506" y="83"/>
                </a:cxn>
                <a:cxn ang="0">
                  <a:pos x="462" y="59"/>
                </a:cxn>
                <a:cxn ang="0">
                  <a:pos x="426" y="59"/>
                </a:cxn>
                <a:cxn ang="0">
                  <a:pos x="395" y="24"/>
                </a:cxn>
                <a:cxn ang="0">
                  <a:pos x="351" y="0"/>
                </a:cxn>
                <a:cxn ang="0">
                  <a:pos x="307" y="24"/>
                </a:cxn>
                <a:cxn ang="0">
                  <a:pos x="244" y="31"/>
                </a:cxn>
                <a:cxn ang="0">
                  <a:pos x="200" y="44"/>
                </a:cxn>
                <a:cxn ang="0">
                  <a:pos x="141" y="52"/>
                </a:cxn>
                <a:cxn ang="0">
                  <a:pos x="105" y="47"/>
                </a:cxn>
                <a:cxn ang="0">
                  <a:pos x="59" y="69"/>
                </a:cxn>
                <a:cxn ang="0">
                  <a:pos x="87" y="84"/>
                </a:cxn>
                <a:cxn ang="0">
                  <a:pos x="56" y="101"/>
                </a:cxn>
                <a:cxn ang="0">
                  <a:pos x="45" y="126"/>
                </a:cxn>
                <a:cxn ang="0">
                  <a:pos x="13" y="152"/>
                </a:cxn>
                <a:cxn ang="0">
                  <a:pos x="6" y="177"/>
                </a:cxn>
                <a:cxn ang="0">
                  <a:pos x="0" y="200"/>
                </a:cxn>
                <a:cxn ang="0">
                  <a:pos x="20" y="206"/>
                </a:cxn>
                <a:cxn ang="0">
                  <a:pos x="16" y="236"/>
                </a:cxn>
                <a:cxn ang="0">
                  <a:pos x="32" y="247"/>
                </a:cxn>
                <a:cxn ang="0">
                  <a:pos x="31" y="276"/>
                </a:cxn>
                <a:cxn ang="0">
                  <a:pos x="50" y="300"/>
                </a:cxn>
                <a:cxn ang="0">
                  <a:pos x="69" y="298"/>
                </a:cxn>
                <a:cxn ang="0">
                  <a:pos x="72" y="319"/>
                </a:cxn>
                <a:cxn ang="0">
                  <a:pos x="114" y="332"/>
                </a:cxn>
                <a:cxn ang="0">
                  <a:pos x="136" y="362"/>
                </a:cxn>
                <a:cxn ang="0">
                  <a:pos x="168" y="348"/>
                </a:cxn>
                <a:cxn ang="0">
                  <a:pos x="187" y="335"/>
                </a:cxn>
                <a:cxn ang="0">
                  <a:pos x="212" y="318"/>
                </a:cxn>
                <a:cxn ang="0">
                  <a:pos x="264" y="352"/>
                </a:cxn>
                <a:cxn ang="0">
                  <a:pos x="320" y="355"/>
                </a:cxn>
                <a:cxn ang="0">
                  <a:pos x="383" y="348"/>
                </a:cxn>
                <a:cxn ang="0">
                  <a:pos x="406" y="348"/>
                </a:cxn>
                <a:cxn ang="0">
                  <a:pos x="420" y="349"/>
                </a:cxn>
              </a:cxnLst>
              <a:rect l="0" t="0" r="r" b="b"/>
              <a:pathLst>
                <a:path w="836" h="369">
                  <a:moveTo>
                    <a:pt x="420" y="349"/>
                  </a:moveTo>
                  <a:lnTo>
                    <a:pt x="460" y="342"/>
                  </a:lnTo>
                  <a:lnTo>
                    <a:pt x="532" y="333"/>
                  </a:lnTo>
                  <a:lnTo>
                    <a:pt x="583" y="333"/>
                  </a:lnTo>
                  <a:lnTo>
                    <a:pt x="642" y="322"/>
                  </a:lnTo>
                  <a:lnTo>
                    <a:pt x="657" y="369"/>
                  </a:lnTo>
                  <a:lnTo>
                    <a:pt x="690" y="342"/>
                  </a:lnTo>
                  <a:lnTo>
                    <a:pt x="718" y="314"/>
                  </a:lnTo>
                  <a:lnTo>
                    <a:pt x="760" y="301"/>
                  </a:lnTo>
                  <a:lnTo>
                    <a:pt x="780" y="333"/>
                  </a:lnTo>
                  <a:lnTo>
                    <a:pt x="836" y="338"/>
                  </a:lnTo>
                  <a:lnTo>
                    <a:pt x="824" y="278"/>
                  </a:lnTo>
                  <a:lnTo>
                    <a:pt x="801" y="219"/>
                  </a:lnTo>
                  <a:lnTo>
                    <a:pt x="780" y="160"/>
                  </a:lnTo>
                  <a:lnTo>
                    <a:pt x="796" y="139"/>
                  </a:lnTo>
                  <a:lnTo>
                    <a:pt x="760" y="104"/>
                  </a:lnTo>
                  <a:lnTo>
                    <a:pt x="721" y="40"/>
                  </a:lnTo>
                  <a:lnTo>
                    <a:pt x="662" y="45"/>
                  </a:lnTo>
                  <a:lnTo>
                    <a:pt x="640" y="75"/>
                  </a:lnTo>
                  <a:lnTo>
                    <a:pt x="544" y="79"/>
                  </a:lnTo>
                  <a:lnTo>
                    <a:pt x="506" y="83"/>
                  </a:lnTo>
                  <a:lnTo>
                    <a:pt x="462" y="59"/>
                  </a:lnTo>
                  <a:lnTo>
                    <a:pt x="426" y="59"/>
                  </a:lnTo>
                  <a:lnTo>
                    <a:pt x="395" y="24"/>
                  </a:lnTo>
                  <a:lnTo>
                    <a:pt x="351" y="0"/>
                  </a:lnTo>
                  <a:lnTo>
                    <a:pt x="307" y="24"/>
                  </a:lnTo>
                  <a:lnTo>
                    <a:pt x="244" y="31"/>
                  </a:lnTo>
                  <a:lnTo>
                    <a:pt x="200" y="44"/>
                  </a:lnTo>
                  <a:lnTo>
                    <a:pt x="141" y="52"/>
                  </a:lnTo>
                  <a:lnTo>
                    <a:pt x="105" y="47"/>
                  </a:lnTo>
                  <a:lnTo>
                    <a:pt x="59" y="69"/>
                  </a:lnTo>
                  <a:lnTo>
                    <a:pt x="87" y="84"/>
                  </a:lnTo>
                  <a:lnTo>
                    <a:pt x="56" y="101"/>
                  </a:lnTo>
                  <a:lnTo>
                    <a:pt x="45" y="126"/>
                  </a:lnTo>
                  <a:lnTo>
                    <a:pt x="13" y="152"/>
                  </a:lnTo>
                  <a:lnTo>
                    <a:pt x="6" y="177"/>
                  </a:lnTo>
                  <a:lnTo>
                    <a:pt x="0" y="200"/>
                  </a:lnTo>
                  <a:lnTo>
                    <a:pt x="20" y="206"/>
                  </a:lnTo>
                  <a:lnTo>
                    <a:pt x="16" y="236"/>
                  </a:lnTo>
                  <a:lnTo>
                    <a:pt x="32" y="247"/>
                  </a:lnTo>
                  <a:lnTo>
                    <a:pt x="31" y="276"/>
                  </a:lnTo>
                  <a:lnTo>
                    <a:pt x="50" y="300"/>
                  </a:lnTo>
                  <a:lnTo>
                    <a:pt x="69" y="298"/>
                  </a:lnTo>
                  <a:lnTo>
                    <a:pt x="72" y="319"/>
                  </a:lnTo>
                  <a:lnTo>
                    <a:pt x="114" y="332"/>
                  </a:lnTo>
                  <a:lnTo>
                    <a:pt x="136" y="362"/>
                  </a:lnTo>
                  <a:lnTo>
                    <a:pt x="168" y="348"/>
                  </a:lnTo>
                  <a:lnTo>
                    <a:pt x="187" y="335"/>
                  </a:lnTo>
                  <a:lnTo>
                    <a:pt x="212" y="318"/>
                  </a:lnTo>
                  <a:lnTo>
                    <a:pt x="264" y="352"/>
                  </a:lnTo>
                  <a:lnTo>
                    <a:pt x="320" y="355"/>
                  </a:lnTo>
                  <a:lnTo>
                    <a:pt x="383" y="348"/>
                  </a:lnTo>
                  <a:lnTo>
                    <a:pt x="406" y="348"/>
                  </a:lnTo>
                  <a:lnTo>
                    <a:pt x="420" y="34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6" name="Freeform 266"/>
            <p:cNvSpPr>
              <a:spLocks noChangeAspect="1"/>
            </p:cNvSpPr>
            <p:nvPr/>
          </p:nvSpPr>
          <p:spPr bwMode="auto">
            <a:xfrm>
              <a:off x="1061564" y="2900959"/>
              <a:ext cx="253187" cy="204120"/>
            </a:xfrm>
            <a:custGeom>
              <a:avLst/>
              <a:gdLst/>
              <a:ahLst/>
              <a:cxnLst>
                <a:cxn ang="0">
                  <a:pos x="38" y="55"/>
                </a:cxn>
                <a:cxn ang="0">
                  <a:pos x="12" y="36"/>
                </a:cxn>
                <a:cxn ang="0">
                  <a:pos x="0" y="1"/>
                </a:cxn>
                <a:cxn ang="0">
                  <a:pos x="74" y="17"/>
                </a:cxn>
                <a:cxn ang="0">
                  <a:pos x="117" y="0"/>
                </a:cxn>
                <a:cxn ang="0">
                  <a:pos x="137" y="5"/>
                </a:cxn>
                <a:cxn ang="0">
                  <a:pos x="137" y="5"/>
                </a:cxn>
                <a:cxn ang="0">
                  <a:pos x="186" y="30"/>
                </a:cxn>
                <a:cxn ang="0">
                  <a:pos x="238" y="43"/>
                </a:cxn>
                <a:cxn ang="0">
                  <a:pos x="265" y="19"/>
                </a:cxn>
                <a:cxn ang="0">
                  <a:pos x="302" y="21"/>
                </a:cxn>
                <a:cxn ang="0">
                  <a:pos x="314" y="65"/>
                </a:cxn>
                <a:cxn ang="0">
                  <a:pos x="361" y="93"/>
                </a:cxn>
                <a:cxn ang="0">
                  <a:pos x="405" y="115"/>
                </a:cxn>
                <a:cxn ang="0">
                  <a:pos x="432" y="136"/>
                </a:cxn>
                <a:cxn ang="0">
                  <a:pos x="392" y="168"/>
                </a:cxn>
                <a:cxn ang="0">
                  <a:pos x="396" y="196"/>
                </a:cxn>
                <a:cxn ang="0">
                  <a:pos x="420" y="240"/>
                </a:cxn>
                <a:cxn ang="0">
                  <a:pos x="423" y="310"/>
                </a:cxn>
                <a:cxn ang="0">
                  <a:pos x="381" y="345"/>
                </a:cxn>
                <a:cxn ang="0">
                  <a:pos x="347" y="334"/>
                </a:cxn>
                <a:cxn ang="0">
                  <a:pos x="335" y="287"/>
                </a:cxn>
                <a:cxn ang="0">
                  <a:pos x="313" y="243"/>
                </a:cxn>
                <a:cxn ang="0">
                  <a:pos x="285" y="256"/>
                </a:cxn>
                <a:cxn ang="0">
                  <a:pos x="293" y="291"/>
                </a:cxn>
                <a:cxn ang="0">
                  <a:pos x="249" y="279"/>
                </a:cxn>
                <a:cxn ang="0">
                  <a:pos x="214" y="256"/>
                </a:cxn>
                <a:cxn ang="0">
                  <a:pos x="186" y="216"/>
                </a:cxn>
                <a:cxn ang="0">
                  <a:pos x="155" y="196"/>
                </a:cxn>
                <a:cxn ang="0">
                  <a:pos x="107" y="177"/>
                </a:cxn>
                <a:cxn ang="0">
                  <a:pos x="107" y="144"/>
                </a:cxn>
                <a:cxn ang="0">
                  <a:pos x="67" y="122"/>
                </a:cxn>
                <a:cxn ang="0">
                  <a:pos x="55" y="65"/>
                </a:cxn>
                <a:cxn ang="0">
                  <a:pos x="38" y="55"/>
                </a:cxn>
              </a:cxnLst>
              <a:rect l="0" t="0" r="r" b="b"/>
              <a:pathLst>
                <a:path w="432" h="345">
                  <a:moveTo>
                    <a:pt x="38" y="55"/>
                  </a:moveTo>
                  <a:lnTo>
                    <a:pt x="12" y="36"/>
                  </a:lnTo>
                  <a:lnTo>
                    <a:pt x="0" y="1"/>
                  </a:lnTo>
                  <a:lnTo>
                    <a:pt x="74" y="17"/>
                  </a:lnTo>
                  <a:lnTo>
                    <a:pt x="117" y="0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86" y="30"/>
                  </a:lnTo>
                  <a:lnTo>
                    <a:pt x="238" y="43"/>
                  </a:lnTo>
                  <a:lnTo>
                    <a:pt x="265" y="19"/>
                  </a:lnTo>
                  <a:lnTo>
                    <a:pt x="302" y="21"/>
                  </a:lnTo>
                  <a:lnTo>
                    <a:pt x="314" y="65"/>
                  </a:lnTo>
                  <a:lnTo>
                    <a:pt x="361" y="93"/>
                  </a:lnTo>
                  <a:lnTo>
                    <a:pt x="405" y="115"/>
                  </a:lnTo>
                  <a:lnTo>
                    <a:pt x="432" y="136"/>
                  </a:lnTo>
                  <a:lnTo>
                    <a:pt x="392" y="168"/>
                  </a:lnTo>
                  <a:lnTo>
                    <a:pt x="396" y="196"/>
                  </a:lnTo>
                  <a:lnTo>
                    <a:pt x="420" y="240"/>
                  </a:lnTo>
                  <a:lnTo>
                    <a:pt x="423" y="310"/>
                  </a:lnTo>
                  <a:lnTo>
                    <a:pt x="381" y="345"/>
                  </a:lnTo>
                  <a:lnTo>
                    <a:pt x="347" y="334"/>
                  </a:lnTo>
                  <a:lnTo>
                    <a:pt x="335" y="287"/>
                  </a:lnTo>
                  <a:lnTo>
                    <a:pt x="313" y="243"/>
                  </a:lnTo>
                  <a:lnTo>
                    <a:pt x="285" y="256"/>
                  </a:lnTo>
                  <a:lnTo>
                    <a:pt x="293" y="291"/>
                  </a:lnTo>
                  <a:lnTo>
                    <a:pt x="249" y="279"/>
                  </a:lnTo>
                  <a:lnTo>
                    <a:pt x="214" y="256"/>
                  </a:lnTo>
                  <a:lnTo>
                    <a:pt x="186" y="216"/>
                  </a:lnTo>
                  <a:lnTo>
                    <a:pt x="155" y="196"/>
                  </a:lnTo>
                  <a:lnTo>
                    <a:pt x="107" y="177"/>
                  </a:lnTo>
                  <a:lnTo>
                    <a:pt x="107" y="144"/>
                  </a:lnTo>
                  <a:lnTo>
                    <a:pt x="67" y="122"/>
                  </a:lnTo>
                  <a:lnTo>
                    <a:pt x="55" y="65"/>
                  </a:lnTo>
                  <a:lnTo>
                    <a:pt x="38" y="5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7" name="Freeform 267"/>
            <p:cNvSpPr>
              <a:spLocks noChangeAspect="1"/>
            </p:cNvSpPr>
            <p:nvPr/>
          </p:nvSpPr>
          <p:spPr bwMode="auto">
            <a:xfrm>
              <a:off x="1223322" y="2489169"/>
              <a:ext cx="191649" cy="159746"/>
            </a:xfrm>
            <a:custGeom>
              <a:avLst/>
              <a:gdLst/>
              <a:ahLst/>
              <a:cxnLst>
                <a:cxn ang="0">
                  <a:pos x="41" y="115"/>
                </a:cxn>
                <a:cxn ang="0">
                  <a:pos x="0" y="187"/>
                </a:cxn>
                <a:cxn ang="0">
                  <a:pos x="76" y="214"/>
                </a:cxn>
                <a:cxn ang="0">
                  <a:pos x="139" y="270"/>
                </a:cxn>
                <a:cxn ang="0">
                  <a:pos x="132" y="227"/>
                </a:cxn>
                <a:cxn ang="0">
                  <a:pos x="181" y="208"/>
                </a:cxn>
                <a:cxn ang="0">
                  <a:pos x="239" y="216"/>
                </a:cxn>
                <a:cxn ang="0">
                  <a:pos x="250" y="178"/>
                </a:cxn>
                <a:cxn ang="0">
                  <a:pos x="311" y="155"/>
                </a:cxn>
                <a:cxn ang="0">
                  <a:pos x="288" y="122"/>
                </a:cxn>
                <a:cxn ang="0">
                  <a:pos x="318" y="60"/>
                </a:cxn>
                <a:cxn ang="0">
                  <a:pos x="329" y="68"/>
                </a:cxn>
                <a:cxn ang="0">
                  <a:pos x="326" y="37"/>
                </a:cxn>
                <a:cxn ang="0">
                  <a:pos x="235" y="0"/>
                </a:cxn>
                <a:cxn ang="0">
                  <a:pos x="140" y="56"/>
                </a:cxn>
                <a:cxn ang="0">
                  <a:pos x="64" y="60"/>
                </a:cxn>
                <a:cxn ang="0">
                  <a:pos x="41" y="115"/>
                </a:cxn>
              </a:cxnLst>
              <a:rect l="0" t="0" r="r" b="b"/>
              <a:pathLst>
                <a:path w="329" h="270">
                  <a:moveTo>
                    <a:pt x="41" y="115"/>
                  </a:moveTo>
                  <a:lnTo>
                    <a:pt x="0" y="187"/>
                  </a:lnTo>
                  <a:lnTo>
                    <a:pt x="76" y="214"/>
                  </a:lnTo>
                  <a:lnTo>
                    <a:pt x="139" y="270"/>
                  </a:lnTo>
                  <a:lnTo>
                    <a:pt x="132" y="227"/>
                  </a:lnTo>
                  <a:lnTo>
                    <a:pt x="181" y="208"/>
                  </a:lnTo>
                  <a:lnTo>
                    <a:pt x="239" y="216"/>
                  </a:lnTo>
                  <a:lnTo>
                    <a:pt x="250" y="178"/>
                  </a:lnTo>
                  <a:lnTo>
                    <a:pt x="311" y="155"/>
                  </a:lnTo>
                  <a:lnTo>
                    <a:pt x="288" y="122"/>
                  </a:lnTo>
                  <a:lnTo>
                    <a:pt x="318" y="60"/>
                  </a:lnTo>
                  <a:lnTo>
                    <a:pt x="329" y="68"/>
                  </a:lnTo>
                  <a:lnTo>
                    <a:pt x="326" y="37"/>
                  </a:lnTo>
                  <a:lnTo>
                    <a:pt x="235" y="0"/>
                  </a:lnTo>
                  <a:lnTo>
                    <a:pt x="140" y="56"/>
                  </a:lnTo>
                  <a:lnTo>
                    <a:pt x="64" y="60"/>
                  </a:lnTo>
                  <a:lnTo>
                    <a:pt x="41" y="11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8" name="Freeform 268"/>
            <p:cNvSpPr>
              <a:spLocks noChangeAspect="1"/>
            </p:cNvSpPr>
            <p:nvPr/>
          </p:nvSpPr>
          <p:spPr bwMode="auto">
            <a:xfrm>
              <a:off x="1223322" y="2489169"/>
              <a:ext cx="191649" cy="159746"/>
            </a:xfrm>
            <a:custGeom>
              <a:avLst/>
              <a:gdLst/>
              <a:ahLst/>
              <a:cxnLst>
                <a:cxn ang="0">
                  <a:pos x="41" y="115"/>
                </a:cxn>
                <a:cxn ang="0">
                  <a:pos x="0" y="187"/>
                </a:cxn>
                <a:cxn ang="0">
                  <a:pos x="76" y="214"/>
                </a:cxn>
                <a:cxn ang="0">
                  <a:pos x="139" y="270"/>
                </a:cxn>
                <a:cxn ang="0">
                  <a:pos x="132" y="227"/>
                </a:cxn>
                <a:cxn ang="0">
                  <a:pos x="181" y="208"/>
                </a:cxn>
                <a:cxn ang="0">
                  <a:pos x="239" y="216"/>
                </a:cxn>
                <a:cxn ang="0">
                  <a:pos x="250" y="178"/>
                </a:cxn>
                <a:cxn ang="0">
                  <a:pos x="311" y="155"/>
                </a:cxn>
                <a:cxn ang="0">
                  <a:pos x="288" y="122"/>
                </a:cxn>
                <a:cxn ang="0">
                  <a:pos x="318" y="60"/>
                </a:cxn>
                <a:cxn ang="0">
                  <a:pos x="329" y="68"/>
                </a:cxn>
                <a:cxn ang="0">
                  <a:pos x="326" y="37"/>
                </a:cxn>
                <a:cxn ang="0">
                  <a:pos x="235" y="0"/>
                </a:cxn>
                <a:cxn ang="0">
                  <a:pos x="140" y="56"/>
                </a:cxn>
                <a:cxn ang="0">
                  <a:pos x="64" y="60"/>
                </a:cxn>
                <a:cxn ang="0">
                  <a:pos x="41" y="115"/>
                </a:cxn>
              </a:cxnLst>
              <a:rect l="0" t="0" r="r" b="b"/>
              <a:pathLst>
                <a:path w="329" h="270">
                  <a:moveTo>
                    <a:pt x="41" y="115"/>
                  </a:moveTo>
                  <a:lnTo>
                    <a:pt x="0" y="187"/>
                  </a:lnTo>
                  <a:lnTo>
                    <a:pt x="76" y="214"/>
                  </a:lnTo>
                  <a:lnTo>
                    <a:pt x="139" y="270"/>
                  </a:lnTo>
                  <a:lnTo>
                    <a:pt x="132" y="227"/>
                  </a:lnTo>
                  <a:lnTo>
                    <a:pt x="181" y="208"/>
                  </a:lnTo>
                  <a:lnTo>
                    <a:pt x="239" y="216"/>
                  </a:lnTo>
                  <a:lnTo>
                    <a:pt x="250" y="178"/>
                  </a:lnTo>
                  <a:lnTo>
                    <a:pt x="311" y="155"/>
                  </a:lnTo>
                  <a:lnTo>
                    <a:pt x="288" y="122"/>
                  </a:lnTo>
                  <a:lnTo>
                    <a:pt x="318" y="60"/>
                  </a:lnTo>
                  <a:lnTo>
                    <a:pt x="329" y="68"/>
                  </a:lnTo>
                  <a:lnTo>
                    <a:pt x="326" y="37"/>
                  </a:lnTo>
                  <a:lnTo>
                    <a:pt x="235" y="0"/>
                  </a:lnTo>
                  <a:lnTo>
                    <a:pt x="140" y="56"/>
                  </a:lnTo>
                  <a:lnTo>
                    <a:pt x="64" y="60"/>
                  </a:lnTo>
                  <a:lnTo>
                    <a:pt x="41" y="115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9" name="Freeform 269"/>
            <p:cNvSpPr>
              <a:spLocks noChangeAspect="1"/>
            </p:cNvSpPr>
            <p:nvPr/>
          </p:nvSpPr>
          <p:spPr bwMode="auto">
            <a:xfrm>
              <a:off x="1293652" y="2661340"/>
              <a:ext cx="425495" cy="308842"/>
            </a:xfrm>
            <a:custGeom>
              <a:avLst/>
              <a:gdLst/>
              <a:ahLst/>
              <a:cxnLst>
                <a:cxn ang="0">
                  <a:pos x="183" y="345"/>
                </a:cxn>
                <a:cxn ang="0">
                  <a:pos x="237" y="340"/>
                </a:cxn>
                <a:cxn ang="0">
                  <a:pos x="280" y="363"/>
                </a:cxn>
                <a:cxn ang="0">
                  <a:pos x="334" y="451"/>
                </a:cxn>
                <a:cxn ang="0">
                  <a:pos x="325" y="485"/>
                </a:cxn>
                <a:cxn ang="0">
                  <a:pos x="306" y="524"/>
                </a:cxn>
                <a:cxn ang="0">
                  <a:pos x="346" y="489"/>
                </a:cxn>
                <a:cxn ang="0">
                  <a:pos x="370" y="386"/>
                </a:cxn>
                <a:cxn ang="0">
                  <a:pos x="417" y="378"/>
                </a:cxn>
                <a:cxn ang="0">
                  <a:pos x="433" y="437"/>
                </a:cxn>
                <a:cxn ang="0">
                  <a:pos x="551" y="429"/>
                </a:cxn>
                <a:cxn ang="0">
                  <a:pos x="575" y="393"/>
                </a:cxn>
                <a:cxn ang="0">
                  <a:pos x="611" y="398"/>
                </a:cxn>
                <a:cxn ang="0">
                  <a:pos x="698" y="358"/>
                </a:cxn>
                <a:cxn ang="0">
                  <a:pos x="726" y="219"/>
                </a:cxn>
                <a:cxn ang="0">
                  <a:pos x="546" y="68"/>
                </a:cxn>
                <a:cxn ang="0">
                  <a:pos x="520" y="0"/>
                </a:cxn>
                <a:cxn ang="0">
                  <a:pos x="402" y="8"/>
                </a:cxn>
                <a:cxn ang="0">
                  <a:pos x="369" y="59"/>
                </a:cxn>
                <a:cxn ang="0">
                  <a:pos x="48" y="94"/>
                </a:cxn>
                <a:cxn ang="0">
                  <a:pos x="50" y="176"/>
                </a:cxn>
                <a:cxn ang="0">
                  <a:pos x="15" y="203"/>
                </a:cxn>
                <a:cxn ang="0">
                  <a:pos x="0" y="333"/>
                </a:cxn>
                <a:cxn ang="0">
                  <a:pos x="67" y="332"/>
                </a:cxn>
                <a:cxn ang="0">
                  <a:pos x="89" y="350"/>
                </a:cxn>
                <a:cxn ang="0">
                  <a:pos x="157" y="355"/>
                </a:cxn>
                <a:cxn ang="0">
                  <a:pos x="183" y="345"/>
                </a:cxn>
                <a:cxn ang="0">
                  <a:pos x="183" y="345"/>
                </a:cxn>
              </a:cxnLst>
              <a:rect l="0" t="0" r="r" b="b"/>
              <a:pathLst>
                <a:path w="726" h="524">
                  <a:moveTo>
                    <a:pt x="183" y="345"/>
                  </a:moveTo>
                  <a:lnTo>
                    <a:pt x="237" y="340"/>
                  </a:lnTo>
                  <a:lnTo>
                    <a:pt x="280" y="363"/>
                  </a:lnTo>
                  <a:lnTo>
                    <a:pt x="334" y="451"/>
                  </a:lnTo>
                  <a:lnTo>
                    <a:pt x="325" y="485"/>
                  </a:lnTo>
                  <a:lnTo>
                    <a:pt x="306" y="524"/>
                  </a:lnTo>
                  <a:lnTo>
                    <a:pt x="346" y="489"/>
                  </a:lnTo>
                  <a:lnTo>
                    <a:pt x="370" y="386"/>
                  </a:lnTo>
                  <a:lnTo>
                    <a:pt x="417" y="378"/>
                  </a:lnTo>
                  <a:lnTo>
                    <a:pt x="433" y="437"/>
                  </a:lnTo>
                  <a:lnTo>
                    <a:pt x="551" y="429"/>
                  </a:lnTo>
                  <a:lnTo>
                    <a:pt x="575" y="393"/>
                  </a:lnTo>
                  <a:lnTo>
                    <a:pt x="611" y="398"/>
                  </a:lnTo>
                  <a:lnTo>
                    <a:pt x="698" y="358"/>
                  </a:lnTo>
                  <a:lnTo>
                    <a:pt x="726" y="219"/>
                  </a:lnTo>
                  <a:lnTo>
                    <a:pt x="546" y="68"/>
                  </a:lnTo>
                  <a:lnTo>
                    <a:pt x="520" y="0"/>
                  </a:lnTo>
                  <a:lnTo>
                    <a:pt x="402" y="8"/>
                  </a:lnTo>
                  <a:lnTo>
                    <a:pt x="369" y="59"/>
                  </a:lnTo>
                  <a:lnTo>
                    <a:pt x="48" y="94"/>
                  </a:lnTo>
                  <a:lnTo>
                    <a:pt x="50" y="176"/>
                  </a:lnTo>
                  <a:lnTo>
                    <a:pt x="15" y="203"/>
                  </a:lnTo>
                  <a:lnTo>
                    <a:pt x="0" y="333"/>
                  </a:lnTo>
                  <a:lnTo>
                    <a:pt x="67" y="332"/>
                  </a:lnTo>
                  <a:lnTo>
                    <a:pt x="89" y="350"/>
                  </a:lnTo>
                  <a:lnTo>
                    <a:pt x="157" y="355"/>
                  </a:lnTo>
                  <a:lnTo>
                    <a:pt x="183" y="345"/>
                  </a:lnTo>
                  <a:lnTo>
                    <a:pt x="183" y="34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0" name="Freeform 270"/>
            <p:cNvSpPr>
              <a:spLocks noChangeAspect="1"/>
            </p:cNvSpPr>
            <p:nvPr/>
          </p:nvSpPr>
          <p:spPr bwMode="auto">
            <a:xfrm>
              <a:off x="1300685" y="2489169"/>
              <a:ext cx="251429" cy="227194"/>
            </a:xfrm>
            <a:custGeom>
              <a:avLst/>
              <a:gdLst/>
              <a:ahLst/>
              <a:cxnLst>
                <a:cxn ang="0">
                  <a:pos x="37" y="385"/>
                </a:cxn>
                <a:cxn ang="0">
                  <a:pos x="358" y="350"/>
                </a:cxn>
                <a:cxn ang="0">
                  <a:pos x="391" y="299"/>
                </a:cxn>
                <a:cxn ang="0">
                  <a:pos x="411" y="232"/>
                </a:cxn>
                <a:cxn ang="0">
                  <a:pos x="430" y="213"/>
                </a:cxn>
                <a:cxn ang="0">
                  <a:pos x="421" y="49"/>
                </a:cxn>
                <a:cxn ang="0">
                  <a:pos x="295" y="0"/>
                </a:cxn>
                <a:cxn ang="0">
                  <a:pos x="261" y="22"/>
                </a:cxn>
                <a:cxn ang="0">
                  <a:pos x="216" y="7"/>
                </a:cxn>
                <a:cxn ang="0">
                  <a:pos x="197" y="68"/>
                </a:cxn>
                <a:cxn ang="0">
                  <a:pos x="186" y="60"/>
                </a:cxn>
                <a:cxn ang="0">
                  <a:pos x="156" y="122"/>
                </a:cxn>
                <a:cxn ang="0">
                  <a:pos x="179" y="155"/>
                </a:cxn>
                <a:cxn ang="0">
                  <a:pos x="118" y="178"/>
                </a:cxn>
                <a:cxn ang="0">
                  <a:pos x="107" y="216"/>
                </a:cxn>
                <a:cxn ang="0">
                  <a:pos x="49" y="208"/>
                </a:cxn>
                <a:cxn ang="0">
                  <a:pos x="0" y="227"/>
                </a:cxn>
                <a:cxn ang="0">
                  <a:pos x="7" y="270"/>
                </a:cxn>
                <a:cxn ang="0">
                  <a:pos x="7" y="332"/>
                </a:cxn>
                <a:cxn ang="0">
                  <a:pos x="34" y="332"/>
                </a:cxn>
                <a:cxn ang="0">
                  <a:pos x="37" y="385"/>
                </a:cxn>
              </a:cxnLst>
              <a:rect l="0" t="0" r="r" b="b"/>
              <a:pathLst>
                <a:path w="430" h="385">
                  <a:moveTo>
                    <a:pt x="37" y="385"/>
                  </a:moveTo>
                  <a:lnTo>
                    <a:pt x="358" y="350"/>
                  </a:lnTo>
                  <a:lnTo>
                    <a:pt x="391" y="299"/>
                  </a:lnTo>
                  <a:lnTo>
                    <a:pt x="411" y="232"/>
                  </a:lnTo>
                  <a:lnTo>
                    <a:pt x="430" y="213"/>
                  </a:lnTo>
                  <a:lnTo>
                    <a:pt x="421" y="49"/>
                  </a:lnTo>
                  <a:lnTo>
                    <a:pt x="295" y="0"/>
                  </a:lnTo>
                  <a:lnTo>
                    <a:pt x="261" y="22"/>
                  </a:lnTo>
                  <a:lnTo>
                    <a:pt x="216" y="7"/>
                  </a:lnTo>
                  <a:lnTo>
                    <a:pt x="197" y="68"/>
                  </a:lnTo>
                  <a:lnTo>
                    <a:pt x="186" y="60"/>
                  </a:lnTo>
                  <a:lnTo>
                    <a:pt x="156" y="122"/>
                  </a:lnTo>
                  <a:lnTo>
                    <a:pt x="179" y="155"/>
                  </a:lnTo>
                  <a:lnTo>
                    <a:pt x="118" y="178"/>
                  </a:lnTo>
                  <a:lnTo>
                    <a:pt x="107" y="216"/>
                  </a:lnTo>
                  <a:lnTo>
                    <a:pt x="49" y="208"/>
                  </a:lnTo>
                  <a:lnTo>
                    <a:pt x="0" y="227"/>
                  </a:lnTo>
                  <a:lnTo>
                    <a:pt x="7" y="270"/>
                  </a:lnTo>
                  <a:lnTo>
                    <a:pt x="7" y="332"/>
                  </a:lnTo>
                  <a:lnTo>
                    <a:pt x="34" y="332"/>
                  </a:lnTo>
                  <a:lnTo>
                    <a:pt x="37" y="38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1" name="Freeform 271"/>
            <p:cNvSpPr>
              <a:spLocks noChangeAspect="1"/>
            </p:cNvSpPr>
            <p:nvPr/>
          </p:nvSpPr>
          <p:spPr bwMode="auto">
            <a:xfrm>
              <a:off x="6108846" y="2746209"/>
              <a:ext cx="65055" cy="67448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27" y="0"/>
                </a:cxn>
                <a:cxn ang="0">
                  <a:pos x="86" y="60"/>
                </a:cxn>
                <a:cxn ang="0">
                  <a:pos x="109" y="100"/>
                </a:cxn>
                <a:cxn ang="0">
                  <a:pos x="65" y="113"/>
                </a:cxn>
                <a:cxn ang="0">
                  <a:pos x="18" y="67"/>
                </a:cxn>
                <a:cxn ang="0">
                  <a:pos x="0" y="28"/>
                </a:cxn>
              </a:cxnLst>
              <a:rect l="0" t="0" r="r" b="b"/>
              <a:pathLst>
                <a:path w="109" h="113">
                  <a:moveTo>
                    <a:pt x="0" y="28"/>
                  </a:moveTo>
                  <a:lnTo>
                    <a:pt x="27" y="0"/>
                  </a:lnTo>
                  <a:lnTo>
                    <a:pt x="86" y="60"/>
                  </a:lnTo>
                  <a:lnTo>
                    <a:pt x="109" y="100"/>
                  </a:lnTo>
                  <a:lnTo>
                    <a:pt x="65" y="113"/>
                  </a:lnTo>
                  <a:lnTo>
                    <a:pt x="18" y="67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2" name="Freeform 272"/>
            <p:cNvSpPr>
              <a:spLocks noChangeAspect="1"/>
            </p:cNvSpPr>
            <p:nvPr/>
          </p:nvSpPr>
          <p:spPr bwMode="auto">
            <a:xfrm>
              <a:off x="1335850" y="3236426"/>
              <a:ext cx="66813" cy="19525"/>
            </a:xfrm>
            <a:custGeom>
              <a:avLst/>
              <a:gdLst/>
              <a:ahLst/>
              <a:cxnLst>
                <a:cxn ang="0">
                  <a:pos x="54" y="35"/>
                </a:cxn>
                <a:cxn ang="0">
                  <a:pos x="54" y="35"/>
                </a:cxn>
                <a:cxn ang="0">
                  <a:pos x="42" y="33"/>
                </a:cxn>
                <a:cxn ang="0">
                  <a:pos x="29" y="28"/>
                </a:cxn>
                <a:cxn ang="0">
                  <a:pos x="14" y="23"/>
                </a:cxn>
                <a:cxn ang="0">
                  <a:pos x="5" y="20"/>
                </a:cxn>
                <a:cxn ang="0">
                  <a:pos x="5" y="20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4" y="19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6"/>
                </a:cxn>
                <a:cxn ang="0">
                  <a:pos x="6" y="14"/>
                </a:cxn>
                <a:cxn ang="0">
                  <a:pos x="9" y="13"/>
                </a:cxn>
                <a:cxn ang="0">
                  <a:pos x="16" y="11"/>
                </a:cxn>
                <a:cxn ang="0">
                  <a:pos x="29" y="11"/>
                </a:cxn>
                <a:cxn ang="0">
                  <a:pos x="46" y="11"/>
                </a:cxn>
                <a:cxn ang="0">
                  <a:pos x="46" y="11"/>
                </a:cxn>
                <a:cxn ang="0">
                  <a:pos x="51" y="10"/>
                </a:cxn>
                <a:cxn ang="0">
                  <a:pos x="59" y="9"/>
                </a:cxn>
                <a:cxn ang="0">
                  <a:pos x="73" y="5"/>
                </a:cxn>
                <a:cxn ang="0">
                  <a:pos x="86" y="1"/>
                </a:cxn>
                <a:cxn ang="0">
                  <a:pos x="93" y="0"/>
                </a:cxn>
                <a:cxn ang="0">
                  <a:pos x="98" y="0"/>
                </a:cxn>
                <a:cxn ang="0">
                  <a:pos x="98" y="0"/>
                </a:cxn>
                <a:cxn ang="0">
                  <a:pos x="100" y="1"/>
                </a:cxn>
                <a:cxn ang="0">
                  <a:pos x="103" y="4"/>
                </a:cxn>
                <a:cxn ang="0">
                  <a:pos x="108" y="10"/>
                </a:cxn>
                <a:cxn ang="0">
                  <a:pos x="112" y="18"/>
                </a:cxn>
                <a:cxn ang="0">
                  <a:pos x="112" y="23"/>
                </a:cxn>
                <a:cxn ang="0">
                  <a:pos x="112" y="23"/>
                </a:cxn>
                <a:cxn ang="0">
                  <a:pos x="110" y="24"/>
                </a:cxn>
                <a:cxn ang="0">
                  <a:pos x="107" y="26"/>
                </a:cxn>
                <a:cxn ang="0">
                  <a:pos x="93" y="31"/>
                </a:cxn>
                <a:cxn ang="0">
                  <a:pos x="74" y="34"/>
                </a:cxn>
                <a:cxn ang="0">
                  <a:pos x="54" y="35"/>
                </a:cxn>
                <a:cxn ang="0">
                  <a:pos x="54" y="35"/>
                </a:cxn>
              </a:cxnLst>
              <a:rect l="0" t="0" r="r" b="b"/>
              <a:pathLst>
                <a:path w="112" h="35">
                  <a:moveTo>
                    <a:pt x="54" y="35"/>
                  </a:moveTo>
                  <a:lnTo>
                    <a:pt x="54" y="35"/>
                  </a:lnTo>
                  <a:lnTo>
                    <a:pt x="42" y="33"/>
                  </a:lnTo>
                  <a:lnTo>
                    <a:pt x="29" y="28"/>
                  </a:lnTo>
                  <a:lnTo>
                    <a:pt x="14" y="23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5" y="18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9" y="13"/>
                  </a:lnTo>
                  <a:lnTo>
                    <a:pt x="16" y="11"/>
                  </a:lnTo>
                  <a:lnTo>
                    <a:pt x="29" y="11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51" y="10"/>
                  </a:lnTo>
                  <a:lnTo>
                    <a:pt x="59" y="9"/>
                  </a:lnTo>
                  <a:lnTo>
                    <a:pt x="73" y="5"/>
                  </a:lnTo>
                  <a:lnTo>
                    <a:pt x="86" y="1"/>
                  </a:lnTo>
                  <a:lnTo>
                    <a:pt x="93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  <a:lnTo>
                    <a:pt x="103" y="4"/>
                  </a:lnTo>
                  <a:lnTo>
                    <a:pt x="108" y="10"/>
                  </a:lnTo>
                  <a:lnTo>
                    <a:pt x="112" y="18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0" y="24"/>
                  </a:lnTo>
                  <a:lnTo>
                    <a:pt x="107" y="26"/>
                  </a:lnTo>
                  <a:lnTo>
                    <a:pt x="93" y="31"/>
                  </a:lnTo>
                  <a:lnTo>
                    <a:pt x="74" y="34"/>
                  </a:lnTo>
                  <a:lnTo>
                    <a:pt x="54" y="35"/>
                  </a:lnTo>
                  <a:lnTo>
                    <a:pt x="54" y="3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3" name="Freeform 273"/>
            <p:cNvSpPr>
              <a:spLocks noChangeAspect="1"/>
            </p:cNvSpPr>
            <p:nvPr/>
          </p:nvSpPr>
          <p:spPr bwMode="auto">
            <a:xfrm>
              <a:off x="1402663" y="1569742"/>
              <a:ext cx="3862862" cy="1464339"/>
            </a:xfrm>
            <a:custGeom>
              <a:avLst/>
              <a:gdLst/>
              <a:ahLst/>
              <a:cxnLst>
                <a:cxn ang="0">
                  <a:pos x="1119" y="1805"/>
                </a:cxn>
                <a:cxn ang="0">
                  <a:pos x="1540" y="1941"/>
                </a:cxn>
                <a:cxn ang="0">
                  <a:pos x="1820" y="1798"/>
                </a:cxn>
                <a:cxn ang="0">
                  <a:pos x="2269" y="1862"/>
                </a:cxn>
                <a:cxn ang="0">
                  <a:pos x="2683" y="2119"/>
                </a:cxn>
                <a:cxn ang="0">
                  <a:pos x="3014" y="2053"/>
                </a:cxn>
                <a:cxn ang="0">
                  <a:pos x="3318" y="2004"/>
                </a:cxn>
                <a:cxn ang="0">
                  <a:pos x="3761" y="2019"/>
                </a:cxn>
                <a:cxn ang="0">
                  <a:pos x="3978" y="1829"/>
                </a:cxn>
                <a:cxn ang="0">
                  <a:pos x="4457" y="2111"/>
                </a:cxn>
                <a:cxn ang="0">
                  <a:pos x="4626" y="2355"/>
                </a:cxn>
                <a:cxn ang="0">
                  <a:pos x="4843" y="2217"/>
                </a:cxn>
                <a:cxn ang="0">
                  <a:pos x="4686" y="1814"/>
                </a:cxn>
                <a:cxn ang="0">
                  <a:pos x="4860" y="1431"/>
                </a:cxn>
                <a:cxn ang="0">
                  <a:pos x="5322" y="1292"/>
                </a:cxn>
                <a:cxn ang="0">
                  <a:pos x="5607" y="1332"/>
                </a:cxn>
                <a:cxn ang="0">
                  <a:pos x="5535" y="1912"/>
                </a:cxn>
                <a:cxn ang="0">
                  <a:pos x="5737" y="1612"/>
                </a:cxn>
                <a:cxn ang="0">
                  <a:pos x="5639" y="1504"/>
                </a:cxn>
                <a:cxn ang="0">
                  <a:pos x="5756" y="1356"/>
                </a:cxn>
                <a:cxn ang="0">
                  <a:pos x="6002" y="1237"/>
                </a:cxn>
                <a:cxn ang="0">
                  <a:pos x="6133" y="1023"/>
                </a:cxn>
                <a:cxn ang="0">
                  <a:pos x="6377" y="1027"/>
                </a:cxn>
                <a:cxn ang="0">
                  <a:pos x="6578" y="953"/>
                </a:cxn>
                <a:cxn ang="0">
                  <a:pos x="6247" y="806"/>
                </a:cxn>
                <a:cxn ang="0">
                  <a:pos x="5835" y="616"/>
                </a:cxn>
                <a:cxn ang="0">
                  <a:pos x="5334" y="644"/>
                </a:cxn>
                <a:cxn ang="0">
                  <a:pos x="4898" y="561"/>
                </a:cxn>
                <a:cxn ang="0">
                  <a:pos x="4425" y="391"/>
                </a:cxn>
                <a:cxn ang="0">
                  <a:pos x="4097" y="498"/>
                </a:cxn>
                <a:cxn ang="0">
                  <a:pos x="3868" y="368"/>
                </a:cxn>
                <a:cxn ang="0">
                  <a:pos x="3161" y="340"/>
                </a:cxn>
                <a:cxn ang="0">
                  <a:pos x="3172" y="134"/>
                </a:cxn>
                <a:cxn ang="0">
                  <a:pos x="2745" y="31"/>
                </a:cxn>
                <a:cxn ang="0">
                  <a:pos x="2517" y="130"/>
                </a:cxn>
                <a:cxn ang="0">
                  <a:pos x="2180" y="276"/>
                </a:cxn>
                <a:cxn ang="0">
                  <a:pos x="2070" y="454"/>
                </a:cxn>
                <a:cxn ang="0">
                  <a:pos x="1900" y="510"/>
                </a:cxn>
                <a:cxn ang="0">
                  <a:pos x="1761" y="482"/>
                </a:cxn>
                <a:cxn ang="0">
                  <a:pos x="1912" y="684"/>
                </a:cxn>
                <a:cxn ang="0">
                  <a:pos x="1951" y="774"/>
                </a:cxn>
                <a:cxn ang="0">
                  <a:pos x="1659" y="898"/>
                </a:cxn>
                <a:cxn ang="0">
                  <a:pos x="1777" y="778"/>
                </a:cxn>
                <a:cxn ang="0">
                  <a:pos x="1722" y="585"/>
                </a:cxn>
                <a:cxn ang="0">
                  <a:pos x="1481" y="537"/>
                </a:cxn>
                <a:cxn ang="0">
                  <a:pos x="1430" y="671"/>
                </a:cxn>
                <a:cxn ang="0">
                  <a:pos x="1181" y="708"/>
                </a:cxn>
                <a:cxn ang="0">
                  <a:pos x="793" y="846"/>
                </a:cxn>
                <a:cxn ang="0">
                  <a:pos x="644" y="889"/>
                </a:cxn>
                <a:cxn ang="0">
                  <a:pos x="482" y="1071"/>
                </a:cxn>
                <a:cxn ang="0">
                  <a:pos x="370" y="1115"/>
                </a:cxn>
                <a:cxn ang="0">
                  <a:pos x="438" y="909"/>
                </a:cxn>
                <a:cxn ang="0">
                  <a:pos x="64" y="749"/>
                </a:cxn>
                <a:cxn ang="0">
                  <a:pos x="163" y="1176"/>
                </a:cxn>
                <a:cxn ang="0">
                  <a:pos x="0" y="1416"/>
                </a:cxn>
                <a:cxn ang="0">
                  <a:pos x="361" y="1911"/>
                </a:cxn>
                <a:cxn ang="0">
                  <a:pos x="531" y="2407"/>
                </a:cxn>
                <a:cxn ang="0">
                  <a:pos x="900" y="2339"/>
                </a:cxn>
              </a:cxnLst>
              <a:rect l="0" t="0" r="r" b="b"/>
              <a:pathLst>
                <a:path w="6591" h="2473">
                  <a:moveTo>
                    <a:pt x="964" y="2280"/>
                  </a:moveTo>
                  <a:lnTo>
                    <a:pt x="999" y="2245"/>
                  </a:lnTo>
                  <a:lnTo>
                    <a:pt x="1018" y="2161"/>
                  </a:lnTo>
                  <a:lnTo>
                    <a:pt x="1059" y="2116"/>
                  </a:lnTo>
                  <a:lnTo>
                    <a:pt x="1055" y="2055"/>
                  </a:lnTo>
                  <a:lnTo>
                    <a:pt x="1003" y="2021"/>
                  </a:lnTo>
                  <a:lnTo>
                    <a:pt x="980" y="1969"/>
                  </a:lnTo>
                  <a:lnTo>
                    <a:pt x="1119" y="1805"/>
                  </a:lnTo>
                  <a:lnTo>
                    <a:pt x="1168" y="1862"/>
                  </a:lnTo>
                  <a:lnTo>
                    <a:pt x="1188" y="1824"/>
                  </a:lnTo>
                  <a:lnTo>
                    <a:pt x="1249" y="1809"/>
                  </a:lnTo>
                  <a:lnTo>
                    <a:pt x="1300" y="1819"/>
                  </a:lnTo>
                  <a:lnTo>
                    <a:pt x="1388" y="1824"/>
                  </a:lnTo>
                  <a:lnTo>
                    <a:pt x="1502" y="1896"/>
                  </a:lnTo>
                  <a:lnTo>
                    <a:pt x="1499" y="1926"/>
                  </a:lnTo>
                  <a:lnTo>
                    <a:pt x="1540" y="1941"/>
                  </a:lnTo>
                  <a:lnTo>
                    <a:pt x="1600" y="1933"/>
                  </a:lnTo>
                  <a:lnTo>
                    <a:pt x="1683" y="1984"/>
                  </a:lnTo>
                  <a:lnTo>
                    <a:pt x="1725" y="1999"/>
                  </a:lnTo>
                  <a:lnTo>
                    <a:pt x="1751" y="1972"/>
                  </a:lnTo>
                  <a:lnTo>
                    <a:pt x="1726" y="1915"/>
                  </a:lnTo>
                  <a:lnTo>
                    <a:pt x="1777" y="1888"/>
                  </a:lnTo>
                  <a:lnTo>
                    <a:pt x="1831" y="1862"/>
                  </a:lnTo>
                  <a:lnTo>
                    <a:pt x="1820" y="1798"/>
                  </a:lnTo>
                  <a:lnTo>
                    <a:pt x="1850" y="1790"/>
                  </a:lnTo>
                  <a:lnTo>
                    <a:pt x="1910" y="1805"/>
                  </a:lnTo>
                  <a:lnTo>
                    <a:pt x="2023" y="1817"/>
                  </a:lnTo>
                  <a:lnTo>
                    <a:pt x="2091" y="1802"/>
                  </a:lnTo>
                  <a:lnTo>
                    <a:pt x="2179" y="1787"/>
                  </a:lnTo>
                  <a:lnTo>
                    <a:pt x="2217" y="1820"/>
                  </a:lnTo>
                  <a:lnTo>
                    <a:pt x="2220" y="1858"/>
                  </a:lnTo>
                  <a:lnTo>
                    <a:pt x="2269" y="1862"/>
                  </a:lnTo>
                  <a:lnTo>
                    <a:pt x="2341" y="1836"/>
                  </a:lnTo>
                  <a:lnTo>
                    <a:pt x="2401" y="1836"/>
                  </a:lnTo>
                  <a:lnTo>
                    <a:pt x="2470" y="1965"/>
                  </a:lnTo>
                  <a:lnTo>
                    <a:pt x="2516" y="1969"/>
                  </a:lnTo>
                  <a:lnTo>
                    <a:pt x="2542" y="2003"/>
                  </a:lnTo>
                  <a:lnTo>
                    <a:pt x="2613" y="2033"/>
                  </a:lnTo>
                  <a:lnTo>
                    <a:pt x="2655" y="2143"/>
                  </a:lnTo>
                  <a:lnTo>
                    <a:pt x="2683" y="2119"/>
                  </a:lnTo>
                  <a:lnTo>
                    <a:pt x="2742" y="2104"/>
                  </a:lnTo>
                  <a:lnTo>
                    <a:pt x="2876" y="2092"/>
                  </a:lnTo>
                  <a:lnTo>
                    <a:pt x="2892" y="2112"/>
                  </a:lnTo>
                  <a:lnTo>
                    <a:pt x="2939" y="2119"/>
                  </a:lnTo>
                  <a:lnTo>
                    <a:pt x="2959" y="2139"/>
                  </a:lnTo>
                  <a:lnTo>
                    <a:pt x="3054" y="2128"/>
                  </a:lnTo>
                  <a:lnTo>
                    <a:pt x="3030" y="2077"/>
                  </a:lnTo>
                  <a:lnTo>
                    <a:pt x="3014" y="2053"/>
                  </a:lnTo>
                  <a:lnTo>
                    <a:pt x="3054" y="2049"/>
                  </a:lnTo>
                  <a:lnTo>
                    <a:pt x="3054" y="1970"/>
                  </a:lnTo>
                  <a:lnTo>
                    <a:pt x="3054" y="1890"/>
                  </a:lnTo>
                  <a:lnTo>
                    <a:pt x="3137" y="1921"/>
                  </a:lnTo>
                  <a:lnTo>
                    <a:pt x="3192" y="1925"/>
                  </a:lnTo>
                  <a:lnTo>
                    <a:pt x="3231" y="1964"/>
                  </a:lnTo>
                  <a:lnTo>
                    <a:pt x="3251" y="2004"/>
                  </a:lnTo>
                  <a:lnTo>
                    <a:pt x="3318" y="2004"/>
                  </a:lnTo>
                  <a:lnTo>
                    <a:pt x="3417" y="2011"/>
                  </a:lnTo>
                  <a:lnTo>
                    <a:pt x="3472" y="2043"/>
                  </a:lnTo>
                  <a:lnTo>
                    <a:pt x="3516" y="2055"/>
                  </a:lnTo>
                  <a:lnTo>
                    <a:pt x="3527" y="2090"/>
                  </a:lnTo>
                  <a:lnTo>
                    <a:pt x="3647" y="2075"/>
                  </a:lnTo>
                  <a:lnTo>
                    <a:pt x="3666" y="2043"/>
                  </a:lnTo>
                  <a:lnTo>
                    <a:pt x="3706" y="2067"/>
                  </a:lnTo>
                  <a:lnTo>
                    <a:pt x="3761" y="2019"/>
                  </a:lnTo>
                  <a:lnTo>
                    <a:pt x="3805" y="2015"/>
                  </a:lnTo>
                  <a:lnTo>
                    <a:pt x="3844" y="2039"/>
                  </a:lnTo>
                  <a:lnTo>
                    <a:pt x="3879" y="2075"/>
                  </a:lnTo>
                  <a:lnTo>
                    <a:pt x="3939" y="2075"/>
                  </a:lnTo>
                  <a:lnTo>
                    <a:pt x="3951" y="1987"/>
                  </a:lnTo>
                  <a:lnTo>
                    <a:pt x="3986" y="1956"/>
                  </a:lnTo>
                  <a:lnTo>
                    <a:pt x="3954" y="1877"/>
                  </a:lnTo>
                  <a:lnTo>
                    <a:pt x="3978" y="1829"/>
                  </a:lnTo>
                  <a:lnTo>
                    <a:pt x="4172" y="1834"/>
                  </a:lnTo>
                  <a:lnTo>
                    <a:pt x="4219" y="1884"/>
                  </a:lnTo>
                  <a:lnTo>
                    <a:pt x="4263" y="1925"/>
                  </a:lnTo>
                  <a:lnTo>
                    <a:pt x="4295" y="1964"/>
                  </a:lnTo>
                  <a:lnTo>
                    <a:pt x="4306" y="2019"/>
                  </a:lnTo>
                  <a:lnTo>
                    <a:pt x="4342" y="2063"/>
                  </a:lnTo>
                  <a:lnTo>
                    <a:pt x="4421" y="2079"/>
                  </a:lnTo>
                  <a:lnTo>
                    <a:pt x="4457" y="2111"/>
                  </a:lnTo>
                  <a:lnTo>
                    <a:pt x="4495" y="2138"/>
                  </a:lnTo>
                  <a:lnTo>
                    <a:pt x="4512" y="2166"/>
                  </a:lnTo>
                  <a:lnTo>
                    <a:pt x="4559" y="2170"/>
                  </a:lnTo>
                  <a:lnTo>
                    <a:pt x="4639" y="2154"/>
                  </a:lnTo>
                  <a:lnTo>
                    <a:pt x="4654" y="2177"/>
                  </a:lnTo>
                  <a:lnTo>
                    <a:pt x="4662" y="2217"/>
                  </a:lnTo>
                  <a:lnTo>
                    <a:pt x="4630" y="2241"/>
                  </a:lnTo>
                  <a:lnTo>
                    <a:pt x="4626" y="2355"/>
                  </a:lnTo>
                  <a:lnTo>
                    <a:pt x="4583" y="2348"/>
                  </a:lnTo>
                  <a:lnTo>
                    <a:pt x="4559" y="2394"/>
                  </a:lnTo>
                  <a:lnTo>
                    <a:pt x="4563" y="2446"/>
                  </a:lnTo>
                  <a:lnTo>
                    <a:pt x="4607" y="2455"/>
                  </a:lnTo>
                  <a:lnTo>
                    <a:pt x="4662" y="2473"/>
                  </a:lnTo>
                  <a:lnTo>
                    <a:pt x="4736" y="2418"/>
                  </a:lnTo>
                  <a:lnTo>
                    <a:pt x="4793" y="2324"/>
                  </a:lnTo>
                  <a:lnTo>
                    <a:pt x="4843" y="2217"/>
                  </a:lnTo>
                  <a:lnTo>
                    <a:pt x="4883" y="2114"/>
                  </a:lnTo>
                  <a:lnTo>
                    <a:pt x="4860" y="2008"/>
                  </a:lnTo>
                  <a:lnTo>
                    <a:pt x="4876" y="1976"/>
                  </a:lnTo>
                  <a:lnTo>
                    <a:pt x="4863" y="1862"/>
                  </a:lnTo>
                  <a:lnTo>
                    <a:pt x="4816" y="1790"/>
                  </a:lnTo>
                  <a:lnTo>
                    <a:pt x="4742" y="1766"/>
                  </a:lnTo>
                  <a:lnTo>
                    <a:pt x="4718" y="1810"/>
                  </a:lnTo>
                  <a:lnTo>
                    <a:pt x="4686" y="1814"/>
                  </a:lnTo>
                  <a:lnTo>
                    <a:pt x="4677" y="1770"/>
                  </a:lnTo>
                  <a:lnTo>
                    <a:pt x="4607" y="1735"/>
                  </a:lnTo>
                  <a:lnTo>
                    <a:pt x="4595" y="1700"/>
                  </a:lnTo>
                  <a:lnTo>
                    <a:pt x="4639" y="1656"/>
                  </a:lnTo>
                  <a:lnTo>
                    <a:pt x="4690" y="1573"/>
                  </a:lnTo>
                  <a:lnTo>
                    <a:pt x="4718" y="1514"/>
                  </a:lnTo>
                  <a:lnTo>
                    <a:pt x="4753" y="1459"/>
                  </a:lnTo>
                  <a:lnTo>
                    <a:pt x="4860" y="1431"/>
                  </a:lnTo>
                  <a:lnTo>
                    <a:pt x="4946" y="1426"/>
                  </a:lnTo>
                  <a:lnTo>
                    <a:pt x="5065" y="1439"/>
                  </a:lnTo>
                  <a:lnTo>
                    <a:pt x="5093" y="1391"/>
                  </a:lnTo>
                  <a:lnTo>
                    <a:pt x="5180" y="1411"/>
                  </a:lnTo>
                  <a:lnTo>
                    <a:pt x="5180" y="1442"/>
                  </a:lnTo>
                  <a:lnTo>
                    <a:pt x="5294" y="1422"/>
                  </a:lnTo>
                  <a:lnTo>
                    <a:pt x="5303" y="1367"/>
                  </a:lnTo>
                  <a:lnTo>
                    <a:pt x="5322" y="1292"/>
                  </a:lnTo>
                  <a:lnTo>
                    <a:pt x="5345" y="1249"/>
                  </a:lnTo>
                  <a:lnTo>
                    <a:pt x="5465" y="1249"/>
                  </a:lnTo>
                  <a:lnTo>
                    <a:pt x="5504" y="1296"/>
                  </a:lnTo>
                  <a:lnTo>
                    <a:pt x="5531" y="1308"/>
                  </a:lnTo>
                  <a:lnTo>
                    <a:pt x="5571" y="1237"/>
                  </a:lnTo>
                  <a:lnTo>
                    <a:pt x="5603" y="1225"/>
                  </a:lnTo>
                  <a:lnTo>
                    <a:pt x="5630" y="1281"/>
                  </a:lnTo>
                  <a:lnTo>
                    <a:pt x="5607" y="1332"/>
                  </a:lnTo>
                  <a:lnTo>
                    <a:pt x="5544" y="1383"/>
                  </a:lnTo>
                  <a:lnTo>
                    <a:pt x="5487" y="1466"/>
                  </a:lnTo>
                  <a:lnTo>
                    <a:pt x="5441" y="1529"/>
                  </a:lnTo>
                  <a:lnTo>
                    <a:pt x="5432" y="1621"/>
                  </a:lnTo>
                  <a:lnTo>
                    <a:pt x="5445" y="1719"/>
                  </a:lnTo>
                  <a:lnTo>
                    <a:pt x="5484" y="1787"/>
                  </a:lnTo>
                  <a:lnTo>
                    <a:pt x="5504" y="1866"/>
                  </a:lnTo>
                  <a:lnTo>
                    <a:pt x="5535" y="1912"/>
                  </a:lnTo>
                  <a:lnTo>
                    <a:pt x="5575" y="1936"/>
                  </a:lnTo>
                  <a:lnTo>
                    <a:pt x="5618" y="1866"/>
                  </a:lnTo>
                  <a:lnTo>
                    <a:pt x="5662" y="1778"/>
                  </a:lnTo>
                  <a:lnTo>
                    <a:pt x="5662" y="1728"/>
                  </a:lnTo>
                  <a:lnTo>
                    <a:pt x="5709" y="1728"/>
                  </a:lnTo>
                  <a:lnTo>
                    <a:pt x="5701" y="1663"/>
                  </a:lnTo>
                  <a:lnTo>
                    <a:pt x="5709" y="1616"/>
                  </a:lnTo>
                  <a:lnTo>
                    <a:pt x="5737" y="1612"/>
                  </a:lnTo>
                  <a:lnTo>
                    <a:pt x="5717" y="1577"/>
                  </a:lnTo>
                  <a:lnTo>
                    <a:pt x="5666" y="1522"/>
                  </a:lnTo>
                  <a:lnTo>
                    <a:pt x="5666" y="1522"/>
                  </a:lnTo>
                  <a:lnTo>
                    <a:pt x="5662" y="1520"/>
                  </a:lnTo>
                  <a:lnTo>
                    <a:pt x="5652" y="1517"/>
                  </a:lnTo>
                  <a:lnTo>
                    <a:pt x="5647" y="1514"/>
                  </a:lnTo>
                  <a:lnTo>
                    <a:pt x="5643" y="1510"/>
                  </a:lnTo>
                  <a:lnTo>
                    <a:pt x="5639" y="1504"/>
                  </a:lnTo>
                  <a:lnTo>
                    <a:pt x="5638" y="1498"/>
                  </a:lnTo>
                  <a:lnTo>
                    <a:pt x="5638" y="1498"/>
                  </a:lnTo>
                  <a:lnTo>
                    <a:pt x="5639" y="1489"/>
                  </a:lnTo>
                  <a:lnTo>
                    <a:pt x="5640" y="1479"/>
                  </a:lnTo>
                  <a:lnTo>
                    <a:pt x="5645" y="1455"/>
                  </a:lnTo>
                  <a:lnTo>
                    <a:pt x="5654" y="1426"/>
                  </a:lnTo>
                  <a:lnTo>
                    <a:pt x="5682" y="1391"/>
                  </a:lnTo>
                  <a:lnTo>
                    <a:pt x="5756" y="1356"/>
                  </a:lnTo>
                  <a:lnTo>
                    <a:pt x="5796" y="1328"/>
                  </a:lnTo>
                  <a:lnTo>
                    <a:pt x="5851" y="1316"/>
                  </a:lnTo>
                  <a:lnTo>
                    <a:pt x="5887" y="1328"/>
                  </a:lnTo>
                  <a:lnTo>
                    <a:pt x="5919" y="1367"/>
                  </a:lnTo>
                  <a:lnTo>
                    <a:pt x="5942" y="1387"/>
                  </a:lnTo>
                  <a:lnTo>
                    <a:pt x="5969" y="1304"/>
                  </a:lnTo>
                  <a:lnTo>
                    <a:pt x="5993" y="1281"/>
                  </a:lnTo>
                  <a:lnTo>
                    <a:pt x="6002" y="1237"/>
                  </a:lnTo>
                  <a:lnTo>
                    <a:pt x="6065" y="1240"/>
                  </a:lnTo>
                  <a:lnTo>
                    <a:pt x="6124" y="1198"/>
                  </a:lnTo>
                  <a:lnTo>
                    <a:pt x="6160" y="1190"/>
                  </a:lnTo>
                  <a:lnTo>
                    <a:pt x="6227" y="1218"/>
                  </a:lnTo>
                  <a:lnTo>
                    <a:pt x="6243" y="1181"/>
                  </a:lnTo>
                  <a:lnTo>
                    <a:pt x="6183" y="1106"/>
                  </a:lnTo>
                  <a:lnTo>
                    <a:pt x="6100" y="1051"/>
                  </a:lnTo>
                  <a:lnTo>
                    <a:pt x="6133" y="1023"/>
                  </a:lnTo>
                  <a:lnTo>
                    <a:pt x="6188" y="988"/>
                  </a:lnTo>
                  <a:lnTo>
                    <a:pt x="6168" y="957"/>
                  </a:lnTo>
                  <a:lnTo>
                    <a:pt x="6168" y="905"/>
                  </a:lnTo>
                  <a:lnTo>
                    <a:pt x="6219" y="889"/>
                  </a:lnTo>
                  <a:lnTo>
                    <a:pt x="6238" y="944"/>
                  </a:lnTo>
                  <a:lnTo>
                    <a:pt x="6254" y="988"/>
                  </a:lnTo>
                  <a:lnTo>
                    <a:pt x="6341" y="992"/>
                  </a:lnTo>
                  <a:lnTo>
                    <a:pt x="6377" y="1027"/>
                  </a:lnTo>
                  <a:lnTo>
                    <a:pt x="6436" y="1032"/>
                  </a:lnTo>
                  <a:lnTo>
                    <a:pt x="6468" y="1078"/>
                  </a:lnTo>
                  <a:lnTo>
                    <a:pt x="6499" y="1091"/>
                  </a:lnTo>
                  <a:lnTo>
                    <a:pt x="6539" y="1051"/>
                  </a:lnTo>
                  <a:lnTo>
                    <a:pt x="6499" y="1004"/>
                  </a:lnTo>
                  <a:lnTo>
                    <a:pt x="6512" y="968"/>
                  </a:lnTo>
                  <a:lnTo>
                    <a:pt x="6547" y="968"/>
                  </a:lnTo>
                  <a:lnTo>
                    <a:pt x="6578" y="953"/>
                  </a:lnTo>
                  <a:lnTo>
                    <a:pt x="6591" y="892"/>
                  </a:lnTo>
                  <a:lnTo>
                    <a:pt x="6503" y="892"/>
                  </a:lnTo>
                  <a:lnTo>
                    <a:pt x="6451" y="861"/>
                  </a:lnTo>
                  <a:lnTo>
                    <a:pt x="6381" y="870"/>
                  </a:lnTo>
                  <a:lnTo>
                    <a:pt x="6361" y="901"/>
                  </a:lnTo>
                  <a:lnTo>
                    <a:pt x="6333" y="850"/>
                  </a:lnTo>
                  <a:lnTo>
                    <a:pt x="6313" y="822"/>
                  </a:lnTo>
                  <a:lnTo>
                    <a:pt x="6247" y="806"/>
                  </a:lnTo>
                  <a:lnTo>
                    <a:pt x="6238" y="767"/>
                  </a:lnTo>
                  <a:lnTo>
                    <a:pt x="6148" y="767"/>
                  </a:lnTo>
                  <a:lnTo>
                    <a:pt x="6109" y="719"/>
                  </a:lnTo>
                  <a:lnTo>
                    <a:pt x="6045" y="688"/>
                  </a:lnTo>
                  <a:lnTo>
                    <a:pt x="5989" y="679"/>
                  </a:lnTo>
                  <a:lnTo>
                    <a:pt x="5927" y="656"/>
                  </a:lnTo>
                  <a:lnTo>
                    <a:pt x="5899" y="636"/>
                  </a:lnTo>
                  <a:lnTo>
                    <a:pt x="5835" y="616"/>
                  </a:lnTo>
                  <a:lnTo>
                    <a:pt x="5752" y="616"/>
                  </a:lnTo>
                  <a:lnTo>
                    <a:pt x="5650" y="605"/>
                  </a:lnTo>
                  <a:lnTo>
                    <a:pt x="5638" y="668"/>
                  </a:lnTo>
                  <a:lnTo>
                    <a:pt x="5590" y="675"/>
                  </a:lnTo>
                  <a:lnTo>
                    <a:pt x="5563" y="644"/>
                  </a:lnTo>
                  <a:lnTo>
                    <a:pt x="5511" y="656"/>
                  </a:lnTo>
                  <a:lnTo>
                    <a:pt x="5445" y="633"/>
                  </a:lnTo>
                  <a:lnTo>
                    <a:pt x="5334" y="644"/>
                  </a:lnTo>
                  <a:lnTo>
                    <a:pt x="5310" y="684"/>
                  </a:lnTo>
                  <a:lnTo>
                    <a:pt x="5270" y="671"/>
                  </a:lnTo>
                  <a:lnTo>
                    <a:pt x="5219" y="629"/>
                  </a:lnTo>
                  <a:lnTo>
                    <a:pt x="5168" y="572"/>
                  </a:lnTo>
                  <a:lnTo>
                    <a:pt x="5042" y="545"/>
                  </a:lnTo>
                  <a:lnTo>
                    <a:pt x="4998" y="557"/>
                  </a:lnTo>
                  <a:lnTo>
                    <a:pt x="4970" y="569"/>
                  </a:lnTo>
                  <a:lnTo>
                    <a:pt x="4898" y="561"/>
                  </a:lnTo>
                  <a:lnTo>
                    <a:pt x="4812" y="513"/>
                  </a:lnTo>
                  <a:lnTo>
                    <a:pt x="4757" y="486"/>
                  </a:lnTo>
                  <a:lnTo>
                    <a:pt x="4745" y="462"/>
                  </a:lnTo>
                  <a:lnTo>
                    <a:pt x="4611" y="462"/>
                  </a:lnTo>
                  <a:lnTo>
                    <a:pt x="4571" y="478"/>
                  </a:lnTo>
                  <a:lnTo>
                    <a:pt x="4532" y="430"/>
                  </a:lnTo>
                  <a:lnTo>
                    <a:pt x="4457" y="430"/>
                  </a:lnTo>
                  <a:lnTo>
                    <a:pt x="4425" y="391"/>
                  </a:lnTo>
                  <a:lnTo>
                    <a:pt x="4381" y="415"/>
                  </a:lnTo>
                  <a:lnTo>
                    <a:pt x="4342" y="443"/>
                  </a:lnTo>
                  <a:lnTo>
                    <a:pt x="4370" y="506"/>
                  </a:lnTo>
                  <a:lnTo>
                    <a:pt x="4311" y="517"/>
                  </a:lnTo>
                  <a:lnTo>
                    <a:pt x="4239" y="506"/>
                  </a:lnTo>
                  <a:lnTo>
                    <a:pt x="4184" y="502"/>
                  </a:lnTo>
                  <a:lnTo>
                    <a:pt x="4148" y="522"/>
                  </a:lnTo>
                  <a:lnTo>
                    <a:pt x="4097" y="498"/>
                  </a:lnTo>
                  <a:lnTo>
                    <a:pt x="4070" y="467"/>
                  </a:lnTo>
                  <a:lnTo>
                    <a:pt x="4061" y="517"/>
                  </a:lnTo>
                  <a:lnTo>
                    <a:pt x="3991" y="526"/>
                  </a:lnTo>
                  <a:lnTo>
                    <a:pt x="3899" y="494"/>
                  </a:lnTo>
                  <a:lnTo>
                    <a:pt x="3844" y="474"/>
                  </a:lnTo>
                  <a:lnTo>
                    <a:pt x="3860" y="443"/>
                  </a:lnTo>
                  <a:lnTo>
                    <a:pt x="3899" y="430"/>
                  </a:lnTo>
                  <a:lnTo>
                    <a:pt x="3868" y="368"/>
                  </a:lnTo>
                  <a:lnTo>
                    <a:pt x="3792" y="340"/>
                  </a:lnTo>
                  <a:lnTo>
                    <a:pt x="3693" y="348"/>
                  </a:lnTo>
                  <a:lnTo>
                    <a:pt x="3662" y="423"/>
                  </a:lnTo>
                  <a:lnTo>
                    <a:pt x="3588" y="395"/>
                  </a:lnTo>
                  <a:lnTo>
                    <a:pt x="3520" y="364"/>
                  </a:lnTo>
                  <a:lnTo>
                    <a:pt x="3417" y="340"/>
                  </a:lnTo>
                  <a:lnTo>
                    <a:pt x="3227" y="340"/>
                  </a:lnTo>
                  <a:lnTo>
                    <a:pt x="3161" y="340"/>
                  </a:lnTo>
                  <a:lnTo>
                    <a:pt x="3093" y="368"/>
                  </a:lnTo>
                  <a:lnTo>
                    <a:pt x="2999" y="399"/>
                  </a:lnTo>
                  <a:lnTo>
                    <a:pt x="3045" y="344"/>
                  </a:lnTo>
                  <a:lnTo>
                    <a:pt x="3141" y="296"/>
                  </a:lnTo>
                  <a:lnTo>
                    <a:pt x="3180" y="276"/>
                  </a:lnTo>
                  <a:lnTo>
                    <a:pt x="3227" y="229"/>
                  </a:lnTo>
                  <a:lnTo>
                    <a:pt x="3235" y="162"/>
                  </a:lnTo>
                  <a:lnTo>
                    <a:pt x="3172" y="134"/>
                  </a:lnTo>
                  <a:lnTo>
                    <a:pt x="3145" y="91"/>
                  </a:lnTo>
                  <a:lnTo>
                    <a:pt x="2994" y="79"/>
                  </a:lnTo>
                  <a:lnTo>
                    <a:pt x="2966" y="110"/>
                  </a:lnTo>
                  <a:lnTo>
                    <a:pt x="2915" y="86"/>
                  </a:lnTo>
                  <a:lnTo>
                    <a:pt x="2896" y="51"/>
                  </a:lnTo>
                  <a:lnTo>
                    <a:pt x="2856" y="20"/>
                  </a:lnTo>
                  <a:lnTo>
                    <a:pt x="2821" y="0"/>
                  </a:lnTo>
                  <a:lnTo>
                    <a:pt x="2745" y="31"/>
                  </a:lnTo>
                  <a:lnTo>
                    <a:pt x="2729" y="91"/>
                  </a:lnTo>
                  <a:lnTo>
                    <a:pt x="2714" y="114"/>
                  </a:lnTo>
                  <a:lnTo>
                    <a:pt x="2749" y="127"/>
                  </a:lnTo>
                  <a:lnTo>
                    <a:pt x="2698" y="154"/>
                  </a:lnTo>
                  <a:lnTo>
                    <a:pt x="2624" y="138"/>
                  </a:lnTo>
                  <a:lnTo>
                    <a:pt x="2572" y="147"/>
                  </a:lnTo>
                  <a:lnTo>
                    <a:pt x="2548" y="169"/>
                  </a:lnTo>
                  <a:lnTo>
                    <a:pt x="2517" y="130"/>
                  </a:lnTo>
                  <a:lnTo>
                    <a:pt x="2473" y="150"/>
                  </a:lnTo>
                  <a:lnTo>
                    <a:pt x="2433" y="138"/>
                  </a:lnTo>
                  <a:lnTo>
                    <a:pt x="2429" y="178"/>
                  </a:lnTo>
                  <a:lnTo>
                    <a:pt x="2350" y="182"/>
                  </a:lnTo>
                  <a:lnTo>
                    <a:pt x="2280" y="189"/>
                  </a:lnTo>
                  <a:lnTo>
                    <a:pt x="2232" y="217"/>
                  </a:lnTo>
                  <a:lnTo>
                    <a:pt x="2180" y="237"/>
                  </a:lnTo>
                  <a:lnTo>
                    <a:pt x="2180" y="276"/>
                  </a:lnTo>
                  <a:lnTo>
                    <a:pt x="2219" y="289"/>
                  </a:lnTo>
                  <a:lnTo>
                    <a:pt x="2232" y="340"/>
                  </a:lnTo>
                  <a:lnTo>
                    <a:pt x="2160" y="331"/>
                  </a:lnTo>
                  <a:lnTo>
                    <a:pt x="2070" y="336"/>
                  </a:lnTo>
                  <a:lnTo>
                    <a:pt x="2018" y="355"/>
                  </a:lnTo>
                  <a:lnTo>
                    <a:pt x="2007" y="407"/>
                  </a:lnTo>
                  <a:lnTo>
                    <a:pt x="2030" y="450"/>
                  </a:lnTo>
                  <a:lnTo>
                    <a:pt x="2070" y="454"/>
                  </a:lnTo>
                  <a:lnTo>
                    <a:pt x="2101" y="494"/>
                  </a:lnTo>
                  <a:lnTo>
                    <a:pt x="2129" y="545"/>
                  </a:lnTo>
                  <a:lnTo>
                    <a:pt x="2125" y="585"/>
                  </a:lnTo>
                  <a:lnTo>
                    <a:pt x="2057" y="517"/>
                  </a:lnTo>
                  <a:lnTo>
                    <a:pt x="1991" y="498"/>
                  </a:lnTo>
                  <a:lnTo>
                    <a:pt x="1959" y="454"/>
                  </a:lnTo>
                  <a:lnTo>
                    <a:pt x="1919" y="458"/>
                  </a:lnTo>
                  <a:lnTo>
                    <a:pt x="1900" y="510"/>
                  </a:lnTo>
                  <a:lnTo>
                    <a:pt x="1919" y="537"/>
                  </a:lnTo>
                  <a:lnTo>
                    <a:pt x="1923" y="565"/>
                  </a:lnTo>
                  <a:lnTo>
                    <a:pt x="1868" y="545"/>
                  </a:lnTo>
                  <a:lnTo>
                    <a:pt x="1812" y="498"/>
                  </a:lnTo>
                  <a:lnTo>
                    <a:pt x="1805" y="438"/>
                  </a:lnTo>
                  <a:lnTo>
                    <a:pt x="1781" y="403"/>
                  </a:lnTo>
                  <a:lnTo>
                    <a:pt x="1753" y="434"/>
                  </a:lnTo>
                  <a:lnTo>
                    <a:pt x="1761" y="482"/>
                  </a:lnTo>
                  <a:lnTo>
                    <a:pt x="1753" y="513"/>
                  </a:lnTo>
                  <a:lnTo>
                    <a:pt x="1761" y="545"/>
                  </a:lnTo>
                  <a:lnTo>
                    <a:pt x="1785" y="553"/>
                  </a:lnTo>
                  <a:lnTo>
                    <a:pt x="1794" y="640"/>
                  </a:lnTo>
                  <a:lnTo>
                    <a:pt x="1801" y="684"/>
                  </a:lnTo>
                  <a:lnTo>
                    <a:pt x="1860" y="692"/>
                  </a:lnTo>
                  <a:lnTo>
                    <a:pt x="1868" y="668"/>
                  </a:lnTo>
                  <a:lnTo>
                    <a:pt x="1912" y="684"/>
                  </a:lnTo>
                  <a:lnTo>
                    <a:pt x="1939" y="695"/>
                  </a:lnTo>
                  <a:lnTo>
                    <a:pt x="1959" y="723"/>
                  </a:lnTo>
                  <a:lnTo>
                    <a:pt x="1971" y="767"/>
                  </a:lnTo>
                  <a:lnTo>
                    <a:pt x="1995" y="786"/>
                  </a:lnTo>
                  <a:lnTo>
                    <a:pt x="2022" y="802"/>
                  </a:lnTo>
                  <a:lnTo>
                    <a:pt x="2022" y="833"/>
                  </a:lnTo>
                  <a:lnTo>
                    <a:pt x="1983" y="810"/>
                  </a:lnTo>
                  <a:lnTo>
                    <a:pt x="1951" y="774"/>
                  </a:lnTo>
                  <a:lnTo>
                    <a:pt x="1904" y="739"/>
                  </a:lnTo>
                  <a:lnTo>
                    <a:pt x="1856" y="739"/>
                  </a:lnTo>
                  <a:lnTo>
                    <a:pt x="1849" y="754"/>
                  </a:lnTo>
                  <a:lnTo>
                    <a:pt x="1840" y="791"/>
                  </a:lnTo>
                  <a:lnTo>
                    <a:pt x="1816" y="842"/>
                  </a:lnTo>
                  <a:lnTo>
                    <a:pt x="1785" y="901"/>
                  </a:lnTo>
                  <a:lnTo>
                    <a:pt x="1733" y="920"/>
                  </a:lnTo>
                  <a:lnTo>
                    <a:pt x="1659" y="898"/>
                  </a:lnTo>
                  <a:lnTo>
                    <a:pt x="1671" y="870"/>
                  </a:lnTo>
                  <a:lnTo>
                    <a:pt x="1718" y="854"/>
                  </a:lnTo>
                  <a:lnTo>
                    <a:pt x="1761" y="830"/>
                  </a:lnTo>
                  <a:lnTo>
                    <a:pt x="1761" y="830"/>
                  </a:lnTo>
                  <a:lnTo>
                    <a:pt x="1770" y="810"/>
                  </a:lnTo>
                  <a:lnTo>
                    <a:pt x="1775" y="793"/>
                  </a:lnTo>
                  <a:lnTo>
                    <a:pt x="1776" y="786"/>
                  </a:lnTo>
                  <a:lnTo>
                    <a:pt x="1777" y="778"/>
                  </a:lnTo>
                  <a:lnTo>
                    <a:pt x="1777" y="778"/>
                  </a:lnTo>
                  <a:lnTo>
                    <a:pt x="1776" y="771"/>
                  </a:lnTo>
                  <a:lnTo>
                    <a:pt x="1774" y="761"/>
                  </a:lnTo>
                  <a:lnTo>
                    <a:pt x="1766" y="737"/>
                  </a:lnTo>
                  <a:lnTo>
                    <a:pt x="1753" y="708"/>
                  </a:lnTo>
                  <a:lnTo>
                    <a:pt x="1737" y="664"/>
                  </a:lnTo>
                  <a:lnTo>
                    <a:pt x="1737" y="629"/>
                  </a:lnTo>
                  <a:lnTo>
                    <a:pt x="1722" y="585"/>
                  </a:lnTo>
                  <a:lnTo>
                    <a:pt x="1710" y="530"/>
                  </a:lnTo>
                  <a:lnTo>
                    <a:pt x="1691" y="450"/>
                  </a:lnTo>
                  <a:lnTo>
                    <a:pt x="1674" y="391"/>
                  </a:lnTo>
                  <a:lnTo>
                    <a:pt x="1635" y="344"/>
                  </a:lnTo>
                  <a:lnTo>
                    <a:pt x="1575" y="351"/>
                  </a:lnTo>
                  <a:lnTo>
                    <a:pt x="1544" y="427"/>
                  </a:lnTo>
                  <a:lnTo>
                    <a:pt x="1532" y="506"/>
                  </a:lnTo>
                  <a:lnTo>
                    <a:pt x="1481" y="537"/>
                  </a:lnTo>
                  <a:lnTo>
                    <a:pt x="1485" y="589"/>
                  </a:lnTo>
                  <a:lnTo>
                    <a:pt x="1516" y="636"/>
                  </a:lnTo>
                  <a:lnTo>
                    <a:pt x="1553" y="688"/>
                  </a:lnTo>
                  <a:lnTo>
                    <a:pt x="1580" y="723"/>
                  </a:lnTo>
                  <a:lnTo>
                    <a:pt x="1591" y="758"/>
                  </a:lnTo>
                  <a:lnTo>
                    <a:pt x="1548" y="774"/>
                  </a:lnTo>
                  <a:lnTo>
                    <a:pt x="1505" y="715"/>
                  </a:lnTo>
                  <a:lnTo>
                    <a:pt x="1430" y="671"/>
                  </a:lnTo>
                  <a:lnTo>
                    <a:pt x="1339" y="648"/>
                  </a:lnTo>
                  <a:lnTo>
                    <a:pt x="1264" y="644"/>
                  </a:lnTo>
                  <a:lnTo>
                    <a:pt x="1244" y="675"/>
                  </a:lnTo>
                  <a:lnTo>
                    <a:pt x="1268" y="692"/>
                  </a:lnTo>
                  <a:lnTo>
                    <a:pt x="1264" y="751"/>
                  </a:lnTo>
                  <a:lnTo>
                    <a:pt x="1224" y="763"/>
                  </a:lnTo>
                  <a:lnTo>
                    <a:pt x="1212" y="712"/>
                  </a:lnTo>
                  <a:lnTo>
                    <a:pt x="1181" y="708"/>
                  </a:lnTo>
                  <a:lnTo>
                    <a:pt x="1148" y="747"/>
                  </a:lnTo>
                  <a:lnTo>
                    <a:pt x="1054" y="747"/>
                  </a:lnTo>
                  <a:lnTo>
                    <a:pt x="1019" y="786"/>
                  </a:lnTo>
                  <a:lnTo>
                    <a:pt x="991" y="739"/>
                  </a:lnTo>
                  <a:lnTo>
                    <a:pt x="959" y="747"/>
                  </a:lnTo>
                  <a:lnTo>
                    <a:pt x="907" y="771"/>
                  </a:lnTo>
                  <a:lnTo>
                    <a:pt x="857" y="791"/>
                  </a:lnTo>
                  <a:lnTo>
                    <a:pt x="793" y="846"/>
                  </a:lnTo>
                  <a:lnTo>
                    <a:pt x="726" y="877"/>
                  </a:lnTo>
                  <a:lnTo>
                    <a:pt x="703" y="833"/>
                  </a:lnTo>
                  <a:lnTo>
                    <a:pt x="703" y="798"/>
                  </a:lnTo>
                  <a:lnTo>
                    <a:pt x="659" y="751"/>
                  </a:lnTo>
                  <a:lnTo>
                    <a:pt x="592" y="758"/>
                  </a:lnTo>
                  <a:lnTo>
                    <a:pt x="607" y="798"/>
                  </a:lnTo>
                  <a:lnTo>
                    <a:pt x="624" y="846"/>
                  </a:lnTo>
                  <a:lnTo>
                    <a:pt x="644" y="889"/>
                  </a:lnTo>
                  <a:lnTo>
                    <a:pt x="647" y="944"/>
                  </a:lnTo>
                  <a:lnTo>
                    <a:pt x="600" y="920"/>
                  </a:lnTo>
                  <a:lnTo>
                    <a:pt x="552" y="913"/>
                  </a:lnTo>
                  <a:lnTo>
                    <a:pt x="524" y="944"/>
                  </a:lnTo>
                  <a:lnTo>
                    <a:pt x="465" y="960"/>
                  </a:lnTo>
                  <a:lnTo>
                    <a:pt x="462" y="999"/>
                  </a:lnTo>
                  <a:lnTo>
                    <a:pt x="497" y="1019"/>
                  </a:lnTo>
                  <a:lnTo>
                    <a:pt x="482" y="1071"/>
                  </a:lnTo>
                  <a:lnTo>
                    <a:pt x="438" y="1071"/>
                  </a:lnTo>
                  <a:lnTo>
                    <a:pt x="438" y="1019"/>
                  </a:lnTo>
                  <a:lnTo>
                    <a:pt x="390" y="999"/>
                  </a:lnTo>
                  <a:lnTo>
                    <a:pt x="347" y="1019"/>
                  </a:lnTo>
                  <a:lnTo>
                    <a:pt x="351" y="1060"/>
                  </a:lnTo>
                  <a:lnTo>
                    <a:pt x="382" y="1071"/>
                  </a:lnTo>
                  <a:lnTo>
                    <a:pt x="394" y="1091"/>
                  </a:lnTo>
                  <a:lnTo>
                    <a:pt x="370" y="1115"/>
                  </a:lnTo>
                  <a:lnTo>
                    <a:pt x="323" y="1078"/>
                  </a:lnTo>
                  <a:lnTo>
                    <a:pt x="287" y="1032"/>
                  </a:lnTo>
                  <a:lnTo>
                    <a:pt x="263" y="984"/>
                  </a:lnTo>
                  <a:lnTo>
                    <a:pt x="252" y="916"/>
                  </a:lnTo>
                  <a:lnTo>
                    <a:pt x="232" y="889"/>
                  </a:lnTo>
                  <a:lnTo>
                    <a:pt x="283" y="905"/>
                  </a:lnTo>
                  <a:lnTo>
                    <a:pt x="362" y="929"/>
                  </a:lnTo>
                  <a:lnTo>
                    <a:pt x="438" y="909"/>
                  </a:lnTo>
                  <a:lnTo>
                    <a:pt x="469" y="877"/>
                  </a:lnTo>
                  <a:lnTo>
                    <a:pt x="489" y="842"/>
                  </a:lnTo>
                  <a:lnTo>
                    <a:pt x="410" y="782"/>
                  </a:lnTo>
                  <a:lnTo>
                    <a:pt x="315" y="739"/>
                  </a:lnTo>
                  <a:lnTo>
                    <a:pt x="217" y="684"/>
                  </a:lnTo>
                  <a:lnTo>
                    <a:pt x="169" y="660"/>
                  </a:lnTo>
                  <a:lnTo>
                    <a:pt x="115" y="694"/>
                  </a:lnTo>
                  <a:lnTo>
                    <a:pt x="64" y="749"/>
                  </a:lnTo>
                  <a:lnTo>
                    <a:pt x="43" y="798"/>
                  </a:lnTo>
                  <a:lnTo>
                    <a:pt x="43" y="849"/>
                  </a:lnTo>
                  <a:lnTo>
                    <a:pt x="60" y="911"/>
                  </a:lnTo>
                  <a:lnTo>
                    <a:pt x="64" y="987"/>
                  </a:lnTo>
                  <a:lnTo>
                    <a:pt x="84" y="1049"/>
                  </a:lnTo>
                  <a:lnTo>
                    <a:pt x="108" y="1121"/>
                  </a:lnTo>
                  <a:lnTo>
                    <a:pt x="130" y="1149"/>
                  </a:lnTo>
                  <a:lnTo>
                    <a:pt x="163" y="1176"/>
                  </a:lnTo>
                  <a:lnTo>
                    <a:pt x="163" y="1176"/>
                  </a:lnTo>
                  <a:lnTo>
                    <a:pt x="128" y="1206"/>
                  </a:lnTo>
                  <a:lnTo>
                    <a:pt x="80" y="1258"/>
                  </a:lnTo>
                  <a:lnTo>
                    <a:pt x="37" y="1309"/>
                  </a:lnTo>
                  <a:lnTo>
                    <a:pt x="25" y="1353"/>
                  </a:lnTo>
                  <a:lnTo>
                    <a:pt x="28" y="1405"/>
                  </a:lnTo>
                  <a:lnTo>
                    <a:pt x="28" y="1405"/>
                  </a:lnTo>
                  <a:lnTo>
                    <a:pt x="0" y="1416"/>
                  </a:lnTo>
                  <a:lnTo>
                    <a:pt x="50" y="1488"/>
                  </a:lnTo>
                  <a:lnTo>
                    <a:pt x="121" y="1552"/>
                  </a:lnTo>
                  <a:lnTo>
                    <a:pt x="247" y="1601"/>
                  </a:lnTo>
                  <a:lnTo>
                    <a:pt x="256" y="1765"/>
                  </a:lnTo>
                  <a:lnTo>
                    <a:pt x="237" y="1784"/>
                  </a:lnTo>
                  <a:lnTo>
                    <a:pt x="217" y="1851"/>
                  </a:lnTo>
                  <a:lnTo>
                    <a:pt x="335" y="1843"/>
                  </a:lnTo>
                  <a:lnTo>
                    <a:pt x="361" y="1911"/>
                  </a:lnTo>
                  <a:lnTo>
                    <a:pt x="541" y="2062"/>
                  </a:lnTo>
                  <a:lnTo>
                    <a:pt x="513" y="2201"/>
                  </a:lnTo>
                  <a:lnTo>
                    <a:pt x="537" y="2225"/>
                  </a:lnTo>
                  <a:lnTo>
                    <a:pt x="489" y="2269"/>
                  </a:lnTo>
                  <a:lnTo>
                    <a:pt x="449" y="2308"/>
                  </a:lnTo>
                  <a:lnTo>
                    <a:pt x="438" y="2339"/>
                  </a:lnTo>
                  <a:lnTo>
                    <a:pt x="497" y="2372"/>
                  </a:lnTo>
                  <a:lnTo>
                    <a:pt x="531" y="2407"/>
                  </a:lnTo>
                  <a:lnTo>
                    <a:pt x="629" y="2350"/>
                  </a:lnTo>
                  <a:lnTo>
                    <a:pt x="685" y="2380"/>
                  </a:lnTo>
                  <a:lnTo>
                    <a:pt x="723" y="2380"/>
                  </a:lnTo>
                  <a:lnTo>
                    <a:pt x="764" y="2418"/>
                  </a:lnTo>
                  <a:lnTo>
                    <a:pt x="809" y="2471"/>
                  </a:lnTo>
                  <a:lnTo>
                    <a:pt x="900" y="2446"/>
                  </a:lnTo>
                  <a:lnTo>
                    <a:pt x="876" y="2383"/>
                  </a:lnTo>
                  <a:lnTo>
                    <a:pt x="900" y="2339"/>
                  </a:lnTo>
                  <a:lnTo>
                    <a:pt x="964" y="2280"/>
                  </a:lnTo>
                  <a:close/>
                </a:path>
              </a:pathLst>
            </a:custGeom>
            <a:solidFill>
              <a:srgbClr val="A0AEC4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4" name="Freeform 274"/>
            <p:cNvSpPr>
              <a:spLocks noChangeAspect="1"/>
            </p:cNvSpPr>
            <p:nvPr/>
          </p:nvSpPr>
          <p:spPr bwMode="auto">
            <a:xfrm>
              <a:off x="1945961" y="3476045"/>
              <a:ext cx="36923" cy="46149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4" y="8"/>
                </a:cxn>
                <a:cxn ang="0">
                  <a:pos x="32" y="0"/>
                </a:cxn>
                <a:cxn ang="0">
                  <a:pos x="64" y="79"/>
                </a:cxn>
                <a:cxn ang="0">
                  <a:pos x="0" y="75"/>
                </a:cxn>
              </a:cxnLst>
              <a:rect l="0" t="0" r="r" b="b"/>
              <a:pathLst>
                <a:path w="64" h="79">
                  <a:moveTo>
                    <a:pt x="0" y="75"/>
                  </a:moveTo>
                  <a:lnTo>
                    <a:pt x="4" y="8"/>
                  </a:lnTo>
                  <a:lnTo>
                    <a:pt x="32" y="0"/>
                  </a:lnTo>
                  <a:lnTo>
                    <a:pt x="64" y="79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5" name="Freeform 275"/>
            <p:cNvSpPr>
              <a:spLocks noChangeAspect="1"/>
            </p:cNvSpPr>
            <p:nvPr/>
          </p:nvSpPr>
          <p:spPr bwMode="auto">
            <a:xfrm>
              <a:off x="1223322" y="2583242"/>
              <a:ext cx="29890" cy="26624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53" y="45"/>
                </a:cxn>
                <a:cxn ang="0">
                  <a:pos x="49" y="24"/>
                </a:cxn>
                <a:cxn ang="0">
                  <a:pos x="17" y="0"/>
                </a:cxn>
                <a:cxn ang="0">
                  <a:pos x="0" y="28"/>
                </a:cxn>
              </a:cxnLst>
              <a:rect l="0" t="0" r="r" b="b"/>
              <a:pathLst>
                <a:path w="53" h="45">
                  <a:moveTo>
                    <a:pt x="0" y="28"/>
                  </a:moveTo>
                  <a:lnTo>
                    <a:pt x="53" y="45"/>
                  </a:lnTo>
                  <a:lnTo>
                    <a:pt x="49" y="24"/>
                  </a:lnTo>
                  <a:lnTo>
                    <a:pt x="17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" name="Freeform 276"/>
            <p:cNvSpPr>
              <a:spLocks noChangeAspect="1"/>
            </p:cNvSpPr>
            <p:nvPr/>
          </p:nvSpPr>
          <p:spPr bwMode="auto">
            <a:xfrm>
              <a:off x="1400905" y="2861910"/>
              <a:ext cx="87912" cy="108272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54" y="0"/>
                </a:cxn>
                <a:cxn ang="0">
                  <a:pos x="97" y="23"/>
                </a:cxn>
                <a:cxn ang="0">
                  <a:pos x="151" y="111"/>
                </a:cxn>
                <a:cxn ang="0">
                  <a:pos x="142" y="145"/>
                </a:cxn>
                <a:cxn ang="0">
                  <a:pos x="123" y="184"/>
                </a:cxn>
                <a:cxn ang="0">
                  <a:pos x="103" y="152"/>
                </a:cxn>
                <a:cxn ang="0">
                  <a:pos x="91" y="177"/>
                </a:cxn>
                <a:cxn ang="0">
                  <a:pos x="67" y="120"/>
                </a:cxn>
                <a:cxn ang="0">
                  <a:pos x="62" y="68"/>
                </a:cxn>
                <a:cxn ang="0">
                  <a:pos x="0" y="5"/>
                </a:cxn>
              </a:cxnLst>
              <a:rect l="0" t="0" r="r" b="b"/>
              <a:pathLst>
                <a:path w="151" h="184">
                  <a:moveTo>
                    <a:pt x="0" y="5"/>
                  </a:moveTo>
                  <a:lnTo>
                    <a:pt x="54" y="0"/>
                  </a:lnTo>
                  <a:lnTo>
                    <a:pt x="97" y="23"/>
                  </a:lnTo>
                  <a:lnTo>
                    <a:pt x="151" y="111"/>
                  </a:lnTo>
                  <a:lnTo>
                    <a:pt x="142" y="145"/>
                  </a:lnTo>
                  <a:lnTo>
                    <a:pt x="123" y="184"/>
                  </a:lnTo>
                  <a:lnTo>
                    <a:pt x="103" y="152"/>
                  </a:lnTo>
                  <a:lnTo>
                    <a:pt x="91" y="177"/>
                  </a:lnTo>
                  <a:lnTo>
                    <a:pt x="67" y="120"/>
                  </a:lnTo>
                  <a:lnTo>
                    <a:pt x="62" y="6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7" name="Freeform 277"/>
            <p:cNvSpPr>
              <a:spLocks noChangeAspect="1"/>
            </p:cNvSpPr>
            <p:nvPr/>
          </p:nvSpPr>
          <p:spPr bwMode="auto">
            <a:xfrm>
              <a:off x="1022883" y="2730563"/>
              <a:ext cx="193407" cy="108272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127" y="0"/>
                </a:cxn>
                <a:cxn ang="0">
                  <a:pos x="171" y="28"/>
                </a:cxn>
                <a:cxn ang="0">
                  <a:pos x="279" y="65"/>
                </a:cxn>
                <a:cxn ang="0">
                  <a:pos x="329" y="93"/>
                </a:cxn>
                <a:cxn ang="0">
                  <a:pos x="242" y="151"/>
                </a:cxn>
                <a:cxn ang="0">
                  <a:pos x="213" y="183"/>
                </a:cxn>
                <a:cxn ang="0">
                  <a:pos x="185" y="167"/>
                </a:cxn>
                <a:cxn ang="0">
                  <a:pos x="188" y="137"/>
                </a:cxn>
                <a:cxn ang="0">
                  <a:pos x="148" y="133"/>
                </a:cxn>
                <a:cxn ang="0">
                  <a:pos x="139" y="158"/>
                </a:cxn>
                <a:cxn ang="0">
                  <a:pos x="107" y="162"/>
                </a:cxn>
                <a:cxn ang="0">
                  <a:pos x="72" y="131"/>
                </a:cxn>
                <a:cxn ang="0">
                  <a:pos x="0" y="50"/>
                </a:cxn>
              </a:cxnLst>
              <a:rect l="0" t="0" r="r" b="b"/>
              <a:pathLst>
                <a:path w="329" h="183">
                  <a:moveTo>
                    <a:pt x="0" y="50"/>
                  </a:moveTo>
                  <a:lnTo>
                    <a:pt x="127" y="0"/>
                  </a:lnTo>
                  <a:lnTo>
                    <a:pt x="171" y="28"/>
                  </a:lnTo>
                  <a:lnTo>
                    <a:pt x="279" y="65"/>
                  </a:lnTo>
                  <a:lnTo>
                    <a:pt x="329" y="93"/>
                  </a:lnTo>
                  <a:lnTo>
                    <a:pt x="242" y="151"/>
                  </a:lnTo>
                  <a:lnTo>
                    <a:pt x="213" y="183"/>
                  </a:lnTo>
                  <a:lnTo>
                    <a:pt x="185" y="167"/>
                  </a:lnTo>
                  <a:lnTo>
                    <a:pt x="188" y="137"/>
                  </a:lnTo>
                  <a:lnTo>
                    <a:pt x="148" y="133"/>
                  </a:lnTo>
                  <a:lnTo>
                    <a:pt x="139" y="158"/>
                  </a:lnTo>
                  <a:lnTo>
                    <a:pt x="107" y="162"/>
                  </a:lnTo>
                  <a:lnTo>
                    <a:pt x="72" y="131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8" name="Freeform 278"/>
            <p:cNvSpPr>
              <a:spLocks noChangeAspect="1"/>
            </p:cNvSpPr>
            <p:nvPr/>
          </p:nvSpPr>
          <p:spPr bwMode="auto">
            <a:xfrm>
              <a:off x="1147718" y="2780262"/>
              <a:ext cx="154725" cy="78098"/>
            </a:xfrm>
            <a:custGeom>
              <a:avLst/>
              <a:gdLst/>
              <a:ahLst/>
              <a:cxnLst>
                <a:cxn ang="0">
                  <a:pos x="116" y="8"/>
                </a:cxn>
                <a:cxn ang="0">
                  <a:pos x="264" y="0"/>
                </a:cxn>
                <a:cxn ang="0">
                  <a:pos x="249" y="130"/>
                </a:cxn>
                <a:cxn ang="0">
                  <a:pos x="213" y="100"/>
                </a:cxn>
                <a:cxn ang="0">
                  <a:pos x="189" y="91"/>
                </a:cxn>
                <a:cxn ang="0">
                  <a:pos x="113" y="107"/>
                </a:cxn>
                <a:cxn ang="0">
                  <a:pos x="62" y="107"/>
                </a:cxn>
                <a:cxn ang="0">
                  <a:pos x="0" y="98"/>
                </a:cxn>
                <a:cxn ang="0">
                  <a:pos x="29" y="66"/>
                </a:cxn>
                <a:cxn ang="0">
                  <a:pos x="116" y="8"/>
                </a:cxn>
              </a:cxnLst>
              <a:rect l="0" t="0" r="r" b="b"/>
              <a:pathLst>
                <a:path w="264" h="130">
                  <a:moveTo>
                    <a:pt x="116" y="8"/>
                  </a:moveTo>
                  <a:lnTo>
                    <a:pt x="264" y="0"/>
                  </a:lnTo>
                  <a:lnTo>
                    <a:pt x="249" y="130"/>
                  </a:lnTo>
                  <a:lnTo>
                    <a:pt x="213" y="100"/>
                  </a:lnTo>
                  <a:lnTo>
                    <a:pt x="189" y="91"/>
                  </a:lnTo>
                  <a:lnTo>
                    <a:pt x="113" y="107"/>
                  </a:lnTo>
                  <a:lnTo>
                    <a:pt x="62" y="107"/>
                  </a:lnTo>
                  <a:lnTo>
                    <a:pt x="0" y="98"/>
                  </a:lnTo>
                  <a:lnTo>
                    <a:pt x="29" y="66"/>
                  </a:lnTo>
                  <a:lnTo>
                    <a:pt x="116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9" name="Freeform 279"/>
            <p:cNvSpPr>
              <a:spLocks noChangeAspect="1"/>
            </p:cNvSpPr>
            <p:nvPr/>
          </p:nvSpPr>
          <p:spPr bwMode="auto">
            <a:xfrm>
              <a:off x="1632993" y="3401497"/>
              <a:ext cx="560880" cy="539587"/>
            </a:xfrm>
            <a:custGeom>
              <a:avLst/>
              <a:gdLst/>
              <a:ahLst/>
              <a:cxnLst>
                <a:cxn ang="0">
                  <a:pos x="499" y="225"/>
                </a:cxn>
                <a:cxn ang="0">
                  <a:pos x="533" y="201"/>
                </a:cxn>
                <a:cxn ang="0">
                  <a:pos x="597" y="205"/>
                </a:cxn>
                <a:cxn ang="0">
                  <a:pos x="597" y="205"/>
                </a:cxn>
                <a:cxn ang="0">
                  <a:pos x="649" y="260"/>
                </a:cxn>
                <a:cxn ang="0">
                  <a:pos x="712" y="324"/>
                </a:cxn>
                <a:cxn ang="0">
                  <a:pos x="719" y="383"/>
                </a:cxn>
                <a:cxn ang="0">
                  <a:pos x="743" y="403"/>
                </a:cxn>
                <a:cxn ang="0">
                  <a:pos x="778" y="510"/>
                </a:cxn>
                <a:cxn ang="0">
                  <a:pos x="918" y="517"/>
                </a:cxn>
                <a:cxn ang="0">
                  <a:pos x="956" y="573"/>
                </a:cxn>
                <a:cxn ang="0">
                  <a:pos x="925" y="699"/>
                </a:cxn>
                <a:cxn ang="0">
                  <a:pos x="794" y="727"/>
                </a:cxn>
                <a:cxn ang="0">
                  <a:pos x="660" y="751"/>
                </a:cxn>
                <a:cxn ang="0">
                  <a:pos x="620" y="797"/>
                </a:cxn>
                <a:cxn ang="0">
                  <a:pos x="605" y="865"/>
                </a:cxn>
                <a:cxn ang="0">
                  <a:pos x="546" y="913"/>
                </a:cxn>
                <a:cxn ang="0">
                  <a:pos x="546" y="873"/>
                </a:cxn>
                <a:cxn ang="0">
                  <a:pos x="546" y="841"/>
                </a:cxn>
                <a:cxn ang="0">
                  <a:pos x="526" y="834"/>
                </a:cxn>
                <a:cxn ang="0">
                  <a:pos x="471" y="830"/>
                </a:cxn>
                <a:cxn ang="0">
                  <a:pos x="419" y="834"/>
                </a:cxn>
                <a:cxn ang="0">
                  <a:pos x="384" y="853"/>
                </a:cxn>
                <a:cxn ang="0">
                  <a:pos x="332" y="794"/>
                </a:cxn>
                <a:cxn ang="0">
                  <a:pos x="316" y="738"/>
                </a:cxn>
                <a:cxn ang="0">
                  <a:pos x="285" y="691"/>
                </a:cxn>
                <a:cxn ang="0">
                  <a:pos x="230" y="620"/>
                </a:cxn>
                <a:cxn ang="0">
                  <a:pos x="202" y="569"/>
                </a:cxn>
                <a:cxn ang="0">
                  <a:pos x="171" y="470"/>
                </a:cxn>
                <a:cxn ang="0">
                  <a:pos x="119" y="387"/>
                </a:cxn>
                <a:cxn ang="0">
                  <a:pos x="55" y="328"/>
                </a:cxn>
                <a:cxn ang="0">
                  <a:pos x="47" y="256"/>
                </a:cxn>
                <a:cxn ang="0">
                  <a:pos x="9" y="232"/>
                </a:cxn>
                <a:cxn ang="0">
                  <a:pos x="0" y="181"/>
                </a:cxn>
                <a:cxn ang="0">
                  <a:pos x="55" y="181"/>
                </a:cxn>
                <a:cxn ang="0">
                  <a:pos x="95" y="142"/>
                </a:cxn>
                <a:cxn ang="0">
                  <a:pos x="134" y="110"/>
                </a:cxn>
                <a:cxn ang="0">
                  <a:pos x="134" y="46"/>
                </a:cxn>
                <a:cxn ang="0">
                  <a:pos x="186" y="4"/>
                </a:cxn>
                <a:cxn ang="0">
                  <a:pos x="202" y="0"/>
                </a:cxn>
                <a:cxn ang="0">
                  <a:pos x="233" y="23"/>
                </a:cxn>
                <a:cxn ang="0">
                  <a:pos x="265" y="46"/>
                </a:cxn>
                <a:cxn ang="0">
                  <a:pos x="316" y="43"/>
                </a:cxn>
                <a:cxn ang="0">
                  <a:pos x="348" y="94"/>
                </a:cxn>
                <a:cxn ang="0">
                  <a:pos x="384" y="107"/>
                </a:cxn>
                <a:cxn ang="0">
                  <a:pos x="423" y="177"/>
                </a:cxn>
                <a:cxn ang="0">
                  <a:pos x="499" y="225"/>
                </a:cxn>
              </a:cxnLst>
              <a:rect l="0" t="0" r="r" b="b"/>
              <a:pathLst>
                <a:path w="956" h="913">
                  <a:moveTo>
                    <a:pt x="499" y="225"/>
                  </a:moveTo>
                  <a:lnTo>
                    <a:pt x="533" y="201"/>
                  </a:lnTo>
                  <a:lnTo>
                    <a:pt x="597" y="205"/>
                  </a:lnTo>
                  <a:lnTo>
                    <a:pt x="597" y="205"/>
                  </a:lnTo>
                  <a:lnTo>
                    <a:pt x="649" y="260"/>
                  </a:lnTo>
                  <a:lnTo>
                    <a:pt x="712" y="324"/>
                  </a:lnTo>
                  <a:lnTo>
                    <a:pt x="719" y="383"/>
                  </a:lnTo>
                  <a:lnTo>
                    <a:pt x="743" y="403"/>
                  </a:lnTo>
                  <a:lnTo>
                    <a:pt x="778" y="510"/>
                  </a:lnTo>
                  <a:lnTo>
                    <a:pt x="918" y="517"/>
                  </a:lnTo>
                  <a:lnTo>
                    <a:pt x="956" y="573"/>
                  </a:lnTo>
                  <a:lnTo>
                    <a:pt x="925" y="699"/>
                  </a:lnTo>
                  <a:lnTo>
                    <a:pt x="794" y="727"/>
                  </a:lnTo>
                  <a:lnTo>
                    <a:pt x="660" y="751"/>
                  </a:lnTo>
                  <a:lnTo>
                    <a:pt x="620" y="797"/>
                  </a:lnTo>
                  <a:lnTo>
                    <a:pt x="605" y="865"/>
                  </a:lnTo>
                  <a:lnTo>
                    <a:pt x="546" y="913"/>
                  </a:lnTo>
                  <a:lnTo>
                    <a:pt x="546" y="873"/>
                  </a:lnTo>
                  <a:lnTo>
                    <a:pt x="546" y="841"/>
                  </a:lnTo>
                  <a:lnTo>
                    <a:pt x="526" y="834"/>
                  </a:lnTo>
                  <a:lnTo>
                    <a:pt x="471" y="830"/>
                  </a:lnTo>
                  <a:lnTo>
                    <a:pt x="419" y="834"/>
                  </a:lnTo>
                  <a:lnTo>
                    <a:pt x="384" y="853"/>
                  </a:lnTo>
                  <a:lnTo>
                    <a:pt x="332" y="794"/>
                  </a:lnTo>
                  <a:lnTo>
                    <a:pt x="316" y="738"/>
                  </a:lnTo>
                  <a:lnTo>
                    <a:pt x="285" y="691"/>
                  </a:lnTo>
                  <a:lnTo>
                    <a:pt x="230" y="620"/>
                  </a:lnTo>
                  <a:lnTo>
                    <a:pt x="202" y="569"/>
                  </a:lnTo>
                  <a:lnTo>
                    <a:pt x="171" y="470"/>
                  </a:lnTo>
                  <a:lnTo>
                    <a:pt x="119" y="387"/>
                  </a:lnTo>
                  <a:lnTo>
                    <a:pt x="55" y="328"/>
                  </a:lnTo>
                  <a:lnTo>
                    <a:pt x="47" y="256"/>
                  </a:lnTo>
                  <a:lnTo>
                    <a:pt x="9" y="232"/>
                  </a:lnTo>
                  <a:lnTo>
                    <a:pt x="0" y="181"/>
                  </a:lnTo>
                  <a:lnTo>
                    <a:pt x="55" y="181"/>
                  </a:lnTo>
                  <a:lnTo>
                    <a:pt x="95" y="142"/>
                  </a:lnTo>
                  <a:lnTo>
                    <a:pt x="134" y="110"/>
                  </a:lnTo>
                  <a:lnTo>
                    <a:pt x="134" y="46"/>
                  </a:lnTo>
                  <a:lnTo>
                    <a:pt x="186" y="4"/>
                  </a:lnTo>
                  <a:lnTo>
                    <a:pt x="202" y="0"/>
                  </a:lnTo>
                  <a:lnTo>
                    <a:pt x="233" y="23"/>
                  </a:lnTo>
                  <a:lnTo>
                    <a:pt x="265" y="46"/>
                  </a:lnTo>
                  <a:lnTo>
                    <a:pt x="316" y="43"/>
                  </a:lnTo>
                  <a:lnTo>
                    <a:pt x="348" y="94"/>
                  </a:lnTo>
                  <a:lnTo>
                    <a:pt x="384" y="107"/>
                  </a:lnTo>
                  <a:lnTo>
                    <a:pt x="423" y="177"/>
                  </a:lnTo>
                  <a:lnTo>
                    <a:pt x="499" y="22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0" name="Freeform 280"/>
            <p:cNvSpPr>
              <a:spLocks noChangeAspect="1"/>
            </p:cNvSpPr>
            <p:nvPr/>
          </p:nvSpPr>
          <p:spPr bwMode="auto">
            <a:xfrm>
              <a:off x="3377171" y="3717439"/>
              <a:ext cx="198682" cy="280443"/>
            </a:xfrm>
            <a:custGeom>
              <a:avLst/>
              <a:gdLst/>
              <a:ahLst/>
              <a:cxnLst>
                <a:cxn ang="0">
                  <a:pos x="59" y="59"/>
                </a:cxn>
                <a:cxn ang="0">
                  <a:pos x="59" y="15"/>
                </a:cxn>
                <a:cxn ang="0">
                  <a:pos x="94" y="0"/>
                </a:cxn>
                <a:cxn ang="0">
                  <a:pos x="121" y="70"/>
                </a:cxn>
                <a:cxn ang="0">
                  <a:pos x="200" y="98"/>
                </a:cxn>
                <a:cxn ang="0">
                  <a:pos x="204" y="145"/>
                </a:cxn>
                <a:cxn ang="0">
                  <a:pos x="197" y="180"/>
                </a:cxn>
                <a:cxn ang="0">
                  <a:pos x="300" y="319"/>
                </a:cxn>
                <a:cxn ang="0">
                  <a:pos x="339" y="347"/>
                </a:cxn>
                <a:cxn ang="0">
                  <a:pos x="339" y="438"/>
                </a:cxn>
                <a:cxn ang="0">
                  <a:pos x="291" y="473"/>
                </a:cxn>
                <a:cxn ang="0">
                  <a:pos x="259" y="438"/>
                </a:cxn>
                <a:cxn ang="0">
                  <a:pos x="259" y="363"/>
                </a:cxn>
                <a:cxn ang="0">
                  <a:pos x="236" y="359"/>
                </a:cxn>
                <a:cxn ang="0">
                  <a:pos x="160" y="221"/>
                </a:cxn>
                <a:cxn ang="0">
                  <a:pos x="125" y="252"/>
                </a:cxn>
                <a:cxn ang="0">
                  <a:pos x="77" y="193"/>
                </a:cxn>
                <a:cxn ang="0">
                  <a:pos x="22" y="157"/>
                </a:cxn>
                <a:cxn ang="0">
                  <a:pos x="0" y="62"/>
                </a:cxn>
                <a:cxn ang="0">
                  <a:pos x="59" y="59"/>
                </a:cxn>
              </a:cxnLst>
              <a:rect l="0" t="0" r="r" b="b"/>
              <a:pathLst>
                <a:path w="339" h="473">
                  <a:moveTo>
                    <a:pt x="59" y="59"/>
                  </a:moveTo>
                  <a:lnTo>
                    <a:pt x="59" y="15"/>
                  </a:lnTo>
                  <a:lnTo>
                    <a:pt x="94" y="0"/>
                  </a:lnTo>
                  <a:lnTo>
                    <a:pt x="121" y="70"/>
                  </a:lnTo>
                  <a:lnTo>
                    <a:pt x="200" y="98"/>
                  </a:lnTo>
                  <a:lnTo>
                    <a:pt x="204" y="145"/>
                  </a:lnTo>
                  <a:lnTo>
                    <a:pt x="197" y="180"/>
                  </a:lnTo>
                  <a:lnTo>
                    <a:pt x="300" y="319"/>
                  </a:lnTo>
                  <a:lnTo>
                    <a:pt x="339" y="347"/>
                  </a:lnTo>
                  <a:lnTo>
                    <a:pt x="339" y="438"/>
                  </a:lnTo>
                  <a:lnTo>
                    <a:pt x="291" y="473"/>
                  </a:lnTo>
                  <a:lnTo>
                    <a:pt x="259" y="438"/>
                  </a:lnTo>
                  <a:lnTo>
                    <a:pt x="259" y="363"/>
                  </a:lnTo>
                  <a:lnTo>
                    <a:pt x="236" y="359"/>
                  </a:lnTo>
                  <a:lnTo>
                    <a:pt x="160" y="221"/>
                  </a:lnTo>
                  <a:lnTo>
                    <a:pt x="125" y="252"/>
                  </a:lnTo>
                  <a:lnTo>
                    <a:pt x="77" y="193"/>
                  </a:lnTo>
                  <a:lnTo>
                    <a:pt x="22" y="157"/>
                  </a:lnTo>
                  <a:lnTo>
                    <a:pt x="0" y="62"/>
                  </a:lnTo>
                  <a:lnTo>
                    <a:pt x="59" y="5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1" name="Freeform 281"/>
            <p:cNvSpPr>
              <a:spLocks noChangeAspect="1"/>
            </p:cNvSpPr>
            <p:nvPr/>
          </p:nvSpPr>
          <p:spPr bwMode="auto">
            <a:xfrm>
              <a:off x="2051455" y="3593192"/>
              <a:ext cx="158242" cy="11359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59"/>
                </a:cxn>
                <a:cxn ang="0">
                  <a:pos x="25" y="78"/>
                </a:cxn>
                <a:cxn ang="0">
                  <a:pos x="67" y="186"/>
                </a:cxn>
                <a:cxn ang="0">
                  <a:pos x="206" y="193"/>
                </a:cxn>
                <a:cxn ang="0">
                  <a:pos x="271" y="90"/>
                </a:cxn>
                <a:cxn ang="0">
                  <a:pos x="256" y="28"/>
                </a:cxn>
                <a:cxn ang="0">
                  <a:pos x="186" y="114"/>
                </a:cxn>
                <a:cxn ang="0">
                  <a:pos x="96" y="131"/>
                </a:cxn>
                <a:cxn ang="0">
                  <a:pos x="32" y="79"/>
                </a:cxn>
                <a:cxn ang="0">
                  <a:pos x="45" y="28"/>
                </a:cxn>
                <a:cxn ang="0">
                  <a:pos x="30" y="5"/>
                </a:cxn>
                <a:cxn ang="0">
                  <a:pos x="0" y="0"/>
                </a:cxn>
              </a:cxnLst>
              <a:rect l="0" t="0" r="r" b="b"/>
              <a:pathLst>
                <a:path w="271" h="193">
                  <a:moveTo>
                    <a:pt x="0" y="0"/>
                  </a:moveTo>
                  <a:lnTo>
                    <a:pt x="8" y="59"/>
                  </a:lnTo>
                  <a:lnTo>
                    <a:pt x="25" y="78"/>
                  </a:lnTo>
                  <a:lnTo>
                    <a:pt x="67" y="186"/>
                  </a:lnTo>
                  <a:lnTo>
                    <a:pt x="206" y="193"/>
                  </a:lnTo>
                  <a:lnTo>
                    <a:pt x="271" y="90"/>
                  </a:lnTo>
                  <a:lnTo>
                    <a:pt x="256" y="28"/>
                  </a:lnTo>
                  <a:lnTo>
                    <a:pt x="186" y="114"/>
                  </a:lnTo>
                  <a:lnTo>
                    <a:pt x="96" y="131"/>
                  </a:lnTo>
                  <a:lnTo>
                    <a:pt x="32" y="79"/>
                  </a:lnTo>
                  <a:lnTo>
                    <a:pt x="45" y="28"/>
                  </a:lnTo>
                  <a:lnTo>
                    <a:pt x="3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2" name="Freeform 282"/>
            <p:cNvSpPr>
              <a:spLocks noChangeAspect="1"/>
            </p:cNvSpPr>
            <p:nvPr/>
          </p:nvSpPr>
          <p:spPr bwMode="auto">
            <a:xfrm>
              <a:off x="854091" y="2661340"/>
              <a:ext cx="59780" cy="63898"/>
            </a:xfrm>
            <a:custGeom>
              <a:avLst/>
              <a:gdLst/>
              <a:ahLst/>
              <a:cxnLst>
                <a:cxn ang="0">
                  <a:pos x="29" y="109"/>
                </a:cxn>
                <a:cxn ang="0">
                  <a:pos x="0" y="65"/>
                </a:cxn>
                <a:cxn ang="0">
                  <a:pos x="16" y="41"/>
                </a:cxn>
                <a:cxn ang="0">
                  <a:pos x="46" y="58"/>
                </a:cxn>
                <a:cxn ang="0">
                  <a:pos x="49" y="11"/>
                </a:cxn>
                <a:cxn ang="0">
                  <a:pos x="80" y="0"/>
                </a:cxn>
                <a:cxn ang="0">
                  <a:pos x="101" y="35"/>
                </a:cxn>
                <a:cxn ang="0">
                  <a:pos x="87" y="74"/>
                </a:cxn>
                <a:cxn ang="0">
                  <a:pos x="54" y="87"/>
                </a:cxn>
                <a:cxn ang="0">
                  <a:pos x="29" y="109"/>
                </a:cxn>
              </a:cxnLst>
              <a:rect l="0" t="0" r="r" b="b"/>
              <a:pathLst>
                <a:path w="101" h="109">
                  <a:moveTo>
                    <a:pt x="29" y="109"/>
                  </a:moveTo>
                  <a:lnTo>
                    <a:pt x="0" y="65"/>
                  </a:lnTo>
                  <a:lnTo>
                    <a:pt x="16" y="41"/>
                  </a:lnTo>
                  <a:lnTo>
                    <a:pt x="46" y="58"/>
                  </a:lnTo>
                  <a:lnTo>
                    <a:pt x="49" y="11"/>
                  </a:lnTo>
                  <a:lnTo>
                    <a:pt x="80" y="0"/>
                  </a:lnTo>
                  <a:lnTo>
                    <a:pt x="101" y="35"/>
                  </a:lnTo>
                  <a:lnTo>
                    <a:pt x="87" y="74"/>
                  </a:lnTo>
                  <a:lnTo>
                    <a:pt x="54" y="87"/>
                  </a:lnTo>
                  <a:lnTo>
                    <a:pt x="29" y="10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3" name="Freeform 283"/>
            <p:cNvSpPr>
              <a:spLocks noChangeAspect="1"/>
            </p:cNvSpPr>
            <p:nvPr/>
          </p:nvSpPr>
          <p:spPr bwMode="auto">
            <a:xfrm>
              <a:off x="891014" y="2860135"/>
              <a:ext cx="93187" cy="60349"/>
            </a:xfrm>
            <a:custGeom>
              <a:avLst/>
              <a:gdLst/>
              <a:ahLst/>
              <a:cxnLst>
                <a:cxn ang="0">
                  <a:pos x="0" y="76"/>
                </a:cxn>
                <a:cxn ang="0">
                  <a:pos x="9" y="40"/>
                </a:cxn>
                <a:cxn ang="0">
                  <a:pos x="29" y="12"/>
                </a:cxn>
                <a:cxn ang="0">
                  <a:pos x="60" y="3"/>
                </a:cxn>
                <a:cxn ang="0">
                  <a:pos x="89" y="10"/>
                </a:cxn>
                <a:cxn ang="0">
                  <a:pos x="119" y="0"/>
                </a:cxn>
                <a:cxn ang="0">
                  <a:pos x="152" y="18"/>
                </a:cxn>
                <a:cxn ang="0">
                  <a:pos x="158" y="51"/>
                </a:cxn>
                <a:cxn ang="0">
                  <a:pos x="142" y="90"/>
                </a:cxn>
                <a:cxn ang="0">
                  <a:pos x="119" y="80"/>
                </a:cxn>
                <a:cxn ang="0">
                  <a:pos x="109" y="101"/>
                </a:cxn>
                <a:cxn ang="0">
                  <a:pos x="86" y="76"/>
                </a:cxn>
                <a:cxn ang="0">
                  <a:pos x="74" y="96"/>
                </a:cxn>
                <a:cxn ang="0">
                  <a:pos x="29" y="96"/>
                </a:cxn>
                <a:cxn ang="0">
                  <a:pos x="0" y="76"/>
                </a:cxn>
              </a:cxnLst>
              <a:rect l="0" t="0" r="r" b="b"/>
              <a:pathLst>
                <a:path w="158" h="101">
                  <a:moveTo>
                    <a:pt x="0" y="76"/>
                  </a:moveTo>
                  <a:lnTo>
                    <a:pt x="9" y="40"/>
                  </a:lnTo>
                  <a:lnTo>
                    <a:pt x="29" y="12"/>
                  </a:lnTo>
                  <a:lnTo>
                    <a:pt x="60" y="3"/>
                  </a:lnTo>
                  <a:lnTo>
                    <a:pt x="89" y="10"/>
                  </a:lnTo>
                  <a:lnTo>
                    <a:pt x="119" y="0"/>
                  </a:lnTo>
                  <a:lnTo>
                    <a:pt x="152" y="18"/>
                  </a:lnTo>
                  <a:lnTo>
                    <a:pt x="158" y="51"/>
                  </a:lnTo>
                  <a:lnTo>
                    <a:pt x="142" y="90"/>
                  </a:lnTo>
                  <a:lnTo>
                    <a:pt x="119" y="80"/>
                  </a:lnTo>
                  <a:lnTo>
                    <a:pt x="109" y="101"/>
                  </a:lnTo>
                  <a:lnTo>
                    <a:pt x="86" y="76"/>
                  </a:lnTo>
                  <a:lnTo>
                    <a:pt x="74" y="96"/>
                  </a:lnTo>
                  <a:lnTo>
                    <a:pt x="29" y="96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4" name="Freeform 284"/>
            <p:cNvSpPr>
              <a:spLocks noChangeAspect="1"/>
            </p:cNvSpPr>
            <p:nvPr/>
          </p:nvSpPr>
          <p:spPr bwMode="auto">
            <a:xfrm>
              <a:off x="1608378" y="3385522"/>
              <a:ext cx="28132" cy="90523"/>
            </a:xfrm>
            <a:custGeom>
              <a:avLst/>
              <a:gdLst/>
              <a:ahLst/>
              <a:cxnLst>
                <a:cxn ang="0">
                  <a:pos x="43" y="152"/>
                </a:cxn>
                <a:cxn ang="0">
                  <a:pos x="50" y="80"/>
                </a:cxn>
                <a:cxn ang="0">
                  <a:pos x="48" y="0"/>
                </a:cxn>
                <a:cxn ang="0">
                  <a:pos x="0" y="85"/>
                </a:cxn>
                <a:cxn ang="0">
                  <a:pos x="43" y="152"/>
                </a:cxn>
              </a:cxnLst>
              <a:rect l="0" t="0" r="r" b="b"/>
              <a:pathLst>
                <a:path w="50" h="152">
                  <a:moveTo>
                    <a:pt x="43" y="152"/>
                  </a:moveTo>
                  <a:lnTo>
                    <a:pt x="50" y="80"/>
                  </a:lnTo>
                  <a:lnTo>
                    <a:pt x="48" y="0"/>
                  </a:lnTo>
                  <a:lnTo>
                    <a:pt x="0" y="85"/>
                  </a:lnTo>
                  <a:lnTo>
                    <a:pt x="43" y="15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5" name="Freeform 285"/>
            <p:cNvSpPr>
              <a:spLocks noChangeAspect="1"/>
            </p:cNvSpPr>
            <p:nvPr/>
          </p:nvSpPr>
          <p:spPr bwMode="auto">
            <a:xfrm>
              <a:off x="1520466" y="4299624"/>
              <a:ext cx="131868" cy="166846"/>
            </a:xfrm>
            <a:custGeom>
              <a:avLst/>
              <a:gdLst/>
              <a:ahLst/>
              <a:cxnLst>
                <a:cxn ang="0">
                  <a:pos x="0" y="269"/>
                </a:cxn>
                <a:cxn ang="0">
                  <a:pos x="33" y="280"/>
                </a:cxn>
                <a:cxn ang="0">
                  <a:pos x="56" y="267"/>
                </a:cxn>
                <a:cxn ang="0">
                  <a:pos x="103" y="275"/>
                </a:cxn>
                <a:cxn ang="0">
                  <a:pos x="197" y="267"/>
                </a:cxn>
                <a:cxn ang="0">
                  <a:pos x="187" y="243"/>
                </a:cxn>
                <a:cxn ang="0">
                  <a:pos x="198" y="192"/>
                </a:cxn>
                <a:cxn ang="0">
                  <a:pos x="225" y="133"/>
                </a:cxn>
                <a:cxn ang="0">
                  <a:pos x="220" y="48"/>
                </a:cxn>
                <a:cxn ang="0">
                  <a:pos x="198" y="0"/>
                </a:cxn>
                <a:cxn ang="0">
                  <a:pos x="142" y="20"/>
                </a:cxn>
                <a:cxn ang="0">
                  <a:pos x="48" y="14"/>
                </a:cxn>
                <a:cxn ang="0">
                  <a:pos x="59" y="95"/>
                </a:cxn>
                <a:cxn ang="0">
                  <a:pos x="84" y="98"/>
                </a:cxn>
                <a:cxn ang="0">
                  <a:pos x="87" y="127"/>
                </a:cxn>
                <a:cxn ang="0">
                  <a:pos x="10" y="154"/>
                </a:cxn>
                <a:cxn ang="0">
                  <a:pos x="0" y="264"/>
                </a:cxn>
                <a:cxn ang="0">
                  <a:pos x="0" y="269"/>
                </a:cxn>
              </a:cxnLst>
              <a:rect l="0" t="0" r="r" b="b"/>
              <a:pathLst>
                <a:path w="225" h="280">
                  <a:moveTo>
                    <a:pt x="0" y="269"/>
                  </a:moveTo>
                  <a:lnTo>
                    <a:pt x="33" y="280"/>
                  </a:lnTo>
                  <a:lnTo>
                    <a:pt x="56" y="267"/>
                  </a:lnTo>
                  <a:lnTo>
                    <a:pt x="103" y="275"/>
                  </a:lnTo>
                  <a:lnTo>
                    <a:pt x="197" y="267"/>
                  </a:lnTo>
                  <a:lnTo>
                    <a:pt x="187" y="243"/>
                  </a:lnTo>
                  <a:lnTo>
                    <a:pt x="198" y="192"/>
                  </a:lnTo>
                  <a:lnTo>
                    <a:pt x="225" y="133"/>
                  </a:lnTo>
                  <a:lnTo>
                    <a:pt x="220" y="48"/>
                  </a:lnTo>
                  <a:lnTo>
                    <a:pt x="198" y="0"/>
                  </a:lnTo>
                  <a:lnTo>
                    <a:pt x="142" y="20"/>
                  </a:lnTo>
                  <a:lnTo>
                    <a:pt x="48" y="14"/>
                  </a:lnTo>
                  <a:lnTo>
                    <a:pt x="59" y="95"/>
                  </a:lnTo>
                  <a:lnTo>
                    <a:pt x="84" y="98"/>
                  </a:lnTo>
                  <a:lnTo>
                    <a:pt x="87" y="127"/>
                  </a:lnTo>
                  <a:lnTo>
                    <a:pt x="10" y="154"/>
                  </a:lnTo>
                  <a:lnTo>
                    <a:pt x="0" y="264"/>
                  </a:lnTo>
                  <a:lnTo>
                    <a:pt x="0" y="26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6" name="Freeform 286"/>
            <p:cNvSpPr>
              <a:spLocks noChangeAspect="1"/>
            </p:cNvSpPr>
            <p:nvPr/>
          </p:nvSpPr>
          <p:spPr bwMode="auto">
            <a:xfrm>
              <a:off x="1520466" y="4299624"/>
              <a:ext cx="131868" cy="166846"/>
            </a:xfrm>
            <a:custGeom>
              <a:avLst/>
              <a:gdLst/>
              <a:ahLst/>
              <a:cxnLst>
                <a:cxn ang="0">
                  <a:pos x="0" y="269"/>
                </a:cxn>
                <a:cxn ang="0">
                  <a:pos x="33" y="280"/>
                </a:cxn>
                <a:cxn ang="0">
                  <a:pos x="56" y="267"/>
                </a:cxn>
                <a:cxn ang="0">
                  <a:pos x="103" y="275"/>
                </a:cxn>
                <a:cxn ang="0">
                  <a:pos x="197" y="267"/>
                </a:cxn>
                <a:cxn ang="0">
                  <a:pos x="187" y="243"/>
                </a:cxn>
                <a:cxn ang="0">
                  <a:pos x="198" y="192"/>
                </a:cxn>
                <a:cxn ang="0">
                  <a:pos x="225" y="133"/>
                </a:cxn>
                <a:cxn ang="0">
                  <a:pos x="220" y="48"/>
                </a:cxn>
                <a:cxn ang="0">
                  <a:pos x="198" y="0"/>
                </a:cxn>
                <a:cxn ang="0">
                  <a:pos x="142" y="20"/>
                </a:cxn>
                <a:cxn ang="0">
                  <a:pos x="48" y="14"/>
                </a:cxn>
                <a:cxn ang="0">
                  <a:pos x="59" y="95"/>
                </a:cxn>
                <a:cxn ang="0">
                  <a:pos x="84" y="98"/>
                </a:cxn>
                <a:cxn ang="0">
                  <a:pos x="87" y="127"/>
                </a:cxn>
                <a:cxn ang="0">
                  <a:pos x="10" y="154"/>
                </a:cxn>
                <a:cxn ang="0">
                  <a:pos x="0" y="264"/>
                </a:cxn>
              </a:cxnLst>
              <a:rect l="0" t="0" r="r" b="b"/>
              <a:pathLst>
                <a:path w="225" h="280">
                  <a:moveTo>
                    <a:pt x="0" y="269"/>
                  </a:moveTo>
                  <a:lnTo>
                    <a:pt x="33" y="280"/>
                  </a:lnTo>
                  <a:lnTo>
                    <a:pt x="56" y="267"/>
                  </a:lnTo>
                  <a:lnTo>
                    <a:pt x="103" y="275"/>
                  </a:lnTo>
                  <a:lnTo>
                    <a:pt x="197" y="267"/>
                  </a:lnTo>
                  <a:lnTo>
                    <a:pt x="187" y="243"/>
                  </a:lnTo>
                  <a:lnTo>
                    <a:pt x="198" y="192"/>
                  </a:lnTo>
                  <a:lnTo>
                    <a:pt x="225" y="133"/>
                  </a:lnTo>
                  <a:lnTo>
                    <a:pt x="220" y="48"/>
                  </a:lnTo>
                  <a:lnTo>
                    <a:pt x="198" y="0"/>
                  </a:lnTo>
                  <a:lnTo>
                    <a:pt x="142" y="20"/>
                  </a:lnTo>
                  <a:lnTo>
                    <a:pt x="48" y="14"/>
                  </a:lnTo>
                  <a:lnTo>
                    <a:pt x="59" y="95"/>
                  </a:lnTo>
                  <a:lnTo>
                    <a:pt x="84" y="98"/>
                  </a:lnTo>
                  <a:lnTo>
                    <a:pt x="87" y="127"/>
                  </a:lnTo>
                  <a:lnTo>
                    <a:pt x="10" y="154"/>
                  </a:lnTo>
                  <a:lnTo>
                    <a:pt x="0" y="264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7" name="Freeform 287"/>
            <p:cNvSpPr>
              <a:spLocks noChangeAspect="1"/>
            </p:cNvSpPr>
            <p:nvPr/>
          </p:nvSpPr>
          <p:spPr bwMode="auto">
            <a:xfrm>
              <a:off x="3862446" y="4058230"/>
              <a:ext cx="59780" cy="110047"/>
            </a:xfrm>
            <a:custGeom>
              <a:avLst/>
              <a:gdLst/>
              <a:ahLst/>
              <a:cxnLst>
                <a:cxn ang="0">
                  <a:pos x="87" y="0"/>
                </a:cxn>
                <a:cxn ang="0">
                  <a:pos x="103" y="37"/>
                </a:cxn>
                <a:cxn ang="0">
                  <a:pos x="55" y="138"/>
                </a:cxn>
                <a:cxn ang="0">
                  <a:pos x="7" y="186"/>
                </a:cxn>
                <a:cxn ang="0">
                  <a:pos x="0" y="123"/>
                </a:cxn>
                <a:cxn ang="0">
                  <a:pos x="24" y="83"/>
                </a:cxn>
                <a:cxn ang="0">
                  <a:pos x="68" y="52"/>
                </a:cxn>
                <a:cxn ang="0">
                  <a:pos x="87" y="0"/>
                </a:cxn>
              </a:cxnLst>
              <a:rect l="0" t="0" r="r" b="b"/>
              <a:pathLst>
                <a:path w="103" h="186">
                  <a:moveTo>
                    <a:pt x="87" y="0"/>
                  </a:moveTo>
                  <a:lnTo>
                    <a:pt x="103" y="37"/>
                  </a:lnTo>
                  <a:lnTo>
                    <a:pt x="55" y="138"/>
                  </a:lnTo>
                  <a:lnTo>
                    <a:pt x="7" y="186"/>
                  </a:lnTo>
                  <a:lnTo>
                    <a:pt x="0" y="123"/>
                  </a:lnTo>
                  <a:lnTo>
                    <a:pt x="24" y="83"/>
                  </a:lnTo>
                  <a:lnTo>
                    <a:pt x="68" y="52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8" name="Freeform 288"/>
            <p:cNvSpPr>
              <a:spLocks noChangeAspect="1"/>
            </p:cNvSpPr>
            <p:nvPr/>
          </p:nvSpPr>
          <p:spPr bwMode="auto">
            <a:xfrm>
              <a:off x="4451458" y="5728464"/>
              <a:ext cx="91429" cy="94073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0" y="138"/>
                </a:cxn>
                <a:cxn ang="0">
                  <a:pos x="35" y="157"/>
                </a:cxn>
                <a:cxn ang="0">
                  <a:pos x="118" y="142"/>
                </a:cxn>
                <a:cxn ang="0">
                  <a:pos x="122" y="102"/>
                </a:cxn>
                <a:cxn ang="0">
                  <a:pos x="153" y="63"/>
                </a:cxn>
                <a:cxn ang="0">
                  <a:pos x="158" y="11"/>
                </a:cxn>
                <a:cxn ang="0">
                  <a:pos x="12" y="0"/>
                </a:cxn>
              </a:cxnLst>
              <a:rect l="0" t="0" r="r" b="b"/>
              <a:pathLst>
                <a:path w="158" h="157">
                  <a:moveTo>
                    <a:pt x="12" y="0"/>
                  </a:moveTo>
                  <a:lnTo>
                    <a:pt x="0" y="138"/>
                  </a:lnTo>
                  <a:lnTo>
                    <a:pt x="35" y="157"/>
                  </a:lnTo>
                  <a:lnTo>
                    <a:pt x="118" y="142"/>
                  </a:lnTo>
                  <a:lnTo>
                    <a:pt x="122" y="102"/>
                  </a:lnTo>
                  <a:lnTo>
                    <a:pt x="153" y="63"/>
                  </a:lnTo>
                  <a:lnTo>
                    <a:pt x="158" y="11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91" name="TextBox 290"/>
          <p:cNvSpPr txBox="1"/>
          <p:nvPr>
            <p:custDataLst>
              <p:tags r:id="rId2"/>
            </p:custDataLst>
          </p:nvPr>
        </p:nvSpPr>
        <p:spPr>
          <a:xfrm>
            <a:off x="6324600" y="2764365"/>
            <a:ext cx="12144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14 тыс. туристов</a:t>
            </a:r>
          </a:p>
        </p:txBody>
      </p:sp>
      <p:sp>
        <p:nvSpPr>
          <p:cNvPr id="293" name="TextBox 292"/>
          <p:cNvSpPr txBox="1"/>
          <p:nvPr>
            <p:custDataLst>
              <p:tags r:id="rId3"/>
            </p:custDataLst>
          </p:nvPr>
        </p:nvSpPr>
        <p:spPr>
          <a:xfrm>
            <a:off x="4944548" y="5845723"/>
            <a:ext cx="10715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14 тыс. туристов</a:t>
            </a:r>
          </a:p>
        </p:txBody>
      </p:sp>
      <p:sp>
        <p:nvSpPr>
          <p:cNvPr id="294" name="TextBox 293"/>
          <p:cNvSpPr txBox="1"/>
          <p:nvPr>
            <p:custDataLst>
              <p:tags r:id="rId4"/>
            </p:custDataLst>
          </p:nvPr>
        </p:nvSpPr>
        <p:spPr>
          <a:xfrm>
            <a:off x="2729970" y="2345261"/>
            <a:ext cx="128588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77 тыс. туристов</a:t>
            </a:r>
            <a:endParaRPr lang="ru-RU" sz="1200" b="1" baseline="30000" dirty="0" smtClean="0"/>
          </a:p>
        </p:txBody>
      </p:sp>
      <p:cxnSp>
        <p:nvCxnSpPr>
          <p:cNvPr id="295" name="Скругленная соединительная линия 294"/>
          <p:cNvCxnSpPr>
            <a:stCxn id="300" idx="0"/>
            <a:endCxn id="314" idx="5"/>
          </p:cNvCxnSpPr>
          <p:nvPr>
            <p:custDataLst>
              <p:tags r:id="rId5"/>
            </p:custDataLst>
          </p:nvPr>
        </p:nvCxnSpPr>
        <p:spPr>
          <a:xfrm rot="16200000" flipV="1">
            <a:off x="3886848" y="3965081"/>
            <a:ext cx="2775246" cy="414534"/>
          </a:xfrm>
          <a:prstGeom prst="curvedConnector3">
            <a:avLst>
              <a:gd name="adj1" fmla="val 50000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cxnSp>
        <p:nvCxnSpPr>
          <p:cNvPr id="296" name="Shape 63"/>
          <p:cNvCxnSpPr>
            <a:stCxn id="298" idx="3"/>
            <a:endCxn id="314" idx="6"/>
          </p:cNvCxnSpPr>
          <p:nvPr>
            <p:custDataLst>
              <p:tags r:id="rId6"/>
            </p:custDataLst>
          </p:nvPr>
        </p:nvCxnSpPr>
        <p:spPr>
          <a:xfrm>
            <a:off x="3524358" y="2242389"/>
            <a:ext cx="1553390" cy="516880"/>
          </a:xfrm>
          <a:prstGeom prst="curvedConnector3">
            <a:avLst>
              <a:gd name="adj1" fmla="val 114716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pic>
        <p:nvPicPr>
          <p:cNvPr id="298" name="Picture 3" descr="C:\Users\Игорь Копытов\Dropbox\Работа\Полезные вещи\иконки\Flags\Square\Russian-Federation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158598" y="2059509"/>
            <a:ext cx="365760" cy="365760"/>
          </a:xfrm>
          <a:prstGeom prst="rect">
            <a:avLst/>
          </a:prstGeom>
          <a:noFill/>
        </p:spPr>
      </p:pic>
      <p:pic>
        <p:nvPicPr>
          <p:cNvPr id="300" name="Picture 3" descr="C:\Users\9124~1\AppData\Local\Temp\Rar$DR26.312\Square\New-Zealand.pn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301738" y="5559971"/>
            <a:ext cx="360000" cy="360000"/>
          </a:xfrm>
          <a:prstGeom prst="rect">
            <a:avLst/>
          </a:prstGeom>
          <a:noFill/>
        </p:spPr>
      </p:pic>
      <p:pic>
        <p:nvPicPr>
          <p:cNvPr id="302" name="Picture 3" descr="C:\Users\7474~1\AppData\Local\Temp\Rar$DI36.536\Australia.pn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4301606" y="5131343"/>
            <a:ext cx="360000" cy="360000"/>
          </a:xfrm>
          <a:prstGeom prst="rect">
            <a:avLst/>
          </a:prstGeom>
          <a:noFill/>
        </p:spPr>
      </p:pic>
      <p:pic>
        <p:nvPicPr>
          <p:cNvPr id="303" name="Picture 4" descr="C:\Users\7474~1\AppData\Local\Temp\Rar$DI30.240\Japan.png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4515920" y="3202517"/>
            <a:ext cx="360000" cy="360000"/>
          </a:xfrm>
          <a:prstGeom prst="rect">
            <a:avLst/>
          </a:prstGeom>
          <a:noFill/>
        </p:spPr>
      </p:pic>
      <p:pic>
        <p:nvPicPr>
          <p:cNvPr id="304" name="Picture 5" descr="C:\Users\7474~1\AppData\Local\Temp\Rar$DI28.240\South-Korea.png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4087292" y="3416831"/>
            <a:ext cx="360000" cy="360000"/>
          </a:xfrm>
          <a:prstGeom prst="rect">
            <a:avLst/>
          </a:prstGeom>
          <a:noFill/>
        </p:spPr>
      </p:pic>
      <p:pic>
        <p:nvPicPr>
          <p:cNvPr id="305" name="Picture 6" descr="C:\Users\7474~1\AppData\Local\Temp\Rar$DI04.944\China.png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3158598" y="3131079"/>
            <a:ext cx="360000" cy="360000"/>
          </a:xfrm>
          <a:prstGeom prst="rect">
            <a:avLst/>
          </a:prstGeom>
          <a:noFill/>
        </p:spPr>
      </p:pic>
      <p:cxnSp>
        <p:nvCxnSpPr>
          <p:cNvPr id="306" name="Скругленная соединительная линия 315"/>
          <p:cNvCxnSpPr>
            <a:stCxn id="305" idx="3"/>
            <a:endCxn id="314" idx="1"/>
          </p:cNvCxnSpPr>
          <p:nvPr/>
        </p:nvCxnSpPr>
        <p:spPr>
          <a:xfrm flipV="1">
            <a:off x="3518598" y="2733813"/>
            <a:ext cx="1497694" cy="577266"/>
          </a:xfrm>
          <a:prstGeom prst="curvedConnector4">
            <a:avLst>
              <a:gd name="adj1" fmla="val 49648"/>
              <a:gd name="adj2" fmla="val 141427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cxnSp>
        <p:nvCxnSpPr>
          <p:cNvPr id="307" name="Скругленная соединительная линия 306"/>
          <p:cNvCxnSpPr>
            <a:stCxn id="302" idx="0"/>
            <a:endCxn id="314" idx="4"/>
          </p:cNvCxnSpPr>
          <p:nvPr/>
        </p:nvCxnSpPr>
        <p:spPr>
          <a:xfrm rot="5400000" flipH="1" flipV="1">
            <a:off x="3593640" y="3683235"/>
            <a:ext cx="2336074" cy="560142"/>
          </a:xfrm>
          <a:prstGeom prst="curvedConnector3">
            <a:avLst>
              <a:gd name="adj1" fmla="val 50000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cxnSp>
        <p:nvCxnSpPr>
          <p:cNvPr id="308" name="Скругленная соединительная линия 307"/>
          <p:cNvCxnSpPr>
            <a:stCxn id="303" idx="0"/>
            <a:endCxn id="314" idx="3"/>
          </p:cNvCxnSpPr>
          <p:nvPr/>
        </p:nvCxnSpPr>
        <p:spPr>
          <a:xfrm rot="5400000" flipH="1" flipV="1">
            <a:off x="4647210" y="2833435"/>
            <a:ext cx="417792" cy="320372"/>
          </a:xfrm>
          <a:prstGeom prst="curvedConnector3">
            <a:avLst>
              <a:gd name="adj1" fmla="val 50000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cxnSp>
        <p:nvCxnSpPr>
          <p:cNvPr id="309" name="Скругленная соединительная линия 321"/>
          <p:cNvCxnSpPr>
            <a:stCxn id="304" idx="0"/>
            <a:endCxn id="314" idx="2"/>
          </p:cNvCxnSpPr>
          <p:nvPr/>
        </p:nvCxnSpPr>
        <p:spPr>
          <a:xfrm rot="5400000" flipH="1" flipV="1">
            <a:off x="4307739" y="2718822"/>
            <a:ext cx="657562" cy="738456"/>
          </a:xfrm>
          <a:prstGeom prst="curvedConnector2">
            <a:avLst/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sp>
        <p:nvSpPr>
          <p:cNvPr id="310" name="TextBox 309"/>
          <p:cNvSpPr txBox="1"/>
          <p:nvPr/>
        </p:nvSpPr>
        <p:spPr>
          <a:xfrm>
            <a:off x="3801540" y="5488533"/>
            <a:ext cx="12144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9 тыс. туристов</a:t>
            </a:r>
          </a:p>
        </p:txBody>
      </p:sp>
      <p:sp>
        <p:nvSpPr>
          <p:cNvPr id="311" name="TextBox 310"/>
          <p:cNvSpPr txBox="1"/>
          <p:nvPr/>
        </p:nvSpPr>
        <p:spPr>
          <a:xfrm>
            <a:off x="2729970" y="3416831"/>
            <a:ext cx="12144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40 тыс. туристов</a:t>
            </a:r>
          </a:p>
        </p:txBody>
      </p:sp>
      <p:sp>
        <p:nvSpPr>
          <p:cNvPr id="312" name="TextBox 311"/>
          <p:cNvSpPr txBox="1"/>
          <p:nvPr/>
        </p:nvSpPr>
        <p:spPr>
          <a:xfrm>
            <a:off x="3658664" y="3702583"/>
            <a:ext cx="12144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20 тыс. туристов</a:t>
            </a:r>
          </a:p>
        </p:txBody>
      </p:sp>
      <p:sp>
        <p:nvSpPr>
          <p:cNvPr id="313" name="TextBox 312"/>
          <p:cNvSpPr txBox="1"/>
          <p:nvPr>
            <p:custDataLst>
              <p:tags r:id="rId9"/>
            </p:custDataLst>
          </p:nvPr>
        </p:nvSpPr>
        <p:spPr>
          <a:xfrm>
            <a:off x="4515920" y="3488269"/>
            <a:ext cx="12144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21 тыс. туристов</a:t>
            </a:r>
          </a:p>
        </p:txBody>
      </p:sp>
      <p:sp>
        <p:nvSpPr>
          <p:cNvPr id="314" name="Овал 313"/>
          <p:cNvSpPr/>
          <p:nvPr/>
        </p:nvSpPr>
        <p:spPr>
          <a:xfrm>
            <a:off x="5005748" y="2723269"/>
            <a:ext cx="72000" cy="720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15" name="Прямоугольник 314"/>
          <p:cNvSpPr/>
          <p:nvPr/>
        </p:nvSpPr>
        <p:spPr>
          <a:xfrm>
            <a:off x="474133" y="957602"/>
            <a:ext cx="9017000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57816">
              <a:lnSpc>
                <a:spcPct val="90000"/>
              </a:lnSpc>
              <a:spcBef>
                <a:spcPct val="0"/>
              </a:spcBef>
              <a:defRPr/>
            </a:pPr>
            <a:r>
              <a:rPr lang="ru-RU" b="1" spc="75" dirty="0" smtClean="0">
                <a:solidFill>
                  <a:schemeClr val="accent5">
                    <a:lumMod val="50000"/>
                  </a:schemeClr>
                </a:solidFill>
                <a:cs typeface="Segoe UI" pitchFamily="34" charset="0"/>
              </a:rPr>
              <a:t>Потенциальный поток туристов к 2025 г.: 225 тыс. туристов</a:t>
            </a:r>
            <a:endParaRPr lang="ru-RU" b="1" spc="75" dirty="0">
              <a:solidFill>
                <a:schemeClr val="accent5">
                  <a:lumMod val="50000"/>
                </a:schemeClr>
              </a:solidFill>
              <a:cs typeface="Segoe UI" pitchFamily="34" charset="0"/>
            </a:endParaRPr>
          </a:p>
        </p:txBody>
      </p:sp>
      <p:pic>
        <p:nvPicPr>
          <p:cNvPr id="316" name="Picture 5" descr="C:\Users\9124~1\AppData\Local\Temp\Rar$DI59.168\United-States-of-America(USA).pn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6720967" y="3076938"/>
            <a:ext cx="360000" cy="360000"/>
          </a:xfrm>
          <a:prstGeom prst="rect">
            <a:avLst/>
          </a:prstGeom>
          <a:noFill/>
        </p:spPr>
      </p:pic>
      <p:pic>
        <p:nvPicPr>
          <p:cNvPr id="318" name="Picture 6" descr="C:\Users\CD86~1\AppData\Local\Temp\Rar$DIa0.141\Canada.pn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6744787" y="2445276"/>
            <a:ext cx="360000" cy="360000"/>
          </a:xfrm>
          <a:prstGeom prst="rect">
            <a:avLst/>
          </a:prstGeom>
          <a:noFill/>
        </p:spPr>
      </p:pic>
      <p:cxnSp>
        <p:nvCxnSpPr>
          <p:cNvPr id="320" name="Скругленная соединительная линия 65"/>
          <p:cNvCxnSpPr>
            <a:stCxn id="318" idx="1"/>
          </p:cNvCxnSpPr>
          <p:nvPr>
            <p:custDataLst>
              <p:tags r:id="rId12"/>
            </p:custDataLst>
          </p:nvPr>
        </p:nvCxnSpPr>
        <p:spPr>
          <a:xfrm rot="10800000" flipV="1">
            <a:off x="5049173" y="2625276"/>
            <a:ext cx="1695614" cy="105418"/>
          </a:xfrm>
          <a:prstGeom prst="curvedConnector3">
            <a:avLst>
              <a:gd name="adj1" fmla="val 50000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cxnSp>
        <p:nvCxnSpPr>
          <p:cNvPr id="321" name="Скругленная соединительная линия 1764"/>
          <p:cNvCxnSpPr>
            <a:stCxn id="316" idx="1"/>
            <a:endCxn id="314" idx="5"/>
          </p:cNvCxnSpPr>
          <p:nvPr>
            <p:custDataLst>
              <p:tags r:id="rId13"/>
            </p:custDataLst>
          </p:nvPr>
        </p:nvCxnSpPr>
        <p:spPr>
          <a:xfrm rot="10800000">
            <a:off x="5067205" y="2784726"/>
            <a:ext cx="1653763" cy="472213"/>
          </a:xfrm>
          <a:prstGeom prst="curvedConnector2">
            <a:avLst/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sp>
        <p:nvSpPr>
          <p:cNvPr id="322" name="TextBox 321"/>
          <p:cNvSpPr txBox="1"/>
          <p:nvPr>
            <p:custDataLst>
              <p:tags r:id="rId14"/>
            </p:custDataLst>
          </p:nvPr>
        </p:nvSpPr>
        <p:spPr>
          <a:xfrm>
            <a:off x="6268528" y="3363655"/>
            <a:ext cx="12144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30 тыс. туристов</a:t>
            </a:r>
          </a:p>
        </p:txBody>
      </p:sp>
    </p:spTree>
    <p:extLst>
      <p:ext uri="{BB962C8B-B14F-4D97-AF65-F5344CB8AC3E}">
        <p14:creationId xmlns:p14="http://schemas.microsoft.com/office/powerpoint/2010/main" val="1566035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04875" y="187193"/>
            <a:ext cx="8277225" cy="625036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Экологический туризм: страны, откуда будет перераспределен поток туристов на Камчатку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11</a:t>
            </a:fld>
            <a:endParaRPr lang="ru-RU"/>
          </a:p>
        </p:txBody>
      </p:sp>
      <p:grpSp>
        <p:nvGrpSpPr>
          <p:cNvPr id="3" name="Группа 1475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96548" y="1427269"/>
            <a:ext cx="8496000" cy="4891001"/>
            <a:chOff x="263321" y="1214422"/>
            <a:chExt cx="8737835" cy="5030225"/>
          </a:xfrm>
        </p:grpSpPr>
        <p:sp>
          <p:nvSpPr>
            <p:cNvPr id="6" name="Freeform 6"/>
            <p:cNvSpPr>
              <a:spLocks noChangeAspect="1"/>
            </p:cNvSpPr>
            <p:nvPr/>
          </p:nvSpPr>
          <p:spPr bwMode="auto">
            <a:xfrm>
              <a:off x="305519" y="3534618"/>
              <a:ext cx="210989" cy="234294"/>
            </a:xfrm>
            <a:custGeom>
              <a:avLst/>
              <a:gdLst/>
              <a:ahLst/>
              <a:cxnLst>
                <a:cxn ang="0">
                  <a:pos x="357" y="22"/>
                </a:cxn>
                <a:cxn ang="0">
                  <a:pos x="359" y="0"/>
                </a:cxn>
                <a:cxn ang="0">
                  <a:pos x="328" y="0"/>
                </a:cxn>
                <a:cxn ang="0">
                  <a:pos x="210" y="0"/>
                </a:cxn>
                <a:cxn ang="0">
                  <a:pos x="193" y="27"/>
                </a:cxn>
                <a:cxn ang="0">
                  <a:pos x="138" y="20"/>
                </a:cxn>
                <a:cxn ang="0">
                  <a:pos x="131" y="79"/>
                </a:cxn>
                <a:cxn ang="0">
                  <a:pos x="111" y="110"/>
                </a:cxn>
                <a:cxn ang="0">
                  <a:pos x="70" y="127"/>
                </a:cxn>
                <a:cxn ang="0">
                  <a:pos x="52" y="145"/>
                </a:cxn>
                <a:cxn ang="0">
                  <a:pos x="55" y="213"/>
                </a:cxn>
                <a:cxn ang="0">
                  <a:pos x="28" y="221"/>
                </a:cxn>
                <a:cxn ang="0">
                  <a:pos x="35" y="252"/>
                </a:cxn>
                <a:cxn ang="0">
                  <a:pos x="15" y="268"/>
                </a:cxn>
                <a:cxn ang="0">
                  <a:pos x="0" y="316"/>
                </a:cxn>
                <a:cxn ang="0">
                  <a:pos x="4" y="379"/>
                </a:cxn>
                <a:cxn ang="0">
                  <a:pos x="20" y="386"/>
                </a:cxn>
                <a:cxn ang="0">
                  <a:pos x="87" y="395"/>
                </a:cxn>
                <a:cxn ang="0">
                  <a:pos x="127" y="395"/>
                </a:cxn>
                <a:cxn ang="0">
                  <a:pos x="131" y="327"/>
                </a:cxn>
                <a:cxn ang="0">
                  <a:pos x="142" y="289"/>
                </a:cxn>
                <a:cxn ang="0">
                  <a:pos x="170" y="265"/>
                </a:cxn>
                <a:cxn ang="0">
                  <a:pos x="210" y="276"/>
                </a:cxn>
                <a:cxn ang="0">
                  <a:pos x="210" y="123"/>
                </a:cxn>
                <a:cxn ang="0">
                  <a:pos x="320" y="114"/>
                </a:cxn>
                <a:cxn ang="0">
                  <a:pos x="339" y="86"/>
                </a:cxn>
                <a:cxn ang="0">
                  <a:pos x="357" y="22"/>
                </a:cxn>
              </a:cxnLst>
              <a:rect l="0" t="0" r="r" b="b"/>
              <a:pathLst>
                <a:path w="359" h="395">
                  <a:moveTo>
                    <a:pt x="357" y="22"/>
                  </a:moveTo>
                  <a:lnTo>
                    <a:pt x="359" y="0"/>
                  </a:lnTo>
                  <a:lnTo>
                    <a:pt x="328" y="0"/>
                  </a:lnTo>
                  <a:lnTo>
                    <a:pt x="210" y="0"/>
                  </a:lnTo>
                  <a:lnTo>
                    <a:pt x="193" y="27"/>
                  </a:lnTo>
                  <a:lnTo>
                    <a:pt x="138" y="20"/>
                  </a:lnTo>
                  <a:lnTo>
                    <a:pt x="131" y="79"/>
                  </a:lnTo>
                  <a:lnTo>
                    <a:pt x="111" y="110"/>
                  </a:lnTo>
                  <a:lnTo>
                    <a:pt x="70" y="127"/>
                  </a:lnTo>
                  <a:lnTo>
                    <a:pt x="52" y="145"/>
                  </a:lnTo>
                  <a:lnTo>
                    <a:pt x="55" y="213"/>
                  </a:lnTo>
                  <a:lnTo>
                    <a:pt x="28" y="221"/>
                  </a:lnTo>
                  <a:lnTo>
                    <a:pt x="35" y="252"/>
                  </a:lnTo>
                  <a:lnTo>
                    <a:pt x="15" y="268"/>
                  </a:lnTo>
                  <a:lnTo>
                    <a:pt x="0" y="316"/>
                  </a:lnTo>
                  <a:lnTo>
                    <a:pt x="4" y="379"/>
                  </a:lnTo>
                  <a:lnTo>
                    <a:pt x="20" y="386"/>
                  </a:lnTo>
                  <a:lnTo>
                    <a:pt x="87" y="395"/>
                  </a:lnTo>
                  <a:lnTo>
                    <a:pt x="127" y="395"/>
                  </a:lnTo>
                  <a:lnTo>
                    <a:pt x="131" y="327"/>
                  </a:lnTo>
                  <a:lnTo>
                    <a:pt x="142" y="289"/>
                  </a:lnTo>
                  <a:lnTo>
                    <a:pt x="170" y="265"/>
                  </a:lnTo>
                  <a:lnTo>
                    <a:pt x="210" y="276"/>
                  </a:lnTo>
                  <a:lnTo>
                    <a:pt x="210" y="123"/>
                  </a:lnTo>
                  <a:lnTo>
                    <a:pt x="320" y="114"/>
                  </a:lnTo>
                  <a:lnTo>
                    <a:pt x="339" y="86"/>
                  </a:lnTo>
                  <a:lnTo>
                    <a:pt x="357" y="2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7"/>
            <p:cNvSpPr>
              <a:spLocks noChangeAspect="1"/>
            </p:cNvSpPr>
            <p:nvPr/>
          </p:nvSpPr>
          <p:spPr bwMode="auto">
            <a:xfrm>
              <a:off x="6907088" y="3960279"/>
              <a:ext cx="50989" cy="37274"/>
            </a:xfrm>
            <a:custGeom>
              <a:avLst/>
              <a:gdLst/>
              <a:ahLst/>
              <a:cxnLst>
                <a:cxn ang="0">
                  <a:pos x="88" y="62"/>
                </a:cxn>
                <a:cxn ang="0">
                  <a:pos x="85" y="3"/>
                </a:cxn>
                <a:cxn ang="0">
                  <a:pos x="33" y="0"/>
                </a:cxn>
                <a:cxn ang="0">
                  <a:pos x="0" y="15"/>
                </a:cxn>
                <a:cxn ang="0">
                  <a:pos x="88" y="62"/>
                </a:cxn>
              </a:cxnLst>
              <a:rect l="0" t="0" r="r" b="b"/>
              <a:pathLst>
                <a:path w="88" h="62">
                  <a:moveTo>
                    <a:pt x="88" y="62"/>
                  </a:moveTo>
                  <a:lnTo>
                    <a:pt x="85" y="3"/>
                  </a:lnTo>
                  <a:lnTo>
                    <a:pt x="33" y="0"/>
                  </a:lnTo>
                  <a:lnTo>
                    <a:pt x="0" y="15"/>
                  </a:lnTo>
                  <a:lnTo>
                    <a:pt x="88" y="6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" name="Freeform 8"/>
            <p:cNvSpPr>
              <a:spLocks noChangeAspect="1"/>
            </p:cNvSpPr>
            <p:nvPr/>
          </p:nvSpPr>
          <p:spPr bwMode="auto">
            <a:xfrm>
              <a:off x="7322034" y="3772133"/>
              <a:ext cx="77363" cy="74548"/>
            </a:xfrm>
            <a:custGeom>
              <a:avLst/>
              <a:gdLst/>
              <a:ahLst/>
              <a:cxnLst>
                <a:cxn ang="0">
                  <a:pos x="98" y="4"/>
                </a:cxn>
                <a:cxn ang="0">
                  <a:pos x="79" y="43"/>
                </a:cxn>
                <a:cxn ang="0">
                  <a:pos x="98" y="66"/>
                </a:cxn>
                <a:cxn ang="0">
                  <a:pos x="71" y="83"/>
                </a:cxn>
                <a:cxn ang="0">
                  <a:pos x="0" y="83"/>
                </a:cxn>
                <a:cxn ang="0">
                  <a:pos x="11" y="118"/>
                </a:cxn>
                <a:cxn ang="0">
                  <a:pos x="63" y="122"/>
                </a:cxn>
                <a:cxn ang="0">
                  <a:pos x="114" y="125"/>
                </a:cxn>
                <a:cxn ang="0">
                  <a:pos x="130" y="90"/>
                </a:cxn>
                <a:cxn ang="0">
                  <a:pos x="130" y="24"/>
                </a:cxn>
                <a:cxn ang="0">
                  <a:pos x="130" y="0"/>
                </a:cxn>
                <a:cxn ang="0">
                  <a:pos x="98" y="4"/>
                </a:cxn>
              </a:cxnLst>
              <a:rect l="0" t="0" r="r" b="b"/>
              <a:pathLst>
                <a:path w="130" h="125">
                  <a:moveTo>
                    <a:pt x="98" y="4"/>
                  </a:moveTo>
                  <a:lnTo>
                    <a:pt x="79" y="43"/>
                  </a:lnTo>
                  <a:lnTo>
                    <a:pt x="98" y="66"/>
                  </a:lnTo>
                  <a:lnTo>
                    <a:pt x="71" y="83"/>
                  </a:lnTo>
                  <a:lnTo>
                    <a:pt x="0" y="83"/>
                  </a:lnTo>
                  <a:lnTo>
                    <a:pt x="11" y="118"/>
                  </a:lnTo>
                  <a:lnTo>
                    <a:pt x="63" y="122"/>
                  </a:lnTo>
                  <a:lnTo>
                    <a:pt x="114" y="125"/>
                  </a:lnTo>
                  <a:lnTo>
                    <a:pt x="130" y="90"/>
                  </a:lnTo>
                  <a:lnTo>
                    <a:pt x="130" y="24"/>
                  </a:lnTo>
                  <a:lnTo>
                    <a:pt x="130" y="0"/>
                  </a:lnTo>
                  <a:lnTo>
                    <a:pt x="98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9"/>
            <p:cNvSpPr>
              <a:spLocks noChangeAspect="1"/>
            </p:cNvSpPr>
            <p:nvPr/>
          </p:nvSpPr>
          <p:spPr bwMode="auto">
            <a:xfrm>
              <a:off x="738047" y="4040481"/>
              <a:ext cx="87912" cy="195245"/>
            </a:xfrm>
            <a:custGeom>
              <a:avLst/>
              <a:gdLst/>
              <a:ahLst/>
              <a:cxnLst>
                <a:cxn ang="0">
                  <a:pos x="0" y="116"/>
                </a:cxn>
                <a:cxn ang="0">
                  <a:pos x="20" y="147"/>
                </a:cxn>
                <a:cxn ang="0">
                  <a:pos x="31" y="210"/>
                </a:cxn>
                <a:cxn ang="0">
                  <a:pos x="36" y="269"/>
                </a:cxn>
                <a:cxn ang="0">
                  <a:pos x="51" y="328"/>
                </a:cxn>
                <a:cxn ang="0">
                  <a:pos x="110" y="300"/>
                </a:cxn>
                <a:cxn ang="0">
                  <a:pos x="99" y="197"/>
                </a:cxn>
                <a:cxn ang="0">
                  <a:pos x="127" y="162"/>
                </a:cxn>
                <a:cxn ang="0">
                  <a:pos x="150" y="59"/>
                </a:cxn>
                <a:cxn ang="0">
                  <a:pos x="143" y="0"/>
                </a:cxn>
                <a:cxn ang="0">
                  <a:pos x="99" y="4"/>
                </a:cxn>
                <a:cxn ang="0">
                  <a:pos x="86" y="52"/>
                </a:cxn>
                <a:cxn ang="0">
                  <a:pos x="36" y="68"/>
                </a:cxn>
                <a:cxn ang="0">
                  <a:pos x="0" y="116"/>
                </a:cxn>
              </a:cxnLst>
              <a:rect l="0" t="0" r="r" b="b"/>
              <a:pathLst>
                <a:path w="150" h="328">
                  <a:moveTo>
                    <a:pt x="0" y="116"/>
                  </a:moveTo>
                  <a:lnTo>
                    <a:pt x="20" y="147"/>
                  </a:lnTo>
                  <a:lnTo>
                    <a:pt x="31" y="210"/>
                  </a:lnTo>
                  <a:lnTo>
                    <a:pt x="36" y="269"/>
                  </a:lnTo>
                  <a:lnTo>
                    <a:pt x="51" y="328"/>
                  </a:lnTo>
                  <a:lnTo>
                    <a:pt x="110" y="300"/>
                  </a:lnTo>
                  <a:lnTo>
                    <a:pt x="99" y="197"/>
                  </a:lnTo>
                  <a:lnTo>
                    <a:pt x="127" y="162"/>
                  </a:lnTo>
                  <a:lnTo>
                    <a:pt x="150" y="59"/>
                  </a:lnTo>
                  <a:lnTo>
                    <a:pt x="143" y="0"/>
                  </a:lnTo>
                  <a:lnTo>
                    <a:pt x="99" y="4"/>
                  </a:lnTo>
                  <a:lnTo>
                    <a:pt x="86" y="52"/>
                  </a:lnTo>
                  <a:lnTo>
                    <a:pt x="36" y="68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10"/>
            <p:cNvSpPr>
              <a:spLocks noChangeAspect="1"/>
            </p:cNvSpPr>
            <p:nvPr/>
          </p:nvSpPr>
          <p:spPr bwMode="auto">
            <a:xfrm>
              <a:off x="1038707" y="4940383"/>
              <a:ext cx="260220" cy="395815"/>
            </a:xfrm>
            <a:custGeom>
              <a:avLst/>
              <a:gdLst/>
              <a:ahLst/>
              <a:cxnLst>
                <a:cxn ang="0">
                  <a:pos x="3" y="18"/>
                </a:cxn>
                <a:cxn ang="0">
                  <a:pos x="48" y="0"/>
                </a:cxn>
                <a:cxn ang="0">
                  <a:pos x="96" y="23"/>
                </a:cxn>
                <a:cxn ang="0">
                  <a:pos x="176" y="31"/>
                </a:cxn>
                <a:cxn ang="0">
                  <a:pos x="293" y="27"/>
                </a:cxn>
                <a:cxn ang="0">
                  <a:pos x="309" y="52"/>
                </a:cxn>
                <a:cxn ang="0">
                  <a:pos x="406" y="65"/>
                </a:cxn>
                <a:cxn ang="0">
                  <a:pos x="444" y="71"/>
                </a:cxn>
                <a:cxn ang="0">
                  <a:pos x="420" y="113"/>
                </a:cxn>
                <a:cxn ang="0">
                  <a:pos x="417" y="275"/>
                </a:cxn>
                <a:cxn ang="0">
                  <a:pos x="395" y="292"/>
                </a:cxn>
                <a:cxn ang="0">
                  <a:pos x="371" y="301"/>
                </a:cxn>
                <a:cxn ang="0">
                  <a:pos x="374" y="465"/>
                </a:cxn>
                <a:cxn ang="0">
                  <a:pos x="362" y="643"/>
                </a:cxn>
                <a:cxn ang="0">
                  <a:pos x="334" y="671"/>
                </a:cxn>
                <a:cxn ang="0">
                  <a:pos x="275" y="665"/>
                </a:cxn>
                <a:cxn ang="0">
                  <a:pos x="254" y="627"/>
                </a:cxn>
                <a:cxn ang="0">
                  <a:pos x="244" y="641"/>
                </a:cxn>
                <a:cxn ang="0">
                  <a:pos x="210" y="645"/>
                </a:cxn>
                <a:cxn ang="0">
                  <a:pos x="197" y="604"/>
                </a:cxn>
                <a:cxn ang="0">
                  <a:pos x="174" y="577"/>
                </a:cxn>
                <a:cxn ang="0">
                  <a:pos x="142" y="571"/>
                </a:cxn>
                <a:cxn ang="0">
                  <a:pos x="145" y="508"/>
                </a:cxn>
                <a:cxn ang="0">
                  <a:pos x="131" y="440"/>
                </a:cxn>
                <a:cxn ang="0">
                  <a:pos x="128" y="391"/>
                </a:cxn>
                <a:cxn ang="0">
                  <a:pos x="125" y="328"/>
                </a:cxn>
                <a:cxn ang="0">
                  <a:pos x="108" y="282"/>
                </a:cxn>
                <a:cxn ang="0">
                  <a:pos x="93" y="249"/>
                </a:cxn>
                <a:cxn ang="0">
                  <a:pos x="79" y="215"/>
                </a:cxn>
                <a:cxn ang="0">
                  <a:pos x="49" y="157"/>
                </a:cxn>
                <a:cxn ang="0">
                  <a:pos x="35" y="129"/>
                </a:cxn>
                <a:cxn ang="0">
                  <a:pos x="0" y="81"/>
                </a:cxn>
                <a:cxn ang="0">
                  <a:pos x="3" y="18"/>
                </a:cxn>
              </a:cxnLst>
              <a:rect l="0" t="0" r="r" b="b"/>
              <a:pathLst>
                <a:path w="444" h="671">
                  <a:moveTo>
                    <a:pt x="3" y="18"/>
                  </a:moveTo>
                  <a:lnTo>
                    <a:pt x="48" y="0"/>
                  </a:lnTo>
                  <a:lnTo>
                    <a:pt x="96" y="23"/>
                  </a:lnTo>
                  <a:lnTo>
                    <a:pt x="176" y="31"/>
                  </a:lnTo>
                  <a:lnTo>
                    <a:pt x="293" y="27"/>
                  </a:lnTo>
                  <a:lnTo>
                    <a:pt x="309" y="52"/>
                  </a:lnTo>
                  <a:lnTo>
                    <a:pt x="406" y="65"/>
                  </a:lnTo>
                  <a:lnTo>
                    <a:pt x="444" y="71"/>
                  </a:lnTo>
                  <a:lnTo>
                    <a:pt x="420" y="113"/>
                  </a:lnTo>
                  <a:lnTo>
                    <a:pt x="417" y="275"/>
                  </a:lnTo>
                  <a:lnTo>
                    <a:pt x="395" y="292"/>
                  </a:lnTo>
                  <a:lnTo>
                    <a:pt x="371" y="301"/>
                  </a:lnTo>
                  <a:lnTo>
                    <a:pt x="374" y="465"/>
                  </a:lnTo>
                  <a:lnTo>
                    <a:pt x="362" y="643"/>
                  </a:lnTo>
                  <a:lnTo>
                    <a:pt x="334" y="671"/>
                  </a:lnTo>
                  <a:lnTo>
                    <a:pt x="275" y="665"/>
                  </a:lnTo>
                  <a:lnTo>
                    <a:pt x="254" y="627"/>
                  </a:lnTo>
                  <a:lnTo>
                    <a:pt x="244" y="641"/>
                  </a:lnTo>
                  <a:lnTo>
                    <a:pt x="210" y="645"/>
                  </a:lnTo>
                  <a:lnTo>
                    <a:pt x="197" y="604"/>
                  </a:lnTo>
                  <a:lnTo>
                    <a:pt x="174" y="577"/>
                  </a:lnTo>
                  <a:lnTo>
                    <a:pt x="142" y="571"/>
                  </a:lnTo>
                  <a:lnTo>
                    <a:pt x="145" y="508"/>
                  </a:lnTo>
                  <a:lnTo>
                    <a:pt x="131" y="440"/>
                  </a:lnTo>
                  <a:lnTo>
                    <a:pt x="128" y="391"/>
                  </a:lnTo>
                  <a:lnTo>
                    <a:pt x="125" y="328"/>
                  </a:lnTo>
                  <a:lnTo>
                    <a:pt x="108" y="282"/>
                  </a:lnTo>
                  <a:lnTo>
                    <a:pt x="93" y="249"/>
                  </a:lnTo>
                  <a:lnTo>
                    <a:pt x="79" y="215"/>
                  </a:lnTo>
                  <a:lnTo>
                    <a:pt x="49" y="157"/>
                  </a:lnTo>
                  <a:lnTo>
                    <a:pt x="35" y="129"/>
                  </a:lnTo>
                  <a:lnTo>
                    <a:pt x="0" y="81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 11"/>
            <p:cNvSpPr>
              <a:spLocks noChangeAspect="1"/>
            </p:cNvSpPr>
            <p:nvPr/>
          </p:nvSpPr>
          <p:spPr bwMode="auto">
            <a:xfrm>
              <a:off x="4774975" y="4459370"/>
              <a:ext cx="52747" cy="763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3" y="64"/>
                </a:cxn>
                <a:cxn ang="0">
                  <a:pos x="72" y="127"/>
                </a:cxn>
                <a:cxn ang="0">
                  <a:pos x="88" y="48"/>
                </a:cxn>
                <a:cxn ang="0">
                  <a:pos x="0" y="0"/>
                </a:cxn>
              </a:cxnLst>
              <a:rect l="0" t="0" r="r" b="b"/>
              <a:pathLst>
                <a:path w="88" h="127">
                  <a:moveTo>
                    <a:pt x="0" y="0"/>
                  </a:moveTo>
                  <a:lnTo>
                    <a:pt x="33" y="64"/>
                  </a:lnTo>
                  <a:lnTo>
                    <a:pt x="72" y="127"/>
                  </a:lnTo>
                  <a:lnTo>
                    <a:pt x="88" y="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12"/>
            <p:cNvSpPr>
              <a:spLocks noChangeAspect="1"/>
            </p:cNvSpPr>
            <p:nvPr/>
          </p:nvSpPr>
          <p:spPr bwMode="auto">
            <a:xfrm>
              <a:off x="6237197" y="3365669"/>
              <a:ext cx="761320" cy="580411"/>
            </a:xfrm>
            <a:custGeom>
              <a:avLst/>
              <a:gdLst/>
              <a:ahLst/>
              <a:cxnLst>
                <a:cxn ang="0">
                  <a:pos x="774" y="375"/>
                </a:cxn>
                <a:cxn ang="0">
                  <a:pos x="723" y="292"/>
                </a:cxn>
                <a:cxn ang="0">
                  <a:pos x="683" y="189"/>
                </a:cxn>
                <a:cxn ang="0">
                  <a:pos x="620" y="217"/>
                </a:cxn>
                <a:cxn ang="0">
                  <a:pos x="548" y="142"/>
                </a:cxn>
                <a:cxn ang="0">
                  <a:pos x="517" y="90"/>
                </a:cxn>
                <a:cxn ang="0">
                  <a:pos x="465" y="35"/>
                </a:cxn>
                <a:cxn ang="0">
                  <a:pos x="394" y="62"/>
                </a:cxn>
                <a:cxn ang="0">
                  <a:pos x="320" y="90"/>
                </a:cxn>
                <a:cxn ang="0">
                  <a:pos x="197" y="95"/>
                </a:cxn>
                <a:cxn ang="0">
                  <a:pos x="110" y="31"/>
                </a:cxn>
                <a:cxn ang="0">
                  <a:pos x="0" y="0"/>
                </a:cxn>
                <a:cxn ang="0">
                  <a:pos x="51" y="165"/>
                </a:cxn>
                <a:cxn ang="0">
                  <a:pos x="79" y="272"/>
                </a:cxn>
                <a:cxn ang="0">
                  <a:pos x="129" y="348"/>
                </a:cxn>
                <a:cxn ang="0">
                  <a:pos x="189" y="462"/>
                </a:cxn>
                <a:cxn ang="0">
                  <a:pos x="311" y="557"/>
                </a:cxn>
                <a:cxn ang="0">
                  <a:pos x="248" y="407"/>
                </a:cxn>
                <a:cxn ang="0">
                  <a:pos x="162" y="261"/>
                </a:cxn>
                <a:cxn ang="0">
                  <a:pos x="98" y="142"/>
                </a:cxn>
                <a:cxn ang="0">
                  <a:pos x="129" y="86"/>
                </a:cxn>
                <a:cxn ang="0">
                  <a:pos x="201" y="154"/>
                </a:cxn>
                <a:cxn ang="0">
                  <a:pos x="245" y="276"/>
                </a:cxn>
                <a:cxn ang="0">
                  <a:pos x="307" y="351"/>
                </a:cxn>
                <a:cxn ang="0">
                  <a:pos x="347" y="415"/>
                </a:cxn>
                <a:cxn ang="0">
                  <a:pos x="406" y="498"/>
                </a:cxn>
                <a:cxn ang="0">
                  <a:pos x="442" y="541"/>
                </a:cxn>
                <a:cxn ang="0">
                  <a:pos x="465" y="651"/>
                </a:cxn>
                <a:cxn ang="0">
                  <a:pos x="493" y="727"/>
                </a:cxn>
                <a:cxn ang="0">
                  <a:pos x="869" y="929"/>
                </a:cxn>
                <a:cxn ang="0">
                  <a:pos x="948" y="916"/>
                </a:cxn>
                <a:cxn ang="0">
                  <a:pos x="1033" y="982"/>
                </a:cxn>
                <a:cxn ang="0">
                  <a:pos x="1093" y="914"/>
                </a:cxn>
                <a:cxn ang="0">
                  <a:pos x="1171" y="827"/>
                </a:cxn>
                <a:cxn ang="0">
                  <a:pos x="1250" y="787"/>
                </a:cxn>
                <a:cxn ang="0">
                  <a:pos x="1279" y="688"/>
                </a:cxn>
                <a:cxn ang="0">
                  <a:pos x="1288" y="629"/>
                </a:cxn>
                <a:cxn ang="0">
                  <a:pos x="1145" y="656"/>
                </a:cxn>
                <a:cxn ang="0">
                  <a:pos x="1027" y="771"/>
                </a:cxn>
                <a:cxn ang="0">
                  <a:pos x="852" y="723"/>
                </a:cxn>
                <a:cxn ang="0">
                  <a:pos x="806" y="502"/>
                </a:cxn>
                <a:cxn ang="0">
                  <a:pos x="837" y="375"/>
                </a:cxn>
              </a:cxnLst>
              <a:rect l="0" t="0" r="r" b="b"/>
              <a:pathLst>
                <a:path w="1299" h="982">
                  <a:moveTo>
                    <a:pt x="837" y="375"/>
                  </a:moveTo>
                  <a:lnTo>
                    <a:pt x="774" y="375"/>
                  </a:lnTo>
                  <a:lnTo>
                    <a:pt x="762" y="312"/>
                  </a:lnTo>
                  <a:lnTo>
                    <a:pt x="723" y="292"/>
                  </a:lnTo>
                  <a:lnTo>
                    <a:pt x="710" y="224"/>
                  </a:lnTo>
                  <a:lnTo>
                    <a:pt x="683" y="189"/>
                  </a:lnTo>
                  <a:lnTo>
                    <a:pt x="635" y="154"/>
                  </a:lnTo>
                  <a:lnTo>
                    <a:pt x="620" y="217"/>
                  </a:lnTo>
                  <a:lnTo>
                    <a:pt x="572" y="217"/>
                  </a:lnTo>
                  <a:lnTo>
                    <a:pt x="548" y="142"/>
                  </a:lnTo>
                  <a:lnTo>
                    <a:pt x="521" y="134"/>
                  </a:lnTo>
                  <a:lnTo>
                    <a:pt x="517" y="90"/>
                  </a:lnTo>
                  <a:lnTo>
                    <a:pt x="482" y="83"/>
                  </a:lnTo>
                  <a:lnTo>
                    <a:pt x="465" y="35"/>
                  </a:lnTo>
                  <a:lnTo>
                    <a:pt x="434" y="59"/>
                  </a:lnTo>
                  <a:lnTo>
                    <a:pt x="394" y="62"/>
                  </a:lnTo>
                  <a:lnTo>
                    <a:pt x="386" y="90"/>
                  </a:lnTo>
                  <a:lnTo>
                    <a:pt x="320" y="90"/>
                  </a:lnTo>
                  <a:lnTo>
                    <a:pt x="268" y="110"/>
                  </a:lnTo>
                  <a:lnTo>
                    <a:pt x="197" y="95"/>
                  </a:lnTo>
                  <a:lnTo>
                    <a:pt x="149" y="47"/>
                  </a:lnTo>
                  <a:lnTo>
                    <a:pt x="110" y="31"/>
                  </a:lnTo>
                  <a:lnTo>
                    <a:pt x="98" y="3"/>
                  </a:lnTo>
                  <a:lnTo>
                    <a:pt x="0" y="0"/>
                  </a:lnTo>
                  <a:lnTo>
                    <a:pt x="7" y="114"/>
                  </a:lnTo>
                  <a:lnTo>
                    <a:pt x="51" y="165"/>
                  </a:lnTo>
                  <a:lnTo>
                    <a:pt x="90" y="229"/>
                  </a:lnTo>
                  <a:lnTo>
                    <a:pt x="79" y="272"/>
                  </a:lnTo>
                  <a:lnTo>
                    <a:pt x="55" y="289"/>
                  </a:lnTo>
                  <a:lnTo>
                    <a:pt x="129" y="348"/>
                  </a:lnTo>
                  <a:lnTo>
                    <a:pt x="180" y="388"/>
                  </a:lnTo>
                  <a:lnTo>
                    <a:pt x="189" y="462"/>
                  </a:lnTo>
                  <a:lnTo>
                    <a:pt x="276" y="557"/>
                  </a:lnTo>
                  <a:lnTo>
                    <a:pt x="311" y="557"/>
                  </a:lnTo>
                  <a:lnTo>
                    <a:pt x="287" y="486"/>
                  </a:lnTo>
                  <a:lnTo>
                    <a:pt x="248" y="407"/>
                  </a:lnTo>
                  <a:lnTo>
                    <a:pt x="217" y="327"/>
                  </a:lnTo>
                  <a:lnTo>
                    <a:pt x="162" y="261"/>
                  </a:lnTo>
                  <a:lnTo>
                    <a:pt x="125" y="197"/>
                  </a:lnTo>
                  <a:lnTo>
                    <a:pt x="98" y="142"/>
                  </a:lnTo>
                  <a:lnTo>
                    <a:pt x="98" y="68"/>
                  </a:lnTo>
                  <a:lnTo>
                    <a:pt x="129" y="86"/>
                  </a:lnTo>
                  <a:lnTo>
                    <a:pt x="165" y="127"/>
                  </a:lnTo>
                  <a:lnTo>
                    <a:pt x="201" y="154"/>
                  </a:lnTo>
                  <a:lnTo>
                    <a:pt x="208" y="241"/>
                  </a:lnTo>
                  <a:lnTo>
                    <a:pt x="245" y="276"/>
                  </a:lnTo>
                  <a:lnTo>
                    <a:pt x="280" y="336"/>
                  </a:lnTo>
                  <a:lnTo>
                    <a:pt x="307" y="351"/>
                  </a:lnTo>
                  <a:lnTo>
                    <a:pt x="304" y="399"/>
                  </a:lnTo>
                  <a:lnTo>
                    <a:pt x="347" y="415"/>
                  </a:lnTo>
                  <a:lnTo>
                    <a:pt x="351" y="471"/>
                  </a:lnTo>
                  <a:lnTo>
                    <a:pt x="406" y="498"/>
                  </a:lnTo>
                  <a:lnTo>
                    <a:pt x="406" y="537"/>
                  </a:lnTo>
                  <a:lnTo>
                    <a:pt x="442" y="541"/>
                  </a:lnTo>
                  <a:lnTo>
                    <a:pt x="445" y="600"/>
                  </a:lnTo>
                  <a:lnTo>
                    <a:pt x="465" y="651"/>
                  </a:lnTo>
                  <a:lnTo>
                    <a:pt x="449" y="699"/>
                  </a:lnTo>
                  <a:lnTo>
                    <a:pt x="493" y="727"/>
                  </a:lnTo>
                  <a:lnTo>
                    <a:pt x="742" y="889"/>
                  </a:lnTo>
                  <a:lnTo>
                    <a:pt x="869" y="929"/>
                  </a:lnTo>
                  <a:lnTo>
                    <a:pt x="912" y="901"/>
                  </a:lnTo>
                  <a:lnTo>
                    <a:pt x="948" y="916"/>
                  </a:lnTo>
                  <a:lnTo>
                    <a:pt x="999" y="936"/>
                  </a:lnTo>
                  <a:lnTo>
                    <a:pt x="1033" y="982"/>
                  </a:lnTo>
                  <a:lnTo>
                    <a:pt x="1053" y="926"/>
                  </a:lnTo>
                  <a:lnTo>
                    <a:pt x="1093" y="914"/>
                  </a:lnTo>
                  <a:lnTo>
                    <a:pt x="1101" y="859"/>
                  </a:lnTo>
                  <a:lnTo>
                    <a:pt x="1171" y="827"/>
                  </a:lnTo>
                  <a:lnTo>
                    <a:pt x="1195" y="820"/>
                  </a:lnTo>
                  <a:lnTo>
                    <a:pt x="1250" y="787"/>
                  </a:lnTo>
                  <a:lnTo>
                    <a:pt x="1284" y="747"/>
                  </a:lnTo>
                  <a:lnTo>
                    <a:pt x="1279" y="688"/>
                  </a:lnTo>
                  <a:lnTo>
                    <a:pt x="1299" y="675"/>
                  </a:lnTo>
                  <a:lnTo>
                    <a:pt x="1288" y="629"/>
                  </a:lnTo>
                  <a:lnTo>
                    <a:pt x="1189" y="620"/>
                  </a:lnTo>
                  <a:lnTo>
                    <a:pt x="1145" y="656"/>
                  </a:lnTo>
                  <a:lnTo>
                    <a:pt x="1098" y="751"/>
                  </a:lnTo>
                  <a:lnTo>
                    <a:pt x="1027" y="771"/>
                  </a:lnTo>
                  <a:lnTo>
                    <a:pt x="928" y="774"/>
                  </a:lnTo>
                  <a:lnTo>
                    <a:pt x="852" y="723"/>
                  </a:lnTo>
                  <a:lnTo>
                    <a:pt x="830" y="592"/>
                  </a:lnTo>
                  <a:lnTo>
                    <a:pt x="806" y="502"/>
                  </a:lnTo>
                  <a:lnTo>
                    <a:pt x="825" y="434"/>
                  </a:lnTo>
                  <a:lnTo>
                    <a:pt x="837" y="37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13"/>
            <p:cNvSpPr>
              <a:spLocks noChangeAspect="1"/>
            </p:cNvSpPr>
            <p:nvPr/>
          </p:nvSpPr>
          <p:spPr bwMode="auto">
            <a:xfrm>
              <a:off x="6907088" y="3905255"/>
              <a:ext cx="179341" cy="92298"/>
            </a:xfrm>
            <a:custGeom>
              <a:avLst/>
              <a:gdLst/>
              <a:ahLst/>
              <a:cxnLst>
                <a:cxn ang="0">
                  <a:pos x="48" y="24"/>
                </a:cxn>
                <a:cxn ang="0">
                  <a:pos x="41" y="63"/>
                </a:cxn>
                <a:cxn ang="0">
                  <a:pos x="9" y="63"/>
                </a:cxn>
                <a:cxn ang="0">
                  <a:pos x="0" y="107"/>
                </a:cxn>
                <a:cxn ang="0">
                  <a:pos x="33" y="92"/>
                </a:cxn>
                <a:cxn ang="0">
                  <a:pos x="85" y="95"/>
                </a:cxn>
                <a:cxn ang="0">
                  <a:pos x="88" y="154"/>
                </a:cxn>
                <a:cxn ang="0">
                  <a:pos x="132" y="129"/>
                </a:cxn>
                <a:cxn ang="0">
                  <a:pos x="191" y="125"/>
                </a:cxn>
                <a:cxn ang="0">
                  <a:pos x="208" y="78"/>
                </a:cxn>
                <a:cxn ang="0">
                  <a:pos x="279" y="81"/>
                </a:cxn>
                <a:cxn ang="0">
                  <a:pos x="307" y="46"/>
                </a:cxn>
                <a:cxn ang="0">
                  <a:pos x="259" y="30"/>
                </a:cxn>
                <a:cxn ang="0">
                  <a:pos x="231" y="2"/>
                </a:cxn>
                <a:cxn ang="0">
                  <a:pos x="156" y="2"/>
                </a:cxn>
                <a:cxn ang="0">
                  <a:pos x="129" y="26"/>
                </a:cxn>
                <a:cxn ang="0">
                  <a:pos x="107" y="0"/>
                </a:cxn>
                <a:cxn ang="0">
                  <a:pos x="76" y="20"/>
                </a:cxn>
                <a:cxn ang="0">
                  <a:pos x="48" y="24"/>
                </a:cxn>
              </a:cxnLst>
              <a:rect l="0" t="0" r="r" b="b"/>
              <a:pathLst>
                <a:path w="307" h="154">
                  <a:moveTo>
                    <a:pt x="48" y="24"/>
                  </a:moveTo>
                  <a:lnTo>
                    <a:pt x="41" y="63"/>
                  </a:lnTo>
                  <a:lnTo>
                    <a:pt x="9" y="63"/>
                  </a:lnTo>
                  <a:lnTo>
                    <a:pt x="0" y="107"/>
                  </a:lnTo>
                  <a:lnTo>
                    <a:pt x="33" y="92"/>
                  </a:lnTo>
                  <a:lnTo>
                    <a:pt x="85" y="95"/>
                  </a:lnTo>
                  <a:lnTo>
                    <a:pt x="88" y="154"/>
                  </a:lnTo>
                  <a:lnTo>
                    <a:pt x="132" y="129"/>
                  </a:lnTo>
                  <a:lnTo>
                    <a:pt x="191" y="125"/>
                  </a:lnTo>
                  <a:lnTo>
                    <a:pt x="208" y="78"/>
                  </a:lnTo>
                  <a:lnTo>
                    <a:pt x="279" y="81"/>
                  </a:lnTo>
                  <a:lnTo>
                    <a:pt x="307" y="46"/>
                  </a:lnTo>
                  <a:lnTo>
                    <a:pt x="259" y="30"/>
                  </a:lnTo>
                  <a:lnTo>
                    <a:pt x="231" y="2"/>
                  </a:lnTo>
                  <a:lnTo>
                    <a:pt x="156" y="2"/>
                  </a:lnTo>
                  <a:lnTo>
                    <a:pt x="129" y="26"/>
                  </a:lnTo>
                  <a:lnTo>
                    <a:pt x="107" y="0"/>
                  </a:lnTo>
                  <a:lnTo>
                    <a:pt x="76" y="20"/>
                  </a:lnTo>
                  <a:lnTo>
                    <a:pt x="48" y="2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14"/>
            <p:cNvSpPr>
              <a:spLocks noChangeAspect="1"/>
            </p:cNvSpPr>
            <p:nvPr/>
          </p:nvSpPr>
          <p:spPr bwMode="auto">
            <a:xfrm>
              <a:off x="6907088" y="3905255"/>
              <a:ext cx="179341" cy="92298"/>
            </a:xfrm>
            <a:custGeom>
              <a:avLst/>
              <a:gdLst/>
              <a:ahLst/>
              <a:cxnLst>
                <a:cxn ang="0">
                  <a:pos x="48" y="24"/>
                </a:cxn>
                <a:cxn ang="0">
                  <a:pos x="41" y="63"/>
                </a:cxn>
                <a:cxn ang="0">
                  <a:pos x="9" y="63"/>
                </a:cxn>
                <a:cxn ang="0">
                  <a:pos x="0" y="107"/>
                </a:cxn>
                <a:cxn ang="0">
                  <a:pos x="33" y="92"/>
                </a:cxn>
                <a:cxn ang="0">
                  <a:pos x="85" y="95"/>
                </a:cxn>
                <a:cxn ang="0">
                  <a:pos x="88" y="154"/>
                </a:cxn>
                <a:cxn ang="0">
                  <a:pos x="132" y="129"/>
                </a:cxn>
                <a:cxn ang="0">
                  <a:pos x="191" y="125"/>
                </a:cxn>
                <a:cxn ang="0">
                  <a:pos x="208" y="78"/>
                </a:cxn>
                <a:cxn ang="0">
                  <a:pos x="279" y="81"/>
                </a:cxn>
                <a:cxn ang="0">
                  <a:pos x="307" y="46"/>
                </a:cxn>
                <a:cxn ang="0">
                  <a:pos x="259" y="30"/>
                </a:cxn>
                <a:cxn ang="0">
                  <a:pos x="231" y="2"/>
                </a:cxn>
                <a:cxn ang="0">
                  <a:pos x="156" y="2"/>
                </a:cxn>
                <a:cxn ang="0">
                  <a:pos x="129" y="26"/>
                </a:cxn>
                <a:cxn ang="0">
                  <a:pos x="107" y="0"/>
                </a:cxn>
                <a:cxn ang="0">
                  <a:pos x="76" y="20"/>
                </a:cxn>
                <a:cxn ang="0">
                  <a:pos x="48" y="24"/>
                </a:cxn>
              </a:cxnLst>
              <a:rect l="0" t="0" r="r" b="b"/>
              <a:pathLst>
                <a:path w="307" h="154">
                  <a:moveTo>
                    <a:pt x="48" y="24"/>
                  </a:moveTo>
                  <a:lnTo>
                    <a:pt x="41" y="63"/>
                  </a:lnTo>
                  <a:lnTo>
                    <a:pt x="9" y="63"/>
                  </a:lnTo>
                  <a:lnTo>
                    <a:pt x="0" y="107"/>
                  </a:lnTo>
                  <a:lnTo>
                    <a:pt x="33" y="92"/>
                  </a:lnTo>
                  <a:lnTo>
                    <a:pt x="85" y="95"/>
                  </a:lnTo>
                  <a:lnTo>
                    <a:pt x="88" y="154"/>
                  </a:lnTo>
                  <a:lnTo>
                    <a:pt x="132" y="129"/>
                  </a:lnTo>
                  <a:lnTo>
                    <a:pt x="191" y="125"/>
                  </a:lnTo>
                  <a:lnTo>
                    <a:pt x="208" y="78"/>
                  </a:lnTo>
                  <a:lnTo>
                    <a:pt x="279" y="81"/>
                  </a:lnTo>
                  <a:lnTo>
                    <a:pt x="307" y="46"/>
                  </a:lnTo>
                  <a:lnTo>
                    <a:pt x="259" y="30"/>
                  </a:lnTo>
                  <a:lnTo>
                    <a:pt x="231" y="2"/>
                  </a:lnTo>
                  <a:lnTo>
                    <a:pt x="156" y="2"/>
                  </a:lnTo>
                  <a:lnTo>
                    <a:pt x="129" y="26"/>
                  </a:lnTo>
                  <a:lnTo>
                    <a:pt x="107" y="0"/>
                  </a:lnTo>
                  <a:lnTo>
                    <a:pt x="76" y="20"/>
                  </a:lnTo>
                  <a:lnTo>
                    <a:pt x="48" y="24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15"/>
            <p:cNvSpPr>
              <a:spLocks noChangeAspect="1"/>
            </p:cNvSpPr>
            <p:nvPr/>
          </p:nvSpPr>
          <p:spPr bwMode="auto">
            <a:xfrm>
              <a:off x="6958077" y="3951404"/>
              <a:ext cx="121319" cy="117147"/>
            </a:xfrm>
            <a:custGeom>
              <a:avLst/>
              <a:gdLst/>
              <a:ahLst/>
              <a:cxnLst>
                <a:cxn ang="0">
                  <a:pos x="191" y="3"/>
                </a:cxn>
                <a:cxn ang="0">
                  <a:pos x="120" y="0"/>
                </a:cxn>
                <a:cxn ang="0">
                  <a:pos x="103" y="47"/>
                </a:cxn>
                <a:cxn ang="0">
                  <a:pos x="44" y="51"/>
                </a:cxn>
                <a:cxn ang="0">
                  <a:pos x="0" y="76"/>
                </a:cxn>
                <a:cxn ang="0">
                  <a:pos x="25" y="99"/>
                </a:cxn>
                <a:cxn ang="0">
                  <a:pos x="48" y="158"/>
                </a:cxn>
                <a:cxn ang="0">
                  <a:pos x="81" y="193"/>
                </a:cxn>
                <a:cxn ang="0">
                  <a:pos x="179" y="197"/>
                </a:cxn>
                <a:cxn ang="0">
                  <a:pos x="191" y="59"/>
                </a:cxn>
                <a:cxn ang="0">
                  <a:pos x="206" y="24"/>
                </a:cxn>
                <a:cxn ang="0">
                  <a:pos x="191" y="3"/>
                </a:cxn>
              </a:cxnLst>
              <a:rect l="0" t="0" r="r" b="b"/>
              <a:pathLst>
                <a:path w="206" h="197">
                  <a:moveTo>
                    <a:pt x="191" y="3"/>
                  </a:moveTo>
                  <a:lnTo>
                    <a:pt x="120" y="0"/>
                  </a:lnTo>
                  <a:lnTo>
                    <a:pt x="103" y="47"/>
                  </a:lnTo>
                  <a:lnTo>
                    <a:pt x="44" y="51"/>
                  </a:lnTo>
                  <a:lnTo>
                    <a:pt x="0" y="76"/>
                  </a:lnTo>
                  <a:lnTo>
                    <a:pt x="25" y="99"/>
                  </a:lnTo>
                  <a:lnTo>
                    <a:pt x="48" y="158"/>
                  </a:lnTo>
                  <a:lnTo>
                    <a:pt x="81" y="193"/>
                  </a:lnTo>
                  <a:lnTo>
                    <a:pt x="179" y="197"/>
                  </a:lnTo>
                  <a:lnTo>
                    <a:pt x="191" y="59"/>
                  </a:lnTo>
                  <a:lnTo>
                    <a:pt x="206" y="24"/>
                  </a:lnTo>
                  <a:lnTo>
                    <a:pt x="191" y="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16"/>
            <p:cNvSpPr>
              <a:spLocks noChangeAspect="1"/>
            </p:cNvSpPr>
            <p:nvPr/>
          </p:nvSpPr>
          <p:spPr bwMode="auto">
            <a:xfrm>
              <a:off x="7606869" y="6173649"/>
              <a:ext cx="75604" cy="70998"/>
            </a:xfrm>
            <a:custGeom>
              <a:avLst/>
              <a:gdLst/>
              <a:ahLst/>
              <a:cxnLst>
                <a:cxn ang="0">
                  <a:pos x="0" y="101"/>
                </a:cxn>
                <a:cxn ang="0">
                  <a:pos x="31" y="0"/>
                </a:cxn>
                <a:cxn ang="0">
                  <a:pos x="39" y="2"/>
                </a:cxn>
                <a:cxn ang="0">
                  <a:pos x="71" y="38"/>
                </a:cxn>
                <a:cxn ang="0">
                  <a:pos x="130" y="85"/>
                </a:cxn>
                <a:cxn ang="0">
                  <a:pos x="63" y="81"/>
                </a:cxn>
                <a:cxn ang="0">
                  <a:pos x="47" y="121"/>
                </a:cxn>
                <a:cxn ang="0">
                  <a:pos x="0" y="101"/>
                </a:cxn>
              </a:cxnLst>
              <a:rect l="0" t="0" r="r" b="b"/>
              <a:pathLst>
                <a:path w="130" h="121">
                  <a:moveTo>
                    <a:pt x="0" y="101"/>
                  </a:moveTo>
                  <a:lnTo>
                    <a:pt x="31" y="0"/>
                  </a:lnTo>
                  <a:lnTo>
                    <a:pt x="39" y="2"/>
                  </a:lnTo>
                  <a:lnTo>
                    <a:pt x="71" y="38"/>
                  </a:lnTo>
                  <a:lnTo>
                    <a:pt x="130" y="85"/>
                  </a:lnTo>
                  <a:lnTo>
                    <a:pt x="63" y="81"/>
                  </a:lnTo>
                  <a:lnTo>
                    <a:pt x="47" y="121"/>
                  </a:lnTo>
                  <a:lnTo>
                    <a:pt x="0" y="10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17"/>
            <p:cNvSpPr>
              <a:spLocks noChangeAspect="1"/>
            </p:cNvSpPr>
            <p:nvPr/>
          </p:nvSpPr>
          <p:spPr bwMode="auto">
            <a:xfrm>
              <a:off x="7439836" y="5085601"/>
              <a:ext cx="448352" cy="1031249"/>
            </a:xfrm>
            <a:custGeom>
              <a:avLst/>
              <a:gdLst/>
              <a:ahLst/>
              <a:cxnLst>
                <a:cxn ang="0">
                  <a:pos x="169" y="0"/>
                </a:cxn>
                <a:cxn ang="0">
                  <a:pos x="267" y="55"/>
                </a:cxn>
                <a:cxn ang="0">
                  <a:pos x="349" y="43"/>
                </a:cxn>
                <a:cxn ang="0">
                  <a:pos x="406" y="83"/>
                </a:cxn>
                <a:cxn ang="0">
                  <a:pos x="460" y="119"/>
                </a:cxn>
                <a:cxn ang="0">
                  <a:pos x="539" y="157"/>
                </a:cxn>
                <a:cxn ang="0">
                  <a:pos x="567" y="182"/>
                </a:cxn>
                <a:cxn ang="0">
                  <a:pos x="539" y="291"/>
                </a:cxn>
                <a:cxn ang="0">
                  <a:pos x="686" y="270"/>
                </a:cxn>
                <a:cxn ang="0">
                  <a:pos x="735" y="214"/>
                </a:cxn>
                <a:cxn ang="0">
                  <a:pos x="765" y="263"/>
                </a:cxn>
                <a:cxn ang="0">
                  <a:pos x="734" y="304"/>
                </a:cxn>
                <a:cxn ang="0">
                  <a:pos x="687" y="345"/>
                </a:cxn>
                <a:cxn ang="0">
                  <a:pos x="638" y="407"/>
                </a:cxn>
                <a:cxn ang="0">
                  <a:pos x="594" y="474"/>
                </a:cxn>
                <a:cxn ang="0">
                  <a:pos x="562" y="566"/>
                </a:cxn>
                <a:cxn ang="0">
                  <a:pos x="580" y="693"/>
                </a:cxn>
                <a:cxn ang="0">
                  <a:pos x="597" y="710"/>
                </a:cxn>
                <a:cxn ang="0">
                  <a:pos x="646" y="725"/>
                </a:cxn>
                <a:cxn ang="0">
                  <a:pos x="672" y="800"/>
                </a:cxn>
                <a:cxn ang="0">
                  <a:pos x="638" y="879"/>
                </a:cxn>
                <a:cxn ang="0">
                  <a:pos x="589" y="914"/>
                </a:cxn>
                <a:cxn ang="0">
                  <a:pos x="479" y="934"/>
                </a:cxn>
                <a:cxn ang="0">
                  <a:pos x="437" y="954"/>
                </a:cxn>
                <a:cxn ang="0">
                  <a:pos x="449" y="1062"/>
                </a:cxn>
                <a:cxn ang="0">
                  <a:pos x="331" y="1041"/>
                </a:cxn>
                <a:cxn ang="0">
                  <a:pos x="356" y="1116"/>
                </a:cxn>
                <a:cxn ang="0">
                  <a:pos x="377" y="1183"/>
                </a:cxn>
                <a:cxn ang="0">
                  <a:pos x="339" y="1231"/>
                </a:cxn>
                <a:cxn ang="0">
                  <a:pos x="294" y="1302"/>
                </a:cxn>
                <a:cxn ang="0">
                  <a:pos x="259" y="1336"/>
                </a:cxn>
                <a:cxn ang="0">
                  <a:pos x="318" y="1430"/>
                </a:cxn>
                <a:cxn ang="0">
                  <a:pos x="321" y="1488"/>
                </a:cxn>
                <a:cxn ang="0">
                  <a:pos x="277" y="1535"/>
                </a:cxn>
                <a:cxn ang="0">
                  <a:pos x="245" y="1619"/>
                </a:cxn>
                <a:cxn ang="0">
                  <a:pos x="224" y="1678"/>
                </a:cxn>
                <a:cxn ang="0">
                  <a:pos x="81" y="1743"/>
                </a:cxn>
                <a:cxn ang="0">
                  <a:pos x="32" y="1655"/>
                </a:cxn>
                <a:cxn ang="0">
                  <a:pos x="49" y="1507"/>
                </a:cxn>
                <a:cxn ang="0">
                  <a:pos x="59" y="1278"/>
                </a:cxn>
                <a:cxn ang="0">
                  <a:pos x="38" y="1148"/>
                </a:cxn>
                <a:cxn ang="0">
                  <a:pos x="5" y="1021"/>
                </a:cxn>
                <a:cxn ang="0">
                  <a:pos x="43" y="941"/>
                </a:cxn>
                <a:cxn ang="0">
                  <a:pos x="34" y="796"/>
                </a:cxn>
                <a:cxn ang="0">
                  <a:pos x="34" y="741"/>
                </a:cxn>
                <a:cxn ang="0">
                  <a:pos x="59" y="666"/>
                </a:cxn>
                <a:cxn ang="0">
                  <a:pos x="34" y="603"/>
                </a:cxn>
                <a:cxn ang="0">
                  <a:pos x="52" y="507"/>
                </a:cxn>
                <a:cxn ang="0">
                  <a:pos x="36" y="391"/>
                </a:cxn>
                <a:cxn ang="0">
                  <a:pos x="59" y="318"/>
                </a:cxn>
                <a:cxn ang="0">
                  <a:pos x="103" y="255"/>
                </a:cxn>
                <a:cxn ang="0">
                  <a:pos x="105" y="187"/>
                </a:cxn>
                <a:cxn ang="0">
                  <a:pos x="136" y="118"/>
                </a:cxn>
              </a:cxnLst>
              <a:rect l="0" t="0" r="r" b="b"/>
              <a:pathLst>
                <a:path w="766" h="1743">
                  <a:moveTo>
                    <a:pt x="140" y="59"/>
                  </a:moveTo>
                  <a:lnTo>
                    <a:pt x="169" y="0"/>
                  </a:lnTo>
                  <a:lnTo>
                    <a:pt x="211" y="35"/>
                  </a:lnTo>
                  <a:lnTo>
                    <a:pt x="267" y="55"/>
                  </a:lnTo>
                  <a:lnTo>
                    <a:pt x="322" y="11"/>
                  </a:lnTo>
                  <a:lnTo>
                    <a:pt x="349" y="43"/>
                  </a:lnTo>
                  <a:lnTo>
                    <a:pt x="393" y="63"/>
                  </a:lnTo>
                  <a:lnTo>
                    <a:pt x="406" y="83"/>
                  </a:lnTo>
                  <a:lnTo>
                    <a:pt x="435" y="94"/>
                  </a:lnTo>
                  <a:lnTo>
                    <a:pt x="460" y="119"/>
                  </a:lnTo>
                  <a:lnTo>
                    <a:pt x="474" y="148"/>
                  </a:lnTo>
                  <a:lnTo>
                    <a:pt x="539" y="157"/>
                  </a:lnTo>
                  <a:lnTo>
                    <a:pt x="552" y="167"/>
                  </a:lnTo>
                  <a:lnTo>
                    <a:pt x="567" y="182"/>
                  </a:lnTo>
                  <a:lnTo>
                    <a:pt x="549" y="249"/>
                  </a:lnTo>
                  <a:lnTo>
                    <a:pt x="539" y="291"/>
                  </a:lnTo>
                  <a:lnTo>
                    <a:pt x="682" y="294"/>
                  </a:lnTo>
                  <a:lnTo>
                    <a:pt x="686" y="270"/>
                  </a:lnTo>
                  <a:lnTo>
                    <a:pt x="714" y="251"/>
                  </a:lnTo>
                  <a:lnTo>
                    <a:pt x="735" y="214"/>
                  </a:lnTo>
                  <a:lnTo>
                    <a:pt x="741" y="263"/>
                  </a:lnTo>
                  <a:lnTo>
                    <a:pt x="765" y="263"/>
                  </a:lnTo>
                  <a:lnTo>
                    <a:pt x="766" y="300"/>
                  </a:lnTo>
                  <a:lnTo>
                    <a:pt x="734" y="304"/>
                  </a:lnTo>
                  <a:lnTo>
                    <a:pt x="710" y="335"/>
                  </a:lnTo>
                  <a:lnTo>
                    <a:pt x="687" y="345"/>
                  </a:lnTo>
                  <a:lnTo>
                    <a:pt x="665" y="379"/>
                  </a:lnTo>
                  <a:lnTo>
                    <a:pt x="638" y="407"/>
                  </a:lnTo>
                  <a:lnTo>
                    <a:pt x="618" y="441"/>
                  </a:lnTo>
                  <a:lnTo>
                    <a:pt x="594" y="474"/>
                  </a:lnTo>
                  <a:lnTo>
                    <a:pt x="569" y="517"/>
                  </a:lnTo>
                  <a:lnTo>
                    <a:pt x="562" y="566"/>
                  </a:lnTo>
                  <a:lnTo>
                    <a:pt x="567" y="641"/>
                  </a:lnTo>
                  <a:lnTo>
                    <a:pt x="580" y="693"/>
                  </a:lnTo>
                  <a:lnTo>
                    <a:pt x="601" y="687"/>
                  </a:lnTo>
                  <a:lnTo>
                    <a:pt x="597" y="710"/>
                  </a:lnTo>
                  <a:lnTo>
                    <a:pt x="621" y="718"/>
                  </a:lnTo>
                  <a:lnTo>
                    <a:pt x="646" y="725"/>
                  </a:lnTo>
                  <a:lnTo>
                    <a:pt x="648" y="790"/>
                  </a:lnTo>
                  <a:lnTo>
                    <a:pt x="672" y="800"/>
                  </a:lnTo>
                  <a:lnTo>
                    <a:pt x="666" y="862"/>
                  </a:lnTo>
                  <a:lnTo>
                    <a:pt x="638" y="879"/>
                  </a:lnTo>
                  <a:lnTo>
                    <a:pt x="601" y="883"/>
                  </a:lnTo>
                  <a:lnTo>
                    <a:pt x="589" y="914"/>
                  </a:lnTo>
                  <a:lnTo>
                    <a:pt x="563" y="918"/>
                  </a:lnTo>
                  <a:lnTo>
                    <a:pt x="479" y="934"/>
                  </a:lnTo>
                  <a:lnTo>
                    <a:pt x="451" y="938"/>
                  </a:lnTo>
                  <a:lnTo>
                    <a:pt x="437" y="954"/>
                  </a:lnTo>
                  <a:lnTo>
                    <a:pt x="446" y="1003"/>
                  </a:lnTo>
                  <a:lnTo>
                    <a:pt x="449" y="1062"/>
                  </a:lnTo>
                  <a:lnTo>
                    <a:pt x="401" y="1080"/>
                  </a:lnTo>
                  <a:lnTo>
                    <a:pt x="331" y="1041"/>
                  </a:lnTo>
                  <a:lnTo>
                    <a:pt x="321" y="1093"/>
                  </a:lnTo>
                  <a:lnTo>
                    <a:pt x="356" y="1116"/>
                  </a:lnTo>
                  <a:lnTo>
                    <a:pt x="367" y="1145"/>
                  </a:lnTo>
                  <a:lnTo>
                    <a:pt x="377" y="1183"/>
                  </a:lnTo>
                  <a:lnTo>
                    <a:pt x="358" y="1207"/>
                  </a:lnTo>
                  <a:lnTo>
                    <a:pt x="339" y="1231"/>
                  </a:lnTo>
                  <a:lnTo>
                    <a:pt x="322" y="1290"/>
                  </a:lnTo>
                  <a:lnTo>
                    <a:pt x="294" y="1302"/>
                  </a:lnTo>
                  <a:lnTo>
                    <a:pt x="289" y="1326"/>
                  </a:lnTo>
                  <a:lnTo>
                    <a:pt x="259" y="1336"/>
                  </a:lnTo>
                  <a:lnTo>
                    <a:pt x="249" y="1399"/>
                  </a:lnTo>
                  <a:lnTo>
                    <a:pt x="318" y="1430"/>
                  </a:lnTo>
                  <a:lnTo>
                    <a:pt x="322" y="1460"/>
                  </a:lnTo>
                  <a:lnTo>
                    <a:pt x="321" y="1488"/>
                  </a:lnTo>
                  <a:lnTo>
                    <a:pt x="294" y="1507"/>
                  </a:lnTo>
                  <a:lnTo>
                    <a:pt x="277" y="1535"/>
                  </a:lnTo>
                  <a:lnTo>
                    <a:pt x="279" y="1610"/>
                  </a:lnTo>
                  <a:lnTo>
                    <a:pt x="245" y="1619"/>
                  </a:lnTo>
                  <a:lnTo>
                    <a:pt x="221" y="1636"/>
                  </a:lnTo>
                  <a:lnTo>
                    <a:pt x="224" y="1678"/>
                  </a:lnTo>
                  <a:lnTo>
                    <a:pt x="219" y="1737"/>
                  </a:lnTo>
                  <a:lnTo>
                    <a:pt x="81" y="1743"/>
                  </a:lnTo>
                  <a:lnTo>
                    <a:pt x="71" y="1678"/>
                  </a:lnTo>
                  <a:lnTo>
                    <a:pt x="32" y="1655"/>
                  </a:lnTo>
                  <a:lnTo>
                    <a:pt x="24" y="1516"/>
                  </a:lnTo>
                  <a:lnTo>
                    <a:pt x="49" y="1507"/>
                  </a:lnTo>
                  <a:lnTo>
                    <a:pt x="57" y="1468"/>
                  </a:lnTo>
                  <a:lnTo>
                    <a:pt x="59" y="1278"/>
                  </a:lnTo>
                  <a:lnTo>
                    <a:pt x="39" y="1224"/>
                  </a:lnTo>
                  <a:lnTo>
                    <a:pt x="38" y="1148"/>
                  </a:lnTo>
                  <a:lnTo>
                    <a:pt x="26" y="1065"/>
                  </a:lnTo>
                  <a:lnTo>
                    <a:pt x="5" y="1021"/>
                  </a:lnTo>
                  <a:lnTo>
                    <a:pt x="10" y="983"/>
                  </a:lnTo>
                  <a:lnTo>
                    <a:pt x="43" y="941"/>
                  </a:lnTo>
                  <a:lnTo>
                    <a:pt x="0" y="848"/>
                  </a:lnTo>
                  <a:lnTo>
                    <a:pt x="34" y="796"/>
                  </a:lnTo>
                  <a:lnTo>
                    <a:pt x="53" y="765"/>
                  </a:lnTo>
                  <a:lnTo>
                    <a:pt x="34" y="741"/>
                  </a:lnTo>
                  <a:lnTo>
                    <a:pt x="34" y="672"/>
                  </a:lnTo>
                  <a:lnTo>
                    <a:pt x="59" y="666"/>
                  </a:lnTo>
                  <a:lnTo>
                    <a:pt x="56" y="610"/>
                  </a:lnTo>
                  <a:lnTo>
                    <a:pt x="34" y="603"/>
                  </a:lnTo>
                  <a:lnTo>
                    <a:pt x="29" y="525"/>
                  </a:lnTo>
                  <a:lnTo>
                    <a:pt x="52" y="507"/>
                  </a:lnTo>
                  <a:lnTo>
                    <a:pt x="48" y="470"/>
                  </a:lnTo>
                  <a:lnTo>
                    <a:pt x="36" y="391"/>
                  </a:lnTo>
                  <a:lnTo>
                    <a:pt x="53" y="362"/>
                  </a:lnTo>
                  <a:lnTo>
                    <a:pt x="59" y="318"/>
                  </a:lnTo>
                  <a:lnTo>
                    <a:pt x="87" y="296"/>
                  </a:lnTo>
                  <a:lnTo>
                    <a:pt x="103" y="255"/>
                  </a:lnTo>
                  <a:lnTo>
                    <a:pt x="80" y="221"/>
                  </a:lnTo>
                  <a:lnTo>
                    <a:pt x="105" y="187"/>
                  </a:lnTo>
                  <a:lnTo>
                    <a:pt x="107" y="128"/>
                  </a:lnTo>
                  <a:lnTo>
                    <a:pt x="136" y="118"/>
                  </a:lnTo>
                  <a:lnTo>
                    <a:pt x="140" y="5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18"/>
            <p:cNvSpPr>
              <a:spLocks noChangeAspect="1"/>
            </p:cNvSpPr>
            <p:nvPr/>
          </p:nvSpPr>
          <p:spPr bwMode="auto">
            <a:xfrm>
              <a:off x="7627968" y="4995078"/>
              <a:ext cx="242638" cy="264468"/>
            </a:xfrm>
            <a:custGeom>
              <a:avLst/>
              <a:gdLst/>
              <a:ahLst/>
              <a:cxnLst>
                <a:cxn ang="0">
                  <a:pos x="71" y="217"/>
                </a:cxn>
                <a:cxn ang="0">
                  <a:pos x="84" y="237"/>
                </a:cxn>
                <a:cxn ang="0">
                  <a:pos x="113" y="248"/>
                </a:cxn>
                <a:cxn ang="0">
                  <a:pos x="138" y="273"/>
                </a:cxn>
                <a:cxn ang="0">
                  <a:pos x="152" y="302"/>
                </a:cxn>
                <a:cxn ang="0">
                  <a:pos x="217" y="311"/>
                </a:cxn>
                <a:cxn ang="0">
                  <a:pos x="230" y="321"/>
                </a:cxn>
                <a:cxn ang="0">
                  <a:pos x="245" y="336"/>
                </a:cxn>
                <a:cxn ang="0">
                  <a:pos x="227" y="403"/>
                </a:cxn>
                <a:cxn ang="0">
                  <a:pos x="217" y="445"/>
                </a:cxn>
                <a:cxn ang="0">
                  <a:pos x="360" y="448"/>
                </a:cxn>
                <a:cxn ang="0">
                  <a:pos x="364" y="424"/>
                </a:cxn>
                <a:cxn ang="0">
                  <a:pos x="392" y="405"/>
                </a:cxn>
                <a:cxn ang="0">
                  <a:pos x="413" y="368"/>
                </a:cxn>
                <a:cxn ang="0">
                  <a:pos x="407" y="358"/>
                </a:cxn>
                <a:cxn ang="0">
                  <a:pos x="398" y="238"/>
                </a:cxn>
                <a:cxn ang="0">
                  <a:pos x="358" y="234"/>
                </a:cxn>
                <a:cxn ang="0">
                  <a:pos x="354" y="182"/>
                </a:cxn>
                <a:cxn ang="0">
                  <a:pos x="310" y="179"/>
                </a:cxn>
                <a:cxn ang="0">
                  <a:pos x="286" y="169"/>
                </a:cxn>
                <a:cxn ang="0">
                  <a:pos x="275" y="145"/>
                </a:cxn>
                <a:cxn ang="0">
                  <a:pos x="233" y="138"/>
                </a:cxn>
                <a:cxn ang="0">
                  <a:pos x="230" y="99"/>
                </a:cxn>
                <a:cxn ang="0">
                  <a:pos x="198" y="86"/>
                </a:cxn>
                <a:cxn ang="0">
                  <a:pos x="194" y="52"/>
                </a:cxn>
                <a:cxn ang="0">
                  <a:pos x="174" y="20"/>
                </a:cxn>
                <a:cxn ang="0">
                  <a:pos x="119" y="0"/>
                </a:cxn>
                <a:cxn ang="0">
                  <a:pos x="83" y="27"/>
                </a:cxn>
                <a:cxn ang="0">
                  <a:pos x="31" y="47"/>
                </a:cxn>
                <a:cxn ang="0">
                  <a:pos x="16" y="86"/>
                </a:cxn>
                <a:cxn ang="0">
                  <a:pos x="0" y="165"/>
                </a:cxn>
                <a:cxn ang="0">
                  <a:pos x="27" y="197"/>
                </a:cxn>
                <a:cxn ang="0">
                  <a:pos x="71" y="217"/>
                </a:cxn>
              </a:cxnLst>
              <a:rect l="0" t="0" r="r" b="b"/>
              <a:pathLst>
                <a:path w="413" h="448">
                  <a:moveTo>
                    <a:pt x="71" y="217"/>
                  </a:moveTo>
                  <a:lnTo>
                    <a:pt x="84" y="237"/>
                  </a:lnTo>
                  <a:lnTo>
                    <a:pt x="113" y="248"/>
                  </a:lnTo>
                  <a:lnTo>
                    <a:pt x="138" y="273"/>
                  </a:lnTo>
                  <a:lnTo>
                    <a:pt x="152" y="302"/>
                  </a:lnTo>
                  <a:lnTo>
                    <a:pt x="217" y="311"/>
                  </a:lnTo>
                  <a:lnTo>
                    <a:pt x="230" y="321"/>
                  </a:lnTo>
                  <a:lnTo>
                    <a:pt x="245" y="336"/>
                  </a:lnTo>
                  <a:lnTo>
                    <a:pt x="227" y="403"/>
                  </a:lnTo>
                  <a:lnTo>
                    <a:pt x="217" y="445"/>
                  </a:lnTo>
                  <a:lnTo>
                    <a:pt x="360" y="448"/>
                  </a:lnTo>
                  <a:lnTo>
                    <a:pt x="364" y="424"/>
                  </a:lnTo>
                  <a:lnTo>
                    <a:pt x="392" y="405"/>
                  </a:lnTo>
                  <a:lnTo>
                    <a:pt x="413" y="368"/>
                  </a:lnTo>
                  <a:lnTo>
                    <a:pt x="407" y="358"/>
                  </a:lnTo>
                  <a:lnTo>
                    <a:pt x="398" y="238"/>
                  </a:lnTo>
                  <a:lnTo>
                    <a:pt x="358" y="234"/>
                  </a:lnTo>
                  <a:lnTo>
                    <a:pt x="354" y="182"/>
                  </a:lnTo>
                  <a:lnTo>
                    <a:pt x="310" y="179"/>
                  </a:lnTo>
                  <a:lnTo>
                    <a:pt x="286" y="169"/>
                  </a:lnTo>
                  <a:lnTo>
                    <a:pt x="275" y="145"/>
                  </a:lnTo>
                  <a:lnTo>
                    <a:pt x="233" y="138"/>
                  </a:lnTo>
                  <a:lnTo>
                    <a:pt x="230" y="99"/>
                  </a:lnTo>
                  <a:lnTo>
                    <a:pt x="198" y="86"/>
                  </a:lnTo>
                  <a:lnTo>
                    <a:pt x="194" y="52"/>
                  </a:lnTo>
                  <a:lnTo>
                    <a:pt x="174" y="20"/>
                  </a:lnTo>
                  <a:lnTo>
                    <a:pt x="119" y="0"/>
                  </a:lnTo>
                  <a:lnTo>
                    <a:pt x="83" y="27"/>
                  </a:lnTo>
                  <a:lnTo>
                    <a:pt x="31" y="47"/>
                  </a:lnTo>
                  <a:lnTo>
                    <a:pt x="16" y="86"/>
                  </a:lnTo>
                  <a:lnTo>
                    <a:pt x="0" y="165"/>
                  </a:lnTo>
                  <a:lnTo>
                    <a:pt x="27" y="197"/>
                  </a:lnTo>
                  <a:lnTo>
                    <a:pt x="71" y="21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9"/>
            <p:cNvSpPr>
              <a:spLocks noChangeAspect="1"/>
            </p:cNvSpPr>
            <p:nvPr/>
          </p:nvSpPr>
          <p:spPr bwMode="auto">
            <a:xfrm>
              <a:off x="7218297" y="3821832"/>
              <a:ext cx="61539" cy="31949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64" y="0"/>
                </a:cxn>
                <a:cxn ang="0">
                  <a:pos x="106" y="20"/>
                </a:cxn>
                <a:cxn ang="0">
                  <a:pos x="91" y="51"/>
                </a:cxn>
                <a:cxn ang="0">
                  <a:pos x="35" y="55"/>
                </a:cxn>
                <a:cxn ang="0">
                  <a:pos x="0" y="31"/>
                </a:cxn>
                <a:cxn ang="0">
                  <a:pos x="23" y="0"/>
                </a:cxn>
              </a:cxnLst>
              <a:rect l="0" t="0" r="r" b="b"/>
              <a:pathLst>
                <a:path w="106" h="55">
                  <a:moveTo>
                    <a:pt x="23" y="0"/>
                  </a:moveTo>
                  <a:lnTo>
                    <a:pt x="64" y="0"/>
                  </a:lnTo>
                  <a:lnTo>
                    <a:pt x="106" y="20"/>
                  </a:lnTo>
                  <a:lnTo>
                    <a:pt x="91" y="51"/>
                  </a:lnTo>
                  <a:lnTo>
                    <a:pt x="35" y="55"/>
                  </a:lnTo>
                  <a:lnTo>
                    <a:pt x="0" y="31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20"/>
            <p:cNvSpPr>
              <a:spLocks noChangeAspect="1"/>
            </p:cNvSpPr>
            <p:nvPr/>
          </p:nvSpPr>
          <p:spPr bwMode="auto">
            <a:xfrm>
              <a:off x="7388847" y="3772133"/>
              <a:ext cx="103736" cy="74548"/>
            </a:xfrm>
            <a:custGeom>
              <a:avLst/>
              <a:gdLst/>
              <a:ahLst/>
              <a:cxnLst>
                <a:cxn ang="0">
                  <a:pos x="0" y="125"/>
                </a:cxn>
                <a:cxn ang="0">
                  <a:pos x="16" y="90"/>
                </a:cxn>
                <a:cxn ang="0">
                  <a:pos x="16" y="24"/>
                </a:cxn>
                <a:cxn ang="0">
                  <a:pos x="16" y="0"/>
                </a:cxn>
                <a:cxn ang="0">
                  <a:pos x="58" y="7"/>
                </a:cxn>
                <a:cxn ang="0">
                  <a:pos x="73" y="27"/>
                </a:cxn>
                <a:cxn ang="0">
                  <a:pos x="93" y="35"/>
                </a:cxn>
                <a:cxn ang="0">
                  <a:pos x="113" y="35"/>
                </a:cxn>
                <a:cxn ang="0">
                  <a:pos x="121" y="65"/>
                </a:cxn>
                <a:cxn ang="0">
                  <a:pos x="144" y="76"/>
                </a:cxn>
                <a:cxn ang="0">
                  <a:pos x="176" y="98"/>
                </a:cxn>
                <a:cxn ang="0">
                  <a:pos x="165" y="118"/>
                </a:cxn>
                <a:cxn ang="0">
                  <a:pos x="123" y="120"/>
                </a:cxn>
                <a:cxn ang="0">
                  <a:pos x="58" y="118"/>
                </a:cxn>
                <a:cxn ang="0">
                  <a:pos x="0" y="125"/>
                </a:cxn>
              </a:cxnLst>
              <a:rect l="0" t="0" r="r" b="b"/>
              <a:pathLst>
                <a:path w="176" h="125">
                  <a:moveTo>
                    <a:pt x="0" y="125"/>
                  </a:moveTo>
                  <a:lnTo>
                    <a:pt x="16" y="90"/>
                  </a:lnTo>
                  <a:lnTo>
                    <a:pt x="16" y="24"/>
                  </a:lnTo>
                  <a:lnTo>
                    <a:pt x="16" y="0"/>
                  </a:lnTo>
                  <a:lnTo>
                    <a:pt x="58" y="7"/>
                  </a:lnTo>
                  <a:lnTo>
                    <a:pt x="73" y="27"/>
                  </a:lnTo>
                  <a:lnTo>
                    <a:pt x="93" y="35"/>
                  </a:lnTo>
                  <a:lnTo>
                    <a:pt x="113" y="35"/>
                  </a:lnTo>
                  <a:lnTo>
                    <a:pt x="121" y="65"/>
                  </a:lnTo>
                  <a:lnTo>
                    <a:pt x="144" y="76"/>
                  </a:lnTo>
                  <a:lnTo>
                    <a:pt x="176" y="98"/>
                  </a:lnTo>
                  <a:lnTo>
                    <a:pt x="165" y="118"/>
                  </a:lnTo>
                  <a:lnTo>
                    <a:pt x="123" y="120"/>
                  </a:lnTo>
                  <a:lnTo>
                    <a:pt x="58" y="118"/>
                  </a:lnTo>
                  <a:lnTo>
                    <a:pt x="0" y="12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21"/>
            <p:cNvSpPr>
              <a:spLocks noChangeAspect="1"/>
            </p:cNvSpPr>
            <p:nvPr/>
          </p:nvSpPr>
          <p:spPr bwMode="auto">
            <a:xfrm>
              <a:off x="7511924" y="3823607"/>
              <a:ext cx="42198" cy="28399"/>
            </a:xfrm>
            <a:custGeom>
              <a:avLst/>
              <a:gdLst/>
              <a:ahLst/>
              <a:cxnLst>
                <a:cxn ang="0">
                  <a:pos x="25" y="4"/>
                </a:cxn>
                <a:cxn ang="0">
                  <a:pos x="0" y="22"/>
                </a:cxn>
                <a:cxn ang="0">
                  <a:pos x="17" y="36"/>
                </a:cxn>
                <a:cxn ang="0">
                  <a:pos x="45" y="48"/>
                </a:cxn>
                <a:cxn ang="0">
                  <a:pos x="71" y="34"/>
                </a:cxn>
                <a:cxn ang="0">
                  <a:pos x="69" y="0"/>
                </a:cxn>
                <a:cxn ang="0">
                  <a:pos x="25" y="4"/>
                </a:cxn>
              </a:cxnLst>
              <a:rect l="0" t="0" r="r" b="b"/>
              <a:pathLst>
                <a:path w="71" h="48">
                  <a:moveTo>
                    <a:pt x="25" y="4"/>
                  </a:moveTo>
                  <a:lnTo>
                    <a:pt x="0" y="22"/>
                  </a:lnTo>
                  <a:lnTo>
                    <a:pt x="17" y="36"/>
                  </a:lnTo>
                  <a:lnTo>
                    <a:pt x="45" y="48"/>
                  </a:lnTo>
                  <a:lnTo>
                    <a:pt x="71" y="34"/>
                  </a:lnTo>
                  <a:lnTo>
                    <a:pt x="69" y="0"/>
                  </a:lnTo>
                  <a:lnTo>
                    <a:pt x="25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22"/>
            <p:cNvSpPr>
              <a:spLocks noChangeAspect="1"/>
            </p:cNvSpPr>
            <p:nvPr/>
          </p:nvSpPr>
          <p:spPr bwMode="auto">
            <a:xfrm>
              <a:off x="263321" y="3907359"/>
              <a:ext cx="179341" cy="157971"/>
            </a:xfrm>
            <a:custGeom>
              <a:avLst/>
              <a:gdLst/>
              <a:ahLst/>
              <a:cxnLst>
                <a:cxn ang="0">
                  <a:pos x="54" y="209"/>
                </a:cxn>
                <a:cxn ang="0">
                  <a:pos x="56" y="244"/>
                </a:cxn>
                <a:cxn ang="0">
                  <a:pos x="94" y="244"/>
                </a:cxn>
                <a:cxn ang="0">
                  <a:pos x="113" y="265"/>
                </a:cxn>
                <a:cxn ang="0">
                  <a:pos x="137" y="233"/>
                </a:cxn>
                <a:cxn ang="0">
                  <a:pos x="192" y="214"/>
                </a:cxn>
                <a:cxn ang="0">
                  <a:pos x="256" y="225"/>
                </a:cxn>
                <a:cxn ang="0">
                  <a:pos x="307" y="225"/>
                </a:cxn>
                <a:cxn ang="0">
                  <a:pos x="284" y="174"/>
                </a:cxn>
                <a:cxn ang="0">
                  <a:pos x="256" y="154"/>
                </a:cxn>
                <a:cxn ang="0">
                  <a:pos x="248" y="115"/>
                </a:cxn>
                <a:cxn ang="0">
                  <a:pos x="216" y="91"/>
                </a:cxn>
                <a:cxn ang="0">
                  <a:pos x="181" y="39"/>
                </a:cxn>
                <a:cxn ang="0">
                  <a:pos x="150" y="28"/>
                </a:cxn>
                <a:cxn ang="0">
                  <a:pos x="130" y="0"/>
                </a:cxn>
                <a:cxn ang="0">
                  <a:pos x="89" y="8"/>
                </a:cxn>
                <a:cxn ang="0">
                  <a:pos x="32" y="73"/>
                </a:cxn>
                <a:cxn ang="0">
                  <a:pos x="0" y="89"/>
                </a:cxn>
                <a:cxn ang="0">
                  <a:pos x="35" y="101"/>
                </a:cxn>
                <a:cxn ang="0">
                  <a:pos x="67" y="141"/>
                </a:cxn>
                <a:cxn ang="0">
                  <a:pos x="86" y="159"/>
                </a:cxn>
                <a:cxn ang="0">
                  <a:pos x="59" y="176"/>
                </a:cxn>
                <a:cxn ang="0">
                  <a:pos x="54" y="209"/>
                </a:cxn>
              </a:cxnLst>
              <a:rect l="0" t="0" r="r" b="b"/>
              <a:pathLst>
                <a:path w="307" h="265">
                  <a:moveTo>
                    <a:pt x="54" y="209"/>
                  </a:moveTo>
                  <a:lnTo>
                    <a:pt x="56" y="244"/>
                  </a:lnTo>
                  <a:lnTo>
                    <a:pt x="94" y="244"/>
                  </a:lnTo>
                  <a:lnTo>
                    <a:pt x="113" y="265"/>
                  </a:lnTo>
                  <a:lnTo>
                    <a:pt x="137" y="233"/>
                  </a:lnTo>
                  <a:lnTo>
                    <a:pt x="192" y="214"/>
                  </a:lnTo>
                  <a:lnTo>
                    <a:pt x="256" y="225"/>
                  </a:lnTo>
                  <a:lnTo>
                    <a:pt x="307" y="225"/>
                  </a:lnTo>
                  <a:lnTo>
                    <a:pt x="284" y="174"/>
                  </a:lnTo>
                  <a:lnTo>
                    <a:pt x="256" y="154"/>
                  </a:lnTo>
                  <a:lnTo>
                    <a:pt x="248" y="115"/>
                  </a:lnTo>
                  <a:lnTo>
                    <a:pt x="216" y="91"/>
                  </a:lnTo>
                  <a:lnTo>
                    <a:pt x="181" y="39"/>
                  </a:lnTo>
                  <a:lnTo>
                    <a:pt x="150" y="28"/>
                  </a:lnTo>
                  <a:lnTo>
                    <a:pt x="130" y="0"/>
                  </a:lnTo>
                  <a:lnTo>
                    <a:pt x="89" y="8"/>
                  </a:lnTo>
                  <a:lnTo>
                    <a:pt x="32" y="73"/>
                  </a:lnTo>
                  <a:lnTo>
                    <a:pt x="0" y="89"/>
                  </a:lnTo>
                  <a:lnTo>
                    <a:pt x="35" y="101"/>
                  </a:lnTo>
                  <a:lnTo>
                    <a:pt x="67" y="141"/>
                  </a:lnTo>
                  <a:lnTo>
                    <a:pt x="86" y="159"/>
                  </a:lnTo>
                  <a:lnTo>
                    <a:pt x="59" y="176"/>
                  </a:lnTo>
                  <a:lnTo>
                    <a:pt x="54" y="20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23"/>
            <p:cNvSpPr>
              <a:spLocks noChangeAspect="1"/>
            </p:cNvSpPr>
            <p:nvPr/>
          </p:nvSpPr>
          <p:spPr bwMode="auto">
            <a:xfrm>
              <a:off x="263321" y="3907359"/>
              <a:ext cx="179341" cy="157971"/>
            </a:xfrm>
            <a:custGeom>
              <a:avLst/>
              <a:gdLst/>
              <a:ahLst/>
              <a:cxnLst>
                <a:cxn ang="0">
                  <a:pos x="54" y="209"/>
                </a:cxn>
                <a:cxn ang="0">
                  <a:pos x="56" y="244"/>
                </a:cxn>
                <a:cxn ang="0">
                  <a:pos x="94" y="244"/>
                </a:cxn>
                <a:cxn ang="0">
                  <a:pos x="113" y="265"/>
                </a:cxn>
                <a:cxn ang="0">
                  <a:pos x="137" y="233"/>
                </a:cxn>
                <a:cxn ang="0">
                  <a:pos x="192" y="214"/>
                </a:cxn>
                <a:cxn ang="0">
                  <a:pos x="256" y="225"/>
                </a:cxn>
                <a:cxn ang="0">
                  <a:pos x="307" y="225"/>
                </a:cxn>
                <a:cxn ang="0">
                  <a:pos x="284" y="174"/>
                </a:cxn>
                <a:cxn ang="0">
                  <a:pos x="256" y="154"/>
                </a:cxn>
                <a:cxn ang="0">
                  <a:pos x="248" y="115"/>
                </a:cxn>
                <a:cxn ang="0">
                  <a:pos x="216" y="91"/>
                </a:cxn>
                <a:cxn ang="0">
                  <a:pos x="181" y="39"/>
                </a:cxn>
                <a:cxn ang="0">
                  <a:pos x="150" y="28"/>
                </a:cxn>
                <a:cxn ang="0">
                  <a:pos x="130" y="0"/>
                </a:cxn>
                <a:cxn ang="0">
                  <a:pos x="89" y="8"/>
                </a:cxn>
                <a:cxn ang="0">
                  <a:pos x="32" y="73"/>
                </a:cxn>
                <a:cxn ang="0">
                  <a:pos x="0" y="89"/>
                </a:cxn>
                <a:cxn ang="0">
                  <a:pos x="35" y="101"/>
                </a:cxn>
                <a:cxn ang="0">
                  <a:pos x="67" y="141"/>
                </a:cxn>
                <a:cxn ang="0">
                  <a:pos x="86" y="159"/>
                </a:cxn>
                <a:cxn ang="0">
                  <a:pos x="59" y="176"/>
                </a:cxn>
                <a:cxn ang="0">
                  <a:pos x="54" y="209"/>
                </a:cxn>
              </a:cxnLst>
              <a:rect l="0" t="0" r="r" b="b"/>
              <a:pathLst>
                <a:path w="307" h="265">
                  <a:moveTo>
                    <a:pt x="54" y="209"/>
                  </a:moveTo>
                  <a:lnTo>
                    <a:pt x="56" y="244"/>
                  </a:lnTo>
                  <a:lnTo>
                    <a:pt x="94" y="244"/>
                  </a:lnTo>
                  <a:lnTo>
                    <a:pt x="113" y="265"/>
                  </a:lnTo>
                  <a:lnTo>
                    <a:pt x="137" y="233"/>
                  </a:lnTo>
                  <a:lnTo>
                    <a:pt x="192" y="214"/>
                  </a:lnTo>
                  <a:lnTo>
                    <a:pt x="256" y="225"/>
                  </a:lnTo>
                  <a:lnTo>
                    <a:pt x="307" y="225"/>
                  </a:lnTo>
                  <a:lnTo>
                    <a:pt x="284" y="174"/>
                  </a:lnTo>
                  <a:lnTo>
                    <a:pt x="256" y="154"/>
                  </a:lnTo>
                  <a:lnTo>
                    <a:pt x="248" y="115"/>
                  </a:lnTo>
                  <a:lnTo>
                    <a:pt x="216" y="91"/>
                  </a:lnTo>
                  <a:lnTo>
                    <a:pt x="181" y="39"/>
                  </a:lnTo>
                  <a:lnTo>
                    <a:pt x="150" y="28"/>
                  </a:lnTo>
                  <a:lnTo>
                    <a:pt x="130" y="0"/>
                  </a:lnTo>
                  <a:lnTo>
                    <a:pt x="89" y="8"/>
                  </a:lnTo>
                  <a:lnTo>
                    <a:pt x="32" y="73"/>
                  </a:lnTo>
                  <a:lnTo>
                    <a:pt x="0" y="89"/>
                  </a:lnTo>
                  <a:lnTo>
                    <a:pt x="35" y="101"/>
                  </a:lnTo>
                  <a:lnTo>
                    <a:pt x="67" y="141"/>
                  </a:lnTo>
                  <a:lnTo>
                    <a:pt x="86" y="159"/>
                  </a:lnTo>
                  <a:lnTo>
                    <a:pt x="59" y="176"/>
                  </a:lnTo>
                  <a:lnTo>
                    <a:pt x="54" y="209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24"/>
            <p:cNvSpPr>
              <a:spLocks noChangeAspect="1"/>
            </p:cNvSpPr>
            <p:nvPr/>
          </p:nvSpPr>
          <p:spPr bwMode="auto">
            <a:xfrm>
              <a:off x="4534096" y="4503744"/>
              <a:ext cx="218022" cy="228969"/>
            </a:xfrm>
            <a:custGeom>
              <a:avLst/>
              <a:gdLst/>
              <a:ahLst/>
              <a:cxnLst>
                <a:cxn ang="0">
                  <a:pos x="55" y="234"/>
                </a:cxn>
                <a:cxn ang="0">
                  <a:pos x="0" y="0"/>
                </a:cxn>
                <a:cxn ang="0">
                  <a:pos x="49" y="19"/>
                </a:cxn>
                <a:cxn ang="0">
                  <a:pos x="124" y="15"/>
                </a:cxn>
                <a:cxn ang="0">
                  <a:pos x="124" y="78"/>
                </a:cxn>
                <a:cxn ang="0">
                  <a:pos x="171" y="95"/>
                </a:cxn>
                <a:cxn ang="0">
                  <a:pos x="183" y="126"/>
                </a:cxn>
                <a:cxn ang="0">
                  <a:pos x="222" y="161"/>
                </a:cxn>
                <a:cxn ang="0">
                  <a:pos x="246" y="185"/>
                </a:cxn>
                <a:cxn ang="0">
                  <a:pos x="238" y="240"/>
                </a:cxn>
                <a:cxn ang="0">
                  <a:pos x="274" y="295"/>
                </a:cxn>
                <a:cxn ang="0">
                  <a:pos x="338" y="316"/>
                </a:cxn>
                <a:cxn ang="0">
                  <a:pos x="373" y="375"/>
                </a:cxn>
                <a:cxn ang="0">
                  <a:pos x="373" y="375"/>
                </a:cxn>
                <a:cxn ang="0">
                  <a:pos x="363" y="378"/>
                </a:cxn>
                <a:cxn ang="0">
                  <a:pos x="341" y="383"/>
                </a:cxn>
                <a:cxn ang="0">
                  <a:pos x="329" y="387"/>
                </a:cxn>
                <a:cxn ang="0">
                  <a:pos x="318" y="388"/>
                </a:cxn>
                <a:cxn ang="0">
                  <a:pos x="307" y="388"/>
                </a:cxn>
                <a:cxn ang="0">
                  <a:pos x="304" y="388"/>
                </a:cxn>
                <a:cxn ang="0">
                  <a:pos x="301" y="387"/>
                </a:cxn>
                <a:cxn ang="0">
                  <a:pos x="301" y="387"/>
                </a:cxn>
                <a:cxn ang="0">
                  <a:pos x="295" y="383"/>
                </a:cxn>
                <a:cxn ang="0">
                  <a:pos x="285" y="381"/>
                </a:cxn>
                <a:cxn ang="0">
                  <a:pos x="261" y="373"/>
                </a:cxn>
                <a:cxn ang="0">
                  <a:pos x="231" y="367"/>
                </a:cxn>
                <a:cxn ang="0">
                  <a:pos x="171" y="304"/>
                </a:cxn>
                <a:cxn ang="0">
                  <a:pos x="128" y="244"/>
                </a:cxn>
                <a:cxn ang="0">
                  <a:pos x="55" y="234"/>
                </a:cxn>
              </a:cxnLst>
              <a:rect l="0" t="0" r="r" b="b"/>
              <a:pathLst>
                <a:path w="373" h="388">
                  <a:moveTo>
                    <a:pt x="55" y="234"/>
                  </a:moveTo>
                  <a:lnTo>
                    <a:pt x="0" y="0"/>
                  </a:lnTo>
                  <a:lnTo>
                    <a:pt x="49" y="19"/>
                  </a:lnTo>
                  <a:lnTo>
                    <a:pt x="124" y="15"/>
                  </a:lnTo>
                  <a:lnTo>
                    <a:pt x="124" y="78"/>
                  </a:lnTo>
                  <a:lnTo>
                    <a:pt x="171" y="95"/>
                  </a:lnTo>
                  <a:lnTo>
                    <a:pt x="183" y="126"/>
                  </a:lnTo>
                  <a:lnTo>
                    <a:pt x="222" y="161"/>
                  </a:lnTo>
                  <a:lnTo>
                    <a:pt x="246" y="185"/>
                  </a:lnTo>
                  <a:lnTo>
                    <a:pt x="238" y="240"/>
                  </a:lnTo>
                  <a:lnTo>
                    <a:pt x="274" y="295"/>
                  </a:lnTo>
                  <a:lnTo>
                    <a:pt x="338" y="316"/>
                  </a:lnTo>
                  <a:lnTo>
                    <a:pt x="373" y="375"/>
                  </a:lnTo>
                  <a:lnTo>
                    <a:pt x="373" y="375"/>
                  </a:lnTo>
                  <a:lnTo>
                    <a:pt x="363" y="378"/>
                  </a:lnTo>
                  <a:lnTo>
                    <a:pt x="341" y="383"/>
                  </a:lnTo>
                  <a:lnTo>
                    <a:pt x="329" y="387"/>
                  </a:lnTo>
                  <a:lnTo>
                    <a:pt x="318" y="388"/>
                  </a:lnTo>
                  <a:lnTo>
                    <a:pt x="307" y="388"/>
                  </a:lnTo>
                  <a:lnTo>
                    <a:pt x="304" y="388"/>
                  </a:lnTo>
                  <a:lnTo>
                    <a:pt x="301" y="387"/>
                  </a:lnTo>
                  <a:lnTo>
                    <a:pt x="301" y="387"/>
                  </a:lnTo>
                  <a:lnTo>
                    <a:pt x="295" y="383"/>
                  </a:lnTo>
                  <a:lnTo>
                    <a:pt x="285" y="381"/>
                  </a:lnTo>
                  <a:lnTo>
                    <a:pt x="261" y="373"/>
                  </a:lnTo>
                  <a:lnTo>
                    <a:pt x="231" y="367"/>
                  </a:lnTo>
                  <a:lnTo>
                    <a:pt x="171" y="304"/>
                  </a:lnTo>
                  <a:lnTo>
                    <a:pt x="128" y="244"/>
                  </a:lnTo>
                  <a:lnTo>
                    <a:pt x="55" y="23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25"/>
            <p:cNvSpPr>
              <a:spLocks noChangeAspect="1"/>
            </p:cNvSpPr>
            <p:nvPr/>
          </p:nvSpPr>
          <p:spPr bwMode="auto">
            <a:xfrm>
              <a:off x="4711678" y="4542793"/>
              <a:ext cx="75604" cy="58574"/>
            </a:xfrm>
            <a:custGeom>
              <a:avLst/>
              <a:gdLst/>
              <a:ahLst/>
              <a:cxnLst>
                <a:cxn ang="0">
                  <a:pos x="9" y="51"/>
                </a:cxn>
                <a:cxn ang="0">
                  <a:pos x="0" y="87"/>
                </a:cxn>
                <a:cxn ang="0">
                  <a:pos x="51" y="98"/>
                </a:cxn>
                <a:cxn ang="0">
                  <a:pos x="103" y="70"/>
                </a:cxn>
                <a:cxn ang="0">
                  <a:pos x="127" y="35"/>
                </a:cxn>
                <a:cxn ang="0">
                  <a:pos x="123" y="0"/>
                </a:cxn>
                <a:cxn ang="0">
                  <a:pos x="83" y="4"/>
                </a:cxn>
                <a:cxn ang="0">
                  <a:pos x="75" y="35"/>
                </a:cxn>
                <a:cxn ang="0">
                  <a:pos x="9" y="51"/>
                </a:cxn>
              </a:cxnLst>
              <a:rect l="0" t="0" r="r" b="b"/>
              <a:pathLst>
                <a:path w="127" h="98">
                  <a:moveTo>
                    <a:pt x="9" y="51"/>
                  </a:moveTo>
                  <a:lnTo>
                    <a:pt x="0" y="87"/>
                  </a:lnTo>
                  <a:lnTo>
                    <a:pt x="51" y="98"/>
                  </a:lnTo>
                  <a:lnTo>
                    <a:pt x="103" y="70"/>
                  </a:lnTo>
                  <a:lnTo>
                    <a:pt x="127" y="35"/>
                  </a:lnTo>
                  <a:lnTo>
                    <a:pt x="123" y="0"/>
                  </a:lnTo>
                  <a:lnTo>
                    <a:pt x="83" y="4"/>
                  </a:lnTo>
                  <a:lnTo>
                    <a:pt x="75" y="35"/>
                  </a:lnTo>
                  <a:lnTo>
                    <a:pt x="9" y="5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26"/>
            <p:cNvSpPr>
              <a:spLocks noChangeAspect="1"/>
            </p:cNvSpPr>
            <p:nvPr/>
          </p:nvSpPr>
          <p:spPr bwMode="auto">
            <a:xfrm>
              <a:off x="4834756" y="4564093"/>
              <a:ext cx="38681" cy="26624"/>
            </a:xfrm>
            <a:custGeom>
              <a:avLst/>
              <a:gdLst/>
              <a:ahLst/>
              <a:cxnLst>
                <a:cxn ang="0">
                  <a:pos x="34" y="45"/>
                </a:cxn>
                <a:cxn ang="0">
                  <a:pos x="34" y="45"/>
                </a:cxn>
                <a:cxn ang="0">
                  <a:pos x="40" y="44"/>
                </a:cxn>
                <a:cxn ang="0">
                  <a:pos x="46" y="43"/>
                </a:cxn>
                <a:cxn ang="0">
                  <a:pos x="51" y="42"/>
                </a:cxn>
                <a:cxn ang="0">
                  <a:pos x="56" y="38"/>
                </a:cxn>
                <a:cxn ang="0">
                  <a:pos x="61" y="35"/>
                </a:cxn>
                <a:cxn ang="0">
                  <a:pos x="64" y="31"/>
                </a:cxn>
                <a:cxn ang="0">
                  <a:pos x="66" y="26"/>
                </a:cxn>
                <a:cxn ang="0">
                  <a:pos x="66" y="23"/>
                </a:cxn>
                <a:cxn ang="0">
                  <a:pos x="66" y="23"/>
                </a:cxn>
                <a:cxn ang="0">
                  <a:pos x="66" y="18"/>
                </a:cxn>
                <a:cxn ang="0">
                  <a:pos x="64" y="14"/>
                </a:cxn>
                <a:cxn ang="0">
                  <a:pos x="61" y="10"/>
                </a:cxn>
                <a:cxn ang="0">
                  <a:pos x="56" y="6"/>
                </a:cxn>
                <a:cxn ang="0">
                  <a:pos x="51" y="4"/>
                </a:cxn>
                <a:cxn ang="0">
                  <a:pos x="46" y="1"/>
                </a:cxn>
                <a:cxn ang="0">
                  <a:pos x="40" y="0"/>
                </a:cxn>
                <a:cxn ang="0">
                  <a:pos x="34" y="0"/>
                </a:cxn>
                <a:cxn ang="0">
                  <a:pos x="34" y="0"/>
                </a:cxn>
                <a:cxn ang="0">
                  <a:pos x="26" y="0"/>
                </a:cxn>
                <a:cxn ang="0">
                  <a:pos x="20" y="1"/>
                </a:cxn>
                <a:cxn ang="0">
                  <a:pos x="15" y="4"/>
                </a:cxn>
                <a:cxn ang="0">
                  <a:pos x="10" y="6"/>
                </a:cxn>
                <a:cxn ang="0">
                  <a:pos x="5" y="10"/>
                </a:cxn>
                <a:cxn ang="0">
                  <a:pos x="2" y="14"/>
                </a:cxn>
                <a:cxn ang="0">
                  <a:pos x="0" y="18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26"/>
                </a:cxn>
                <a:cxn ang="0">
                  <a:pos x="2" y="31"/>
                </a:cxn>
                <a:cxn ang="0">
                  <a:pos x="5" y="35"/>
                </a:cxn>
                <a:cxn ang="0">
                  <a:pos x="10" y="38"/>
                </a:cxn>
                <a:cxn ang="0">
                  <a:pos x="15" y="42"/>
                </a:cxn>
                <a:cxn ang="0">
                  <a:pos x="20" y="43"/>
                </a:cxn>
                <a:cxn ang="0">
                  <a:pos x="26" y="44"/>
                </a:cxn>
                <a:cxn ang="0">
                  <a:pos x="34" y="45"/>
                </a:cxn>
                <a:cxn ang="0">
                  <a:pos x="34" y="45"/>
                </a:cxn>
              </a:cxnLst>
              <a:rect l="0" t="0" r="r" b="b"/>
              <a:pathLst>
                <a:path w="66" h="45">
                  <a:moveTo>
                    <a:pt x="34" y="45"/>
                  </a:moveTo>
                  <a:lnTo>
                    <a:pt x="34" y="45"/>
                  </a:lnTo>
                  <a:lnTo>
                    <a:pt x="40" y="44"/>
                  </a:lnTo>
                  <a:lnTo>
                    <a:pt x="46" y="43"/>
                  </a:lnTo>
                  <a:lnTo>
                    <a:pt x="51" y="42"/>
                  </a:lnTo>
                  <a:lnTo>
                    <a:pt x="56" y="38"/>
                  </a:lnTo>
                  <a:lnTo>
                    <a:pt x="61" y="35"/>
                  </a:lnTo>
                  <a:lnTo>
                    <a:pt x="64" y="31"/>
                  </a:lnTo>
                  <a:lnTo>
                    <a:pt x="66" y="26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18"/>
                  </a:lnTo>
                  <a:lnTo>
                    <a:pt x="64" y="14"/>
                  </a:lnTo>
                  <a:lnTo>
                    <a:pt x="61" y="10"/>
                  </a:lnTo>
                  <a:lnTo>
                    <a:pt x="56" y="6"/>
                  </a:lnTo>
                  <a:lnTo>
                    <a:pt x="51" y="4"/>
                  </a:lnTo>
                  <a:lnTo>
                    <a:pt x="46" y="1"/>
                  </a:lnTo>
                  <a:lnTo>
                    <a:pt x="40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0" y="1"/>
                  </a:lnTo>
                  <a:lnTo>
                    <a:pt x="15" y="4"/>
                  </a:lnTo>
                  <a:lnTo>
                    <a:pt x="10" y="6"/>
                  </a:lnTo>
                  <a:lnTo>
                    <a:pt x="5" y="10"/>
                  </a:lnTo>
                  <a:lnTo>
                    <a:pt x="2" y="14"/>
                  </a:lnTo>
                  <a:lnTo>
                    <a:pt x="0" y="18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2" y="31"/>
                  </a:lnTo>
                  <a:lnTo>
                    <a:pt x="5" y="35"/>
                  </a:lnTo>
                  <a:lnTo>
                    <a:pt x="10" y="38"/>
                  </a:lnTo>
                  <a:lnTo>
                    <a:pt x="15" y="42"/>
                  </a:lnTo>
                  <a:lnTo>
                    <a:pt x="20" y="43"/>
                  </a:lnTo>
                  <a:lnTo>
                    <a:pt x="26" y="44"/>
                  </a:lnTo>
                  <a:lnTo>
                    <a:pt x="34" y="45"/>
                  </a:lnTo>
                  <a:lnTo>
                    <a:pt x="34" y="4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Freeform 27"/>
            <p:cNvSpPr>
              <a:spLocks noChangeAspect="1"/>
            </p:cNvSpPr>
            <p:nvPr/>
          </p:nvSpPr>
          <p:spPr bwMode="auto">
            <a:xfrm>
              <a:off x="927937" y="3232876"/>
              <a:ext cx="101978" cy="198795"/>
            </a:xfrm>
            <a:custGeom>
              <a:avLst/>
              <a:gdLst/>
              <a:ahLst/>
              <a:cxnLst>
                <a:cxn ang="0">
                  <a:pos x="99" y="335"/>
                </a:cxn>
                <a:cxn ang="0">
                  <a:pos x="71" y="334"/>
                </a:cxn>
                <a:cxn ang="0">
                  <a:pos x="60" y="284"/>
                </a:cxn>
                <a:cxn ang="0">
                  <a:pos x="20" y="267"/>
                </a:cxn>
                <a:cxn ang="0">
                  <a:pos x="0" y="216"/>
                </a:cxn>
                <a:cxn ang="0">
                  <a:pos x="12" y="168"/>
                </a:cxn>
                <a:cxn ang="0">
                  <a:pos x="55" y="153"/>
                </a:cxn>
                <a:cxn ang="0">
                  <a:pos x="32" y="117"/>
                </a:cxn>
                <a:cxn ang="0">
                  <a:pos x="40" y="82"/>
                </a:cxn>
                <a:cxn ang="0">
                  <a:pos x="60" y="82"/>
                </a:cxn>
                <a:cxn ang="0">
                  <a:pos x="51" y="23"/>
                </a:cxn>
                <a:cxn ang="0">
                  <a:pos x="81" y="1"/>
                </a:cxn>
                <a:cxn ang="0">
                  <a:pos x="105" y="0"/>
                </a:cxn>
                <a:cxn ang="0">
                  <a:pos x="128" y="15"/>
                </a:cxn>
                <a:cxn ang="0">
                  <a:pos x="165" y="31"/>
                </a:cxn>
                <a:cxn ang="0">
                  <a:pos x="153" y="66"/>
                </a:cxn>
                <a:cxn ang="0">
                  <a:pos x="170" y="94"/>
                </a:cxn>
                <a:cxn ang="0">
                  <a:pos x="165" y="151"/>
                </a:cxn>
                <a:cxn ang="0">
                  <a:pos x="133" y="159"/>
                </a:cxn>
                <a:cxn ang="0">
                  <a:pos x="129" y="203"/>
                </a:cxn>
                <a:cxn ang="0">
                  <a:pos x="157" y="213"/>
                </a:cxn>
                <a:cxn ang="0">
                  <a:pos x="174" y="235"/>
                </a:cxn>
                <a:cxn ang="0">
                  <a:pos x="167" y="308"/>
                </a:cxn>
                <a:cxn ang="0">
                  <a:pos x="143" y="314"/>
                </a:cxn>
                <a:cxn ang="0">
                  <a:pos x="99" y="335"/>
                </a:cxn>
              </a:cxnLst>
              <a:rect l="0" t="0" r="r" b="b"/>
              <a:pathLst>
                <a:path w="174" h="335">
                  <a:moveTo>
                    <a:pt x="99" y="335"/>
                  </a:moveTo>
                  <a:lnTo>
                    <a:pt x="71" y="334"/>
                  </a:lnTo>
                  <a:lnTo>
                    <a:pt x="60" y="284"/>
                  </a:lnTo>
                  <a:lnTo>
                    <a:pt x="20" y="267"/>
                  </a:lnTo>
                  <a:lnTo>
                    <a:pt x="0" y="216"/>
                  </a:lnTo>
                  <a:lnTo>
                    <a:pt x="12" y="168"/>
                  </a:lnTo>
                  <a:lnTo>
                    <a:pt x="55" y="153"/>
                  </a:lnTo>
                  <a:lnTo>
                    <a:pt x="32" y="117"/>
                  </a:lnTo>
                  <a:lnTo>
                    <a:pt x="40" y="82"/>
                  </a:lnTo>
                  <a:lnTo>
                    <a:pt x="60" y="82"/>
                  </a:lnTo>
                  <a:lnTo>
                    <a:pt x="51" y="23"/>
                  </a:lnTo>
                  <a:lnTo>
                    <a:pt x="81" y="1"/>
                  </a:lnTo>
                  <a:lnTo>
                    <a:pt x="105" y="0"/>
                  </a:lnTo>
                  <a:lnTo>
                    <a:pt x="128" y="15"/>
                  </a:lnTo>
                  <a:lnTo>
                    <a:pt x="165" y="31"/>
                  </a:lnTo>
                  <a:lnTo>
                    <a:pt x="153" y="66"/>
                  </a:lnTo>
                  <a:lnTo>
                    <a:pt x="170" y="94"/>
                  </a:lnTo>
                  <a:lnTo>
                    <a:pt x="165" y="151"/>
                  </a:lnTo>
                  <a:lnTo>
                    <a:pt x="133" y="159"/>
                  </a:lnTo>
                  <a:lnTo>
                    <a:pt x="129" y="203"/>
                  </a:lnTo>
                  <a:lnTo>
                    <a:pt x="157" y="213"/>
                  </a:lnTo>
                  <a:lnTo>
                    <a:pt x="174" y="235"/>
                  </a:lnTo>
                  <a:lnTo>
                    <a:pt x="167" y="308"/>
                  </a:lnTo>
                  <a:lnTo>
                    <a:pt x="143" y="314"/>
                  </a:lnTo>
                  <a:lnTo>
                    <a:pt x="99" y="33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28"/>
            <p:cNvSpPr>
              <a:spLocks noChangeAspect="1"/>
            </p:cNvSpPr>
            <p:nvPr/>
          </p:nvSpPr>
          <p:spPr bwMode="auto">
            <a:xfrm>
              <a:off x="2830357" y="3474270"/>
              <a:ext cx="225055" cy="11892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1" y="2"/>
                </a:cxn>
                <a:cxn ang="0">
                  <a:pos x="90" y="41"/>
                </a:cxn>
                <a:cxn ang="0">
                  <a:pos x="138" y="64"/>
                </a:cxn>
                <a:cxn ang="0">
                  <a:pos x="153" y="31"/>
                </a:cxn>
                <a:cxn ang="0">
                  <a:pos x="158" y="83"/>
                </a:cxn>
                <a:cxn ang="0">
                  <a:pos x="193" y="103"/>
                </a:cxn>
                <a:cxn ang="0">
                  <a:pos x="238" y="127"/>
                </a:cxn>
                <a:cxn ang="0">
                  <a:pos x="340" y="134"/>
                </a:cxn>
                <a:cxn ang="0">
                  <a:pos x="383" y="150"/>
                </a:cxn>
                <a:cxn ang="0">
                  <a:pos x="359" y="197"/>
                </a:cxn>
                <a:cxn ang="0">
                  <a:pos x="315" y="197"/>
                </a:cxn>
                <a:cxn ang="0">
                  <a:pos x="265" y="202"/>
                </a:cxn>
                <a:cxn ang="0">
                  <a:pos x="224" y="178"/>
                </a:cxn>
                <a:cxn ang="0">
                  <a:pos x="169" y="166"/>
                </a:cxn>
                <a:cxn ang="0">
                  <a:pos x="98" y="138"/>
                </a:cxn>
                <a:cxn ang="0">
                  <a:pos x="42" y="123"/>
                </a:cxn>
                <a:cxn ang="0">
                  <a:pos x="7" y="79"/>
                </a:cxn>
                <a:cxn ang="0">
                  <a:pos x="0" y="0"/>
                </a:cxn>
              </a:cxnLst>
              <a:rect l="0" t="0" r="r" b="b"/>
              <a:pathLst>
                <a:path w="383" h="202">
                  <a:moveTo>
                    <a:pt x="0" y="0"/>
                  </a:moveTo>
                  <a:lnTo>
                    <a:pt x="51" y="2"/>
                  </a:lnTo>
                  <a:lnTo>
                    <a:pt x="90" y="41"/>
                  </a:lnTo>
                  <a:lnTo>
                    <a:pt x="138" y="64"/>
                  </a:lnTo>
                  <a:lnTo>
                    <a:pt x="153" y="31"/>
                  </a:lnTo>
                  <a:lnTo>
                    <a:pt x="158" y="83"/>
                  </a:lnTo>
                  <a:lnTo>
                    <a:pt x="193" y="103"/>
                  </a:lnTo>
                  <a:lnTo>
                    <a:pt x="238" y="127"/>
                  </a:lnTo>
                  <a:lnTo>
                    <a:pt x="340" y="134"/>
                  </a:lnTo>
                  <a:lnTo>
                    <a:pt x="383" y="150"/>
                  </a:lnTo>
                  <a:lnTo>
                    <a:pt x="359" y="197"/>
                  </a:lnTo>
                  <a:lnTo>
                    <a:pt x="315" y="197"/>
                  </a:lnTo>
                  <a:lnTo>
                    <a:pt x="265" y="202"/>
                  </a:lnTo>
                  <a:lnTo>
                    <a:pt x="224" y="178"/>
                  </a:lnTo>
                  <a:lnTo>
                    <a:pt x="169" y="166"/>
                  </a:lnTo>
                  <a:lnTo>
                    <a:pt x="98" y="138"/>
                  </a:lnTo>
                  <a:lnTo>
                    <a:pt x="42" y="123"/>
                  </a:lnTo>
                  <a:lnTo>
                    <a:pt x="7" y="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29"/>
            <p:cNvSpPr>
              <a:spLocks noChangeAspect="1"/>
            </p:cNvSpPr>
            <p:nvPr/>
          </p:nvSpPr>
          <p:spPr bwMode="auto">
            <a:xfrm>
              <a:off x="2830357" y="3474270"/>
              <a:ext cx="225055" cy="11892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1" y="2"/>
                </a:cxn>
                <a:cxn ang="0">
                  <a:pos x="90" y="41"/>
                </a:cxn>
                <a:cxn ang="0">
                  <a:pos x="138" y="64"/>
                </a:cxn>
                <a:cxn ang="0">
                  <a:pos x="153" y="31"/>
                </a:cxn>
                <a:cxn ang="0">
                  <a:pos x="158" y="83"/>
                </a:cxn>
                <a:cxn ang="0">
                  <a:pos x="193" y="103"/>
                </a:cxn>
                <a:cxn ang="0">
                  <a:pos x="238" y="127"/>
                </a:cxn>
                <a:cxn ang="0">
                  <a:pos x="340" y="134"/>
                </a:cxn>
                <a:cxn ang="0">
                  <a:pos x="383" y="150"/>
                </a:cxn>
                <a:cxn ang="0">
                  <a:pos x="359" y="197"/>
                </a:cxn>
                <a:cxn ang="0">
                  <a:pos x="315" y="197"/>
                </a:cxn>
                <a:cxn ang="0">
                  <a:pos x="265" y="202"/>
                </a:cxn>
                <a:cxn ang="0">
                  <a:pos x="224" y="178"/>
                </a:cxn>
                <a:cxn ang="0">
                  <a:pos x="169" y="166"/>
                </a:cxn>
                <a:cxn ang="0">
                  <a:pos x="98" y="138"/>
                </a:cxn>
                <a:cxn ang="0">
                  <a:pos x="42" y="123"/>
                </a:cxn>
                <a:cxn ang="0">
                  <a:pos x="7" y="79"/>
                </a:cxn>
                <a:cxn ang="0">
                  <a:pos x="0" y="0"/>
                </a:cxn>
              </a:cxnLst>
              <a:rect l="0" t="0" r="r" b="b"/>
              <a:pathLst>
                <a:path w="383" h="202">
                  <a:moveTo>
                    <a:pt x="0" y="0"/>
                  </a:moveTo>
                  <a:lnTo>
                    <a:pt x="51" y="2"/>
                  </a:lnTo>
                  <a:lnTo>
                    <a:pt x="90" y="41"/>
                  </a:lnTo>
                  <a:lnTo>
                    <a:pt x="138" y="64"/>
                  </a:lnTo>
                  <a:lnTo>
                    <a:pt x="153" y="31"/>
                  </a:lnTo>
                  <a:lnTo>
                    <a:pt x="158" y="83"/>
                  </a:lnTo>
                  <a:lnTo>
                    <a:pt x="193" y="103"/>
                  </a:lnTo>
                  <a:lnTo>
                    <a:pt x="238" y="127"/>
                  </a:lnTo>
                  <a:lnTo>
                    <a:pt x="340" y="134"/>
                  </a:lnTo>
                  <a:lnTo>
                    <a:pt x="383" y="150"/>
                  </a:lnTo>
                  <a:lnTo>
                    <a:pt x="359" y="197"/>
                  </a:lnTo>
                  <a:lnTo>
                    <a:pt x="315" y="197"/>
                  </a:lnTo>
                  <a:lnTo>
                    <a:pt x="265" y="202"/>
                  </a:lnTo>
                  <a:lnTo>
                    <a:pt x="224" y="178"/>
                  </a:lnTo>
                  <a:lnTo>
                    <a:pt x="169" y="166"/>
                  </a:lnTo>
                  <a:lnTo>
                    <a:pt x="98" y="138"/>
                  </a:lnTo>
                  <a:lnTo>
                    <a:pt x="42" y="123"/>
                  </a:lnTo>
                  <a:lnTo>
                    <a:pt x="7" y="79"/>
                  </a:lnTo>
                  <a:lnTo>
                    <a:pt x="0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30"/>
            <p:cNvSpPr>
              <a:spLocks noChangeAspect="1"/>
            </p:cNvSpPr>
            <p:nvPr/>
          </p:nvSpPr>
          <p:spPr bwMode="auto">
            <a:xfrm>
              <a:off x="3320907" y="3758263"/>
              <a:ext cx="209231" cy="369191"/>
            </a:xfrm>
            <a:custGeom>
              <a:avLst/>
              <a:gdLst/>
              <a:ahLst/>
              <a:cxnLst>
                <a:cxn ang="0">
                  <a:pos x="43" y="561"/>
                </a:cxn>
                <a:cxn ang="0">
                  <a:pos x="63" y="530"/>
                </a:cxn>
                <a:cxn ang="0">
                  <a:pos x="94" y="462"/>
                </a:cxn>
                <a:cxn ang="0">
                  <a:pos x="55" y="427"/>
                </a:cxn>
                <a:cxn ang="0">
                  <a:pos x="39" y="368"/>
                </a:cxn>
                <a:cxn ang="0">
                  <a:pos x="35" y="328"/>
                </a:cxn>
                <a:cxn ang="0">
                  <a:pos x="48" y="249"/>
                </a:cxn>
                <a:cxn ang="0">
                  <a:pos x="11" y="202"/>
                </a:cxn>
                <a:cxn ang="0">
                  <a:pos x="0" y="171"/>
                </a:cxn>
                <a:cxn ang="0">
                  <a:pos x="4" y="87"/>
                </a:cxn>
                <a:cxn ang="0">
                  <a:pos x="52" y="68"/>
                </a:cxn>
                <a:cxn ang="0">
                  <a:pos x="79" y="44"/>
                </a:cxn>
                <a:cxn ang="0">
                  <a:pos x="99" y="0"/>
                </a:cxn>
                <a:cxn ang="0">
                  <a:pos x="107" y="40"/>
                </a:cxn>
                <a:cxn ang="0">
                  <a:pos x="118" y="87"/>
                </a:cxn>
                <a:cxn ang="0">
                  <a:pos x="142" y="107"/>
                </a:cxn>
                <a:cxn ang="0">
                  <a:pos x="173" y="123"/>
                </a:cxn>
                <a:cxn ang="0">
                  <a:pos x="221" y="182"/>
                </a:cxn>
                <a:cxn ang="0">
                  <a:pos x="256" y="151"/>
                </a:cxn>
                <a:cxn ang="0">
                  <a:pos x="293" y="190"/>
                </a:cxn>
                <a:cxn ang="0">
                  <a:pos x="316" y="254"/>
                </a:cxn>
                <a:cxn ang="0">
                  <a:pos x="332" y="289"/>
                </a:cxn>
                <a:cxn ang="0">
                  <a:pos x="355" y="293"/>
                </a:cxn>
                <a:cxn ang="0">
                  <a:pos x="355" y="368"/>
                </a:cxn>
                <a:cxn ang="0">
                  <a:pos x="308" y="375"/>
                </a:cxn>
                <a:cxn ang="0">
                  <a:pos x="265" y="348"/>
                </a:cxn>
                <a:cxn ang="0">
                  <a:pos x="221" y="392"/>
                </a:cxn>
                <a:cxn ang="0">
                  <a:pos x="201" y="447"/>
                </a:cxn>
                <a:cxn ang="0">
                  <a:pos x="155" y="439"/>
                </a:cxn>
                <a:cxn ang="0">
                  <a:pos x="126" y="535"/>
                </a:cxn>
                <a:cxn ang="0">
                  <a:pos x="153" y="585"/>
                </a:cxn>
                <a:cxn ang="0">
                  <a:pos x="113" y="624"/>
                </a:cxn>
                <a:cxn ang="0">
                  <a:pos x="79" y="601"/>
                </a:cxn>
                <a:cxn ang="0">
                  <a:pos x="43" y="561"/>
                </a:cxn>
              </a:cxnLst>
              <a:rect l="0" t="0" r="r" b="b"/>
              <a:pathLst>
                <a:path w="355" h="624">
                  <a:moveTo>
                    <a:pt x="43" y="561"/>
                  </a:moveTo>
                  <a:lnTo>
                    <a:pt x="63" y="530"/>
                  </a:lnTo>
                  <a:lnTo>
                    <a:pt x="94" y="462"/>
                  </a:lnTo>
                  <a:lnTo>
                    <a:pt x="55" y="427"/>
                  </a:lnTo>
                  <a:lnTo>
                    <a:pt x="39" y="368"/>
                  </a:lnTo>
                  <a:lnTo>
                    <a:pt x="35" y="328"/>
                  </a:lnTo>
                  <a:lnTo>
                    <a:pt x="48" y="249"/>
                  </a:lnTo>
                  <a:lnTo>
                    <a:pt x="11" y="202"/>
                  </a:lnTo>
                  <a:lnTo>
                    <a:pt x="0" y="171"/>
                  </a:lnTo>
                  <a:lnTo>
                    <a:pt x="4" y="87"/>
                  </a:lnTo>
                  <a:lnTo>
                    <a:pt x="52" y="68"/>
                  </a:lnTo>
                  <a:lnTo>
                    <a:pt x="79" y="44"/>
                  </a:lnTo>
                  <a:lnTo>
                    <a:pt x="99" y="0"/>
                  </a:lnTo>
                  <a:lnTo>
                    <a:pt x="107" y="40"/>
                  </a:lnTo>
                  <a:lnTo>
                    <a:pt x="118" y="87"/>
                  </a:lnTo>
                  <a:lnTo>
                    <a:pt x="142" y="107"/>
                  </a:lnTo>
                  <a:lnTo>
                    <a:pt x="173" y="123"/>
                  </a:lnTo>
                  <a:lnTo>
                    <a:pt x="221" y="182"/>
                  </a:lnTo>
                  <a:lnTo>
                    <a:pt x="256" y="151"/>
                  </a:lnTo>
                  <a:lnTo>
                    <a:pt x="293" y="190"/>
                  </a:lnTo>
                  <a:lnTo>
                    <a:pt x="316" y="254"/>
                  </a:lnTo>
                  <a:lnTo>
                    <a:pt x="332" y="289"/>
                  </a:lnTo>
                  <a:lnTo>
                    <a:pt x="355" y="293"/>
                  </a:lnTo>
                  <a:lnTo>
                    <a:pt x="355" y="368"/>
                  </a:lnTo>
                  <a:lnTo>
                    <a:pt x="308" y="375"/>
                  </a:lnTo>
                  <a:lnTo>
                    <a:pt x="265" y="348"/>
                  </a:lnTo>
                  <a:lnTo>
                    <a:pt x="221" y="392"/>
                  </a:lnTo>
                  <a:lnTo>
                    <a:pt x="201" y="447"/>
                  </a:lnTo>
                  <a:lnTo>
                    <a:pt x="155" y="439"/>
                  </a:lnTo>
                  <a:lnTo>
                    <a:pt x="126" y="535"/>
                  </a:lnTo>
                  <a:lnTo>
                    <a:pt x="153" y="585"/>
                  </a:lnTo>
                  <a:lnTo>
                    <a:pt x="113" y="624"/>
                  </a:lnTo>
                  <a:lnTo>
                    <a:pt x="79" y="601"/>
                  </a:lnTo>
                  <a:lnTo>
                    <a:pt x="43" y="56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31"/>
            <p:cNvSpPr>
              <a:spLocks noChangeAspect="1"/>
            </p:cNvSpPr>
            <p:nvPr/>
          </p:nvSpPr>
          <p:spPr bwMode="auto">
            <a:xfrm>
              <a:off x="1851015" y="1967332"/>
              <a:ext cx="42198" cy="42599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0" y="41"/>
                </a:cxn>
                <a:cxn ang="0">
                  <a:pos x="17" y="72"/>
                </a:cxn>
                <a:cxn ang="0">
                  <a:pos x="44" y="68"/>
                </a:cxn>
                <a:cxn ang="0">
                  <a:pos x="72" y="28"/>
                </a:cxn>
                <a:cxn ang="0">
                  <a:pos x="37" y="0"/>
                </a:cxn>
              </a:cxnLst>
              <a:rect l="0" t="0" r="r" b="b"/>
              <a:pathLst>
                <a:path w="72" h="72">
                  <a:moveTo>
                    <a:pt x="37" y="0"/>
                  </a:moveTo>
                  <a:lnTo>
                    <a:pt x="0" y="41"/>
                  </a:lnTo>
                  <a:lnTo>
                    <a:pt x="17" y="72"/>
                  </a:lnTo>
                  <a:lnTo>
                    <a:pt x="44" y="68"/>
                  </a:lnTo>
                  <a:lnTo>
                    <a:pt x="72" y="28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32"/>
            <p:cNvSpPr>
              <a:spLocks noChangeAspect="1"/>
            </p:cNvSpPr>
            <p:nvPr/>
          </p:nvSpPr>
          <p:spPr bwMode="auto">
            <a:xfrm>
              <a:off x="2058488" y="1926508"/>
              <a:ext cx="61539" cy="28399"/>
            </a:xfrm>
            <a:custGeom>
              <a:avLst/>
              <a:gdLst/>
              <a:ahLst/>
              <a:cxnLst>
                <a:cxn ang="0">
                  <a:pos x="88" y="15"/>
                </a:cxn>
                <a:cxn ang="0">
                  <a:pos x="44" y="0"/>
                </a:cxn>
                <a:cxn ang="0">
                  <a:pos x="0" y="39"/>
                </a:cxn>
                <a:cxn ang="0">
                  <a:pos x="32" y="43"/>
                </a:cxn>
                <a:cxn ang="0">
                  <a:pos x="103" y="50"/>
                </a:cxn>
                <a:cxn ang="0">
                  <a:pos x="88" y="15"/>
                </a:cxn>
              </a:cxnLst>
              <a:rect l="0" t="0" r="r" b="b"/>
              <a:pathLst>
                <a:path w="103" h="50">
                  <a:moveTo>
                    <a:pt x="88" y="15"/>
                  </a:moveTo>
                  <a:lnTo>
                    <a:pt x="44" y="0"/>
                  </a:lnTo>
                  <a:lnTo>
                    <a:pt x="0" y="39"/>
                  </a:lnTo>
                  <a:lnTo>
                    <a:pt x="32" y="43"/>
                  </a:lnTo>
                  <a:lnTo>
                    <a:pt x="103" y="50"/>
                  </a:lnTo>
                  <a:lnTo>
                    <a:pt x="88" y="1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33"/>
            <p:cNvSpPr>
              <a:spLocks noChangeAspect="1"/>
            </p:cNvSpPr>
            <p:nvPr/>
          </p:nvSpPr>
          <p:spPr bwMode="auto">
            <a:xfrm>
              <a:off x="1926620" y="1617666"/>
              <a:ext cx="356924" cy="310617"/>
            </a:xfrm>
            <a:custGeom>
              <a:avLst/>
              <a:gdLst/>
              <a:ahLst/>
              <a:cxnLst>
                <a:cxn ang="0">
                  <a:pos x="151" y="300"/>
                </a:cxn>
                <a:cxn ang="0">
                  <a:pos x="186" y="269"/>
                </a:cxn>
                <a:cxn ang="0">
                  <a:pos x="202" y="248"/>
                </a:cxn>
                <a:cxn ang="0">
                  <a:pos x="257" y="206"/>
                </a:cxn>
                <a:cxn ang="0">
                  <a:pos x="316" y="169"/>
                </a:cxn>
                <a:cxn ang="0">
                  <a:pos x="387" y="118"/>
                </a:cxn>
                <a:cxn ang="0">
                  <a:pos x="431" y="103"/>
                </a:cxn>
                <a:cxn ang="0">
                  <a:pos x="517" y="71"/>
                </a:cxn>
                <a:cxn ang="0">
                  <a:pos x="581" y="51"/>
                </a:cxn>
                <a:cxn ang="0">
                  <a:pos x="609" y="35"/>
                </a:cxn>
                <a:cxn ang="0">
                  <a:pos x="589" y="4"/>
                </a:cxn>
                <a:cxn ang="0">
                  <a:pos x="510" y="0"/>
                </a:cxn>
                <a:cxn ang="0">
                  <a:pos x="462" y="40"/>
                </a:cxn>
                <a:cxn ang="0">
                  <a:pos x="387" y="59"/>
                </a:cxn>
                <a:cxn ang="0">
                  <a:pos x="300" y="63"/>
                </a:cxn>
                <a:cxn ang="0">
                  <a:pos x="257" y="103"/>
                </a:cxn>
                <a:cxn ang="0">
                  <a:pos x="206" y="103"/>
                </a:cxn>
                <a:cxn ang="0">
                  <a:pos x="182" y="138"/>
                </a:cxn>
                <a:cxn ang="0">
                  <a:pos x="103" y="154"/>
                </a:cxn>
                <a:cxn ang="0">
                  <a:pos x="90" y="213"/>
                </a:cxn>
                <a:cxn ang="0">
                  <a:pos x="87" y="245"/>
                </a:cxn>
                <a:cxn ang="0">
                  <a:pos x="51" y="241"/>
                </a:cxn>
                <a:cxn ang="0">
                  <a:pos x="51" y="252"/>
                </a:cxn>
                <a:cxn ang="0">
                  <a:pos x="55" y="269"/>
                </a:cxn>
                <a:cxn ang="0">
                  <a:pos x="44" y="292"/>
                </a:cxn>
                <a:cxn ang="0">
                  <a:pos x="20" y="309"/>
                </a:cxn>
                <a:cxn ang="0">
                  <a:pos x="7" y="359"/>
                </a:cxn>
                <a:cxn ang="0">
                  <a:pos x="0" y="423"/>
                </a:cxn>
                <a:cxn ang="0">
                  <a:pos x="40" y="443"/>
                </a:cxn>
                <a:cxn ang="0">
                  <a:pos x="75" y="517"/>
                </a:cxn>
                <a:cxn ang="0">
                  <a:pos x="134" y="526"/>
                </a:cxn>
                <a:cxn ang="0">
                  <a:pos x="210" y="517"/>
                </a:cxn>
                <a:cxn ang="0">
                  <a:pos x="217" y="486"/>
                </a:cxn>
                <a:cxn ang="0">
                  <a:pos x="169" y="458"/>
                </a:cxn>
                <a:cxn ang="0">
                  <a:pos x="138" y="427"/>
                </a:cxn>
                <a:cxn ang="0">
                  <a:pos x="138" y="364"/>
                </a:cxn>
                <a:cxn ang="0">
                  <a:pos x="151" y="312"/>
                </a:cxn>
                <a:cxn ang="0">
                  <a:pos x="151" y="300"/>
                </a:cxn>
              </a:cxnLst>
              <a:rect l="0" t="0" r="r" b="b"/>
              <a:pathLst>
                <a:path w="609" h="526">
                  <a:moveTo>
                    <a:pt x="151" y="300"/>
                  </a:moveTo>
                  <a:lnTo>
                    <a:pt x="186" y="269"/>
                  </a:lnTo>
                  <a:lnTo>
                    <a:pt x="202" y="248"/>
                  </a:lnTo>
                  <a:lnTo>
                    <a:pt x="257" y="206"/>
                  </a:lnTo>
                  <a:lnTo>
                    <a:pt x="316" y="169"/>
                  </a:lnTo>
                  <a:lnTo>
                    <a:pt x="387" y="118"/>
                  </a:lnTo>
                  <a:lnTo>
                    <a:pt x="431" y="103"/>
                  </a:lnTo>
                  <a:lnTo>
                    <a:pt x="517" y="71"/>
                  </a:lnTo>
                  <a:lnTo>
                    <a:pt x="581" y="51"/>
                  </a:lnTo>
                  <a:lnTo>
                    <a:pt x="609" y="35"/>
                  </a:lnTo>
                  <a:lnTo>
                    <a:pt x="589" y="4"/>
                  </a:lnTo>
                  <a:lnTo>
                    <a:pt x="510" y="0"/>
                  </a:lnTo>
                  <a:lnTo>
                    <a:pt x="462" y="40"/>
                  </a:lnTo>
                  <a:lnTo>
                    <a:pt x="387" y="59"/>
                  </a:lnTo>
                  <a:lnTo>
                    <a:pt x="300" y="63"/>
                  </a:lnTo>
                  <a:lnTo>
                    <a:pt x="257" y="103"/>
                  </a:lnTo>
                  <a:lnTo>
                    <a:pt x="206" y="103"/>
                  </a:lnTo>
                  <a:lnTo>
                    <a:pt x="182" y="138"/>
                  </a:lnTo>
                  <a:lnTo>
                    <a:pt x="103" y="154"/>
                  </a:lnTo>
                  <a:lnTo>
                    <a:pt x="90" y="213"/>
                  </a:lnTo>
                  <a:lnTo>
                    <a:pt x="87" y="245"/>
                  </a:lnTo>
                  <a:lnTo>
                    <a:pt x="51" y="241"/>
                  </a:lnTo>
                  <a:lnTo>
                    <a:pt x="51" y="252"/>
                  </a:lnTo>
                  <a:lnTo>
                    <a:pt x="55" y="269"/>
                  </a:lnTo>
                  <a:lnTo>
                    <a:pt x="44" y="292"/>
                  </a:lnTo>
                  <a:lnTo>
                    <a:pt x="20" y="309"/>
                  </a:lnTo>
                  <a:lnTo>
                    <a:pt x="7" y="359"/>
                  </a:lnTo>
                  <a:lnTo>
                    <a:pt x="0" y="423"/>
                  </a:lnTo>
                  <a:lnTo>
                    <a:pt x="40" y="443"/>
                  </a:lnTo>
                  <a:lnTo>
                    <a:pt x="75" y="517"/>
                  </a:lnTo>
                  <a:lnTo>
                    <a:pt x="134" y="526"/>
                  </a:lnTo>
                  <a:lnTo>
                    <a:pt x="210" y="517"/>
                  </a:lnTo>
                  <a:lnTo>
                    <a:pt x="217" y="486"/>
                  </a:lnTo>
                  <a:lnTo>
                    <a:pt x="169" y="458"/>
                  </a:lnTo>
                  <a:lnTo>
                    <a:pt x="138" y="427"/>
                  </a:lnTo>
                  <a:lnTo>
                    <a:pt x="138" y="364"/>
                  </a:lnTo>
                  <a:lnTo>
                    <a:pt x="151" y="312"/>
                  </a:lnTo>
                  <a:lnTo>
                    <a:pt x="151" y="30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34"/>
            <p:cNvSpPr>
              <a:spLocks noChangeAspect="1"/>
            </p:cNvSpPr>
            <p:nvPr/>
          </p:nvSpPr>
          <p:spPr bwMode="auto">
            <a:xfrm>
              <a:off x="2332774" y="1729488"/>
              <a:ext cx="15824" cy="30174"/>
            </a:xfrm>
            <a:custGeom>
              <a:avLst/>
              <a:gdLst/>
              <a:ahLst/>
              <a:cxnLst>
                <a:cxn ang="0">
                  <a:pos x="14" y="50"/>
                </a:cxn>
                <a:cxn ang="0">
                  <a:pos x="14" y="50"/>
                </a:cxn>
                <a:cxn ang="0">
                  <a:pos x="16" y="49"/>
                </a:cxn>
                <a:cxn ang="0">
                  <a:pos x="19" y="47"/>
                </a:cxn>
                <a:cxn ang="0">
                  <a:pos x="24" y="42"/>
                </a:cxn>
                <a:cxn ang="0">
                  <a:pos x="26" y="34"/>
                </a:cxn>
                <a:cxn ang="0">
                  <a:pos x="27" y="25"/>
                </a:cxn>
                <a:cxn ang="0">
                  <a:pos x="27" y="25"/>
                </a:cxn>
                <a:cxn ang="0">
                  <a:pos x="26" y="15"/>
                </a:cxn>
                <a:cxn ang="0">
                  <a:pos x="24" y="6"/>
                </a:cxn>
                <a:cxn ang="0">
                  <a:pos x="19" y="1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1" y="0"/>
                </a:cxn>
                <a:cxn ang="0">
                  <a:pos x="9" y="1"/>
                </a:cxn>
                <a:cxn ang="0">
                  <a:pos x="3" y="6"/>
                </a:cxn>
                <a:cxn ang="0">
                  <a:pos x="1" y="15"/>
                </a:cxn>
                <a:cxn ang="0">
                  <a:pos x="0" y="25"/>
                </a:cxn>
                <a:cxn ang="0">
                  <a:pos x="0" y="25"/>
                </a:cxn>
                <a:cxn ang="0">
                  <a:pos x="1" y="34"/>
                </a:cxn>
                <a:cxn ang="0">
                  <a:pos x="3" y="42"/>
                </a:cxn>
                <a:cxn ang="0">
                  <a:pos x="9" y="47"/>
                </a:cxn>
                <a:cxn ang="0">
                  <a:pos x="11" y="49"/>
                </a:cxn>
                <a:cxn ang="0">
                  <a:pos x="14" y="50"/>
                </a:cxn>
                <a:cxn ang="0">
                  <a:pos x="14" y="50"/>
                </a:cxn>
              </a:cxnLst>
              <a:rect l="0" t="0" r="r" b="b"/>
              <a:pathLst>
                <a:path w="27" h="50">
                  <a:moveTo>
                    <a:pt x="14" y="50"/>
                  </a:moveTo>
                  <a:lnTo>
                    <a:pt x="14" y="50"/>
                  </a:lnTo>
                  <a:lnTo>
                    <a:pt x="16" y="49"/>
                  </a:lnTo>
                  <a:lnTo>
                    <a:pt x="19" y="47"/>
                  </a:lnTo>
                  <a:lnTo>
                    <a:pt x="24" y="42"/>
                  </a:lnTo>
                  <a:lnTo>
                    <a:pt x="26" y="34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6" y="15"/>
                  </a:lnTo>
                  <a:lnTo>
                    <a:pt x="24" y="6"/>
                  </a:lnTo>
                  <a:lnTo>
                    <a:pt x="19" y="1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3" y="6"/>
                  </a:lnTo>
                  <a:lnTo>
                    <a:pt x="1" y="1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34"/>
                  </a:lnTo>
                  <a:lnTo>
                    <a:pt x="3" y="42"/>
                  </a:lnTo>
                  <a:lnTo>
                    <a:pt x="9" y="47"/>
                  </a:lnTo>
                  <a:lnTo>
                    <a:pt x="11" y="49"/>
                  </a:lnTo>
                  <a:lnTo>
                    <a:pt x="14" y="50"/>
                  </a:lnTo>
                  <a:lnTo>
                    <a:pt x="14" y="5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35"/>
            <p:cNvSpPr>
              <a:spLocks noChangeAspect="1"/>
            </p:cNvSpPr>
            <p:nvPr/>
          </p:nvSpPr>
          <p:spPr bwMode="auto">
            <a:xfrm>
              <a:off x="2733654" y="1370947"/>
              <a:ext cx="124835" cy="95848"/>
            </a:xfrm>
            <a:custGeom>
              <a:avLst/>
              <a:gdLst/>
              <a:ahLst/>
              <a:cxnLst>
                <a:cxn ang="0">
                  <a:pos x="106" y="23"/>
                </a:cxn>
                <a:cxn ang="0">
                  <a:pos x="71" y="56"/>
                </a:cxn>
                <a:cxn ang="0">
                  <a:pos x="36" y="59"/>
                </a:cxn>
                <a:cxn ang="0">
                  <a:pos x="0" y="87"/>
                </a:cxn>
                <a:cxn ang="0">
                  <a:pos x="27" y="126"/>
                </a:cxn>
                <a:cxn ang="0">
                  <a:pos x="83" y="162"/>
                </a:cxn>
                <a:cxn ang="0">
                  <a:pos x="154" y="130"/>
                </a:cxn>
                <a:cxn ang="0">
                  <a:pos x="213" y="102"/>
                </a:cxn>
                <a:cxn ang="0">
                  <a:pos x="202" y="36"/>
                </a:cxn>
                <a:cxn ang="0">
                  <a:pos x="143" y="0"/>
                </a:cxn>
                <a:cxn ang="0">
                  <a:pos x="106" y="23"/>
                </a:cxn>
              </a:cxnLst>
              <a:rect l="0" t="0" r="r" b="b"/>
              <a:pathLst>
                <a:path w="213" h="162">
                  <a:moveTo>
                    <a:pt x="106" y="23"/>
                  </a:moveTo>
                  <a:lnTo>
                    <a:pt x="71" y="56"/>
                  </a:lnTo>
                  <a:lnTo>
                    <a:pt x="36" y="59"/>
                  </a:lnTo>
                  <a:lnTo>
                    <a:pt x="0" y="87"/>
                  </a:lnTo>
                  <a:lnTo>
                    <a:pt x="27" y="126"/>
                  </a:lnTo>
                  <a:lnTo>
                    <a:pt x="83" y="162"/>
                  </a:lnTo>
                  <a:lnTo>
                    <a:pt x="154" y="130"/>
                  </a:lnTo>
                  <a:lnTo>
                    <a:pt x="213" y="102"/>
                  </a:lnTo>
                  <a:lnTo>
                    <a:pt x="202" y="36"/>
                  </a:lnTo>
                  <a:lnTo>
                    <a:pt x="143" y="0"/>
                  </a:lnTo>
                  <a:lnTo>
                    <a:pt x="106" y="2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36"/>
            <p:cNvSpPr>
              <a:spLocks noChangeAspect="1"/>
            </p:cNvSpPr>
            <p:nvPr/>
          </p:nvSpPr>
          <p:spPr bwMode="auto">
            <a:xfrm>
              <a:off x="2819808" y="1441945"/>
              <a:ext cx="119561" cy="79873"/>
            </a:xfrm>
            <a:custGeom>
              <a:avLst/>
              <a:gdLst/>
              <a:ahLst/>
              <a:cxnLst>
                <a:cxn ang="0">
                  <a:pos x="55" y="48"/>
                </a:cxn>
                <a:cxn ang="0">
                  <a:pos x="79" y="8"/>
                </a:cxn>
                <a:cxn ang="0">
                  <a:pos x="114" y="0"/>
                </a:cxn>
                <a:cxn ang="0">
                  <a:pos x="149" y="12"/>
                </a:cxn>
                <a:cxn ang="0">
                  <a:pos x="177" y="56"/>
                </a:cxn>
                <a:cxn ang="0">
                  <a:pos x="177" y="87"/>
                </a:cxn>
                <a:cxn ang="0">
                  <a:pos x="200" y="83"/>
                </a:cxn>
                <a:cxn ang="0">
                  <a:pos x="206" y="115"/>
                </a:cxn>
                <a:cxn ang="0">
                  <a:pos x="134" y="135"/>
                </a:cxn>
                <a:cxn ang="0">
                  <a:pos x="66" y="107"/>
                </a:cxn>
                <a:cxn ang="0">
                  <a:pos x="0" y="83"/>
                </a:cxn>
                <a:cxn ang="0">
                  <a:pos x="11" y="52"/>
                </a:cxn>
                <a:cxn ang="0">
                  <a:pos x="55" y="48"/>
                </a:cxn>
              </a:cxnLst>
              <a:rect l="0" t="0" r="r" b="b"/>
              <a:pathLst>
                <a:path w="206" h="135">
                  <a:moveTo>
                    <a:pt x="55" y="48"/>
                  </a:moveTo>
                  <a:lnTo>
                    <a:pt x="79" y="8"/>
                  </a:lnTo>
                  <a:lnTo>
                    <a:pt x="114" y="0"/>
                  </a:lnTo>
                  <a:lnTo>
                    <a:pt x="149" y="12"/>
                  </a:lnTo>
                  <a:lnTo>
                    <a:pt x="177" y="56"/>
                  </a:lnTo>
                  <a:lnTo>
                    <a:pt x="177" y="87"/>
                  </a:lnTo>
                  <a:lnTo>
                    <a:pt x="200" y="83"/>
                  </a:lnTo>
                  <a:lnTo>
                    <a:pt x="206" y="115"/>
                  </a:lnTo>
                  <a:lnTo>
                    <a:pt x="134" y="135"/>
                  </a:lnTo>
                  <a:lnTo>
                    <a:pt x="66" y="107"/>
                  </a:lnTo>
                  <a:lnTo>
                    <a:pt x="0" y="83"/>
                  </a:lnTo>
                  <a:lnTo>
                    <a:pt x="11" y="52"/>
                  </a:lnTo>
                  <a:lnTo>
                    <a:pt x="55" y="4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37"/>
            <p:cNvSpPr>
              <a:spLocks noChangeAspect="1"/>
            </p:cNvSpPr>
            <p:nvPr/>
          </p:nvSpPr>
          <p:spPr bwMode="auto">
            <a:xfrm>
              <a:off x="2953434" y="1475669"/>
              <a:ext cx="100220" cy="78098"/>
            </a:xfrm>
            <a:custGeom>
              <a:avLst/>
              <a:gdLst/>
              <a:ahLst/>
              <a:cxnLst>
                <a:cxn ang="0">
                  <a:pos x="20" y="56"/>
                </a:cxn>
                <a:cxn ang="0">
                  <a:pos x="40" y="24"/>
                </a:cxn>
                <a:cxn ang="0">
                  <a:pos x="75" y="0"/>
                </a:cxn>
                <a:cxn ang="0">
                  <a:pos x="88" y="24"/>
                </a:cxn>
                <a:cxn ang="0">
                  <a:pos x="107" y="32"/>
                </a:cxn>
                <a:cxn ang="0">
                  <a:pos x="131" y="32"/>
                </a:cxn>
                <a:cxn ang="0">
                  <a:pos x="162" y="44"/>
                </a:cxn>
                <a:cxn ang="0">
                  <a:pos x="171" y="83"/>
                </a:cxn>
                <a:cxn ang="0">
                  <a:pos x="151" y="120"/>
                </a:cxn>
                <a:cxn ang="0">
                  <a:pos x="92" y="131"/>
                </a:cxn>
                <a:cxn ang="0">
                  <a:pos x="20" y="124"/>
                </a:cxn>
                <a:cxn ang="0">
                  <a:pos x="0" y="100"/>
                </a:cxn>
                <a:cxn ang="0">
                  <a:pos x="20" y="56"/>
                </a:cxn>
              </a:cxnLst>
              <a:rect l="0" t="0" r="r" b="b"/>
              <a:pathLst>
                <a:path w="171" h="131">
                  <a:moveTo>
                    <a:pt x="20" y="56"/>
                  </a:moveTo>
                  <a:lnTo>
                    <a:pt x="40" y="24"/>
                  </a:lnTo>
                  <a:lnTo>
                    <a:pt x="75" y="0"/>
                  </a:lnTo>
                  <a:lnTo>
                    <a:pt x="88" y="24"/>
                  </a:lnTo>
                  <a:lnTo>
                    <a:pt x="107" y="32"/>
                  </a:lnTo>
                  <a:lnTo>
                    <a:pt x="131" y="32"/>
                  </a:lnTo>
                  <a:lnTo>
                    <a:pt x="162" y="44"/>
                  </a:lnTo>
                  <a:lnTo>
                    <a:pt x="171" y="83"/>
                  </a:lnTo>
                  <a:lnTo>
                    <a:pt x="151" y="120"/>
                  </a:lnTo>
                  <a:lnTo>
                    <a:pt x="92" y="131"/>
                  </a:lnTo>
                  <a:lnTo>
                    <a:pt x="20" y="124"/>
                  </a:lnTo>
                  <a:lnTo>
                    <a:pt x="0" y="100"/>
                  </a:lnTo>
                  <a:lnTo>
                    <a:pt x="20" y="5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38"/>
            <p:cNvSpPr>
              <a:spLocks noChangeAspect="1"/>
            </p:cNvSpPr>
            <p:nvPr/>
          </p:nvSpPr>
          <p:spPr bwMode="auto">
            <a:xfrm>
              <a:off x="3825523" y="1647840"/>
              <a:ext cx="174066" cy="76323"/>
            </a:xfrm>
            <a:custGeom>
              <a:avLst/>
              <a:gdLst/>
              <a:ahLst/>
              <a:cxnLst>
                <a:cxn ang="0">
                  <a:pos x="162" y="12"/>
                </a:cxn>
                <a:cxn ang="0">
                  <a:pos x="155" y="48"/>
                </a:cxn>
                <a:cxn ang="0">
                  <a:pos x="103" y="44"/>
                </a:cxn>
                <a:cxn ang="0">
                  <a:pos x="87" y="24"/>
                </a:cxn>
                <a:cxn ang="0">
                  <a:pos x="39" y="0"/>
                </a:cxn>
                <a:cxn ang="0">
                  <a:pos x="0" y="24"/>
                </a:cxn>
                <a:cxn ang="0">
                  <a:pos x="0" y="79"/>
                </a:cxn>
                <a:cxn ang="0">
                  <a:pos x="59" y="123"/>
                </a:cxn>
                <a:cxn ang="0">
                  <a:pos x="135" y="131"/>
                </a:cxn>
                <a:cxn ang="0">
                  <a:pos x="166" y="103"/>
                </a:cxn>
                <a:cxn ang="0">
                  <a:pos x="214" y="123"/>
                </a:cxn>
                <a:cxn ang="0">
                  <a:pos x="273" y="118"/>
                </a:cxn>
                <a:cxn ang="0">
                  <a:pos x="297" y="87"/>
                </a:cxn>
                <a:cxn ang="0">
                  <a:pos x="249" y="72"/>
                </a:cxn>
                <a:cxn ang="0">
                  <a:pos x="225" y="24"/>
                </a:cxn>
                <a:cxn ang="0">
                  <a:pos x="182" y="4"/>
                </a:cxn>
                <a:cxn ang="0">
                  <a:pos x="162" y="12"/>
                </a:cxn>
              </a:cxnLst>
              <a:rect l="0" t="0" r="r" b="b"/>
              <a:pathLst>
                <a:path w="297" h="131">
                  <a:moveTo>
                    <a:pt x="162" y="12"/>
                  </a:moveTo>
                  <a:lnTo>
                    <a:pt x="155" y="48"/>
                  </a:lnTo>
                  <a:lnTo>
                    <a:pt x="103" y="44"/>
                  </a:lnTo>
                  <a:lnTo>
                    <a:pt x="87" y="24"/>
                  </a:lnTo>
                  <a:lnTo>
                    <a:pt x="39" y="0"/>
                  </a:lnTo>
                  <a:lnTo>
                    <a:pt x="0" y="24"/>
                  </a:lnTo>
                  <a:lnTo>
                    <a:pt x="0" y="79"/>
                  </a:lnTo>
                  <a:lnTo>
                    <a:pt x="59" y="123"/>
                  </a:lnTo>
                  <a:lnTo>
                    <a:pt x="135" y="131"/>
                  </a:lnTo>
                  <a:lnTo>
                    <a:pt x="166" y="103"/>
                  </a:lnTo>
                  <a:lnTo>
                    <a:pt x="214" y="123"/>
                  </a:lnTo>
                  <a:lnTo>
                    <a:pt x="273" y="118"/>
                  </a:lnTo>
                  <a:lnTo>
                    <a:pt x="297" y="87"/>
                  </a:lnTo>
                  <a:lnTo>
                    <a:pt x="249" y="72"/>
                  </a:lnTo>
                  <a:lnTo>
                    <a:pt x="225" y="24"/>
                  </a:lnTo>
                  <a:lnTo>
                    <a:pt x="182" y="4"/>
                  </a:lnTo>
                  <a:lnTo>
                    <a:pt x="162" y="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39"/>
            <p:cNvSpPr>
              <a:spLocks noChangeAspect="1"/>
            </p:cNvSpPr>
            <p:nvPr/>
          </p:nvSpPr>
          <p:spPr bwMode="auto">
            <a:xfrm>
              <a:off x="4041787" y="1672690"/>
              <a:ext cx="103736" cy="42599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8" y="19"/>
                </a:cxn>
                <a:cxn ang="0">
                  <a:pos x="94" y="19"/>
                </a:cxn>
                <a:cxn ang="0">
                  <a:pos x="170" y="19"/>
                </a:cxn>
                <a:cxn ang="0">
                  <a:pos x="177" y="63"/>
                </a:cxn>
                <a:cxn ang="0">
                  <a:pos x="83" y="71"/>
                </a:cxn>
                <a:cxn ang="0">
                  <a:pos x="28" y="55"/>
                </a:cxn>
                <a:cxn ang="0">
                  <a:pos x="0" y="23"/>
                </a:cxn>
                <a:cxn ang="0">
                  <a:pos x="4" y="0"/>
                </a:cxn>
              </a:cxnLst>
              <a:rect l="0" t="0" r="r" b="b"/>
              <a:pathLst>
                <a:path w="177" h="71">
                  <a:moveTo>
                    <a:pt x="4" y="0"/>
                  </a:moveTo>
                  <a:lnTo>
                    <a:pt x="28" y="19"/>
                  </a:lnTo>
                  <a:lnTo>
                    <a:pt x="94" y="19"/>
                  </a:lnTo>
                  <a:lnTo>
                    <a:pt x="170" y="19"/>
                  </a:lnTo>
                  <a:lnTo>
                    <a:pt x="177" y="63"/>
                  </a:lnTo>
                  <a:lnTo>
                    <a:pt x="83" y="71"/>
                  </a:lnTo>
                  <a:lnTo>
                    <a:pt x="28" y="55"/>
                  </a:lnTo>
                  <a:lnTo>
                    <a:pt x="0" y="23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40"/>
            <p:cNvSpPr>
              <a:spLocks noChangeAspect="1"/>
            </p:cNvSpPr>
            <p:nvPr/>
          </p:nvSpPr>
          <p:spPr bwMode="auto">
            <a:xfrm>
              <a:off x="4883986" y="1862610"/>
              <a:ext cx="75604" cy="49699"/>
            </a:xfrm>
            <a:custGeom>
              <a:avLst/>
              <a:gdLst/>
              <a:ahLst/>
              <a:cxnLst>
                <a:cxn ang="0">
                  <a:pos x="51" y="8"/>
                </a:cxn>
                <a:cxn ang="0">
                  <a:pos x="12" y="39"/>
                </a:cxn>
                <a:cxn ang="0">
                  <a:pos x="0" y="83"/>
                </a:cxn>
                <a:cxn ang="0">
                  <a:pos x="68" y="78"/>
                </a:cxn>
                <a:cxn ang="0">
                  <a:pos x="115" y="75"/>
                </a:cxn>
                <a:cxn ang="0">
                  <a:pos x="127" y="28"/>
                </a:cxn>
                <a:cxn ang="0">
                  <a:pos x="84" y="0"/>
                </a:cxn>
                <a:cxn ang="0">
                  <a:pos x="51" y="8"/>
                </a:cxn>
              </a:cxnLst>
              <a:rect l="0" t="0" r="r" b="b"/>
              <a:pathLst>
                <a:path w="127" h="83">
                  <a:moveTo>
                    <a:pt x="51" y="8"/>
                  </a:moveTo>
                  <a:lnTo>
                    <a:pt x="12" y="39"/>
                  </a:lnTo>
                  <a:lnTo>
                    <a:pt x="0" y="83"/>
                  </a:lnTo>
                  <a:lnTo>
                    <a:pt x="68" y="78"/>
                  </a:lnTo>
                  <a:lnTo>
                    <a:pt x="115" y="75"/>
                  </a:lnTo>
                  <a:lnTo>
                    <a:pt x="127" y="28"/>
                  </a:lnTo>
                  <a:lnTo>
                    <a:pt x="84" y="0"/>
                  </a:lnTo>
                  <a:lnTo>
                    <a:pt x="51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41"/>
            <p:cNvSpPr>
              <a:spLocks noChangeAspect="1"/>
            </p:cNvSpPr>
            <p:nvPr/>
          </p:nvSpPr>
          <p:spPr bwMode="auto">
            <a:xfrm>
              <a:off x="6842033" y="3853781"/>
              <a:ext cx="93187" cy="115372"/>
            </a:xfrm>
            <a:custGeom>
              <a:avLst/>
              <a:gdLst/>
              <a:ahLst/>
              <a:cxnLst>
                <a:cxn ang="0">
                  <a:pos x="0" y="155"/>
                </a:cxn>
                <a:cxn ang="0">
                  <a:pos x="20" y="99"/>
                </a:cxn>
                <a:cxn ang="0">
                  <a:pos x="60" y="87"/>
                </a:cxn>
                <a:cxn ang="0">
                  <a:pos x="68" y="32"/>
                </a:cxn>
                <a:cxn ang="0">
                  <a:pos x="138" y="0"/>
                </a:cxn>
                <a:cxn ang="0">
                  <a:pos x="133" y="60"/>
                </a:cxn>
                <a:cxn ang="0">
                  <a:pos x="133" y="104"/>
                </a:cxn>
                <a:cxn ang="0">
                  <a:pos x="158" y="111"/>
                </a:cxn>
                <a:cxn ang="0">
                  <a:pos x="151" y="150"/>
                </a:cxn>
                <a:cxn ang="0">
                  <a:pos x="119" y="150"/>
                </a:cxn>
                <a:cxn ang="0">
                  <a:pos x="110" y="194"/>
                </a:cxn>
                <a:cxn ang="0">
                  <a:pos x="46" y="191"/>
                </a:cxn>
                <a:cxn ang="0">
                  <a:pos x="0" y="155"/>
                </a:cxn>
              </a:cxnLst>
              <a:rect l="0" t="0" r="r" b="b"/>
              <a:pathLst>
                <a:path w="158" h="194">
                  <a:moveTo>
                    <a:pt x="0" y="155"/>
                  </a:moveTo>
                  <a:lnTo>
                    <a:pt x="20" y="99"/>
                  </a:lnTo>
                  <a:lnTo>
                    <a:pt x="60" y="87"/>
                  </a:lnTo>
                  <a:lnTo>
                    <a:pt x="68" y="32"/>
                  </a:lnTo>
                  <a:lnTo>
                    <a:pt x="138" y="0"/>
                  </a:lnTo>
                  <a:lnTo>
                    <a:pt x="133" y="60"/>
                  </a:lnTo>
                  <a:lnTo>
                    <a:pt x="133" y="104"/>
                  </a:lnTo>
                  <a:lnTo>
                    <a:pt x="158" y="111"/>
                  </a:lnTo>
                  <a:lnTo>
                    <a:pt x="151" y="150"/>
                  </a:lnTo>
                  <a:lnTo>
                    <a:pt x="119" y="150"/>
                  </a:lnTo>
                  <a:lnTo>
                    <a:pt x="110" y="194"/>
                  </a:lnTo>
                  <a:lnTo>
                    <a:pt x="46" y="191"/>
                  </a:lnTo>
                  <a:lnTo>
                    <a:pt x="0" y="15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42"/>
            <p:cNvSpPr>
              <a:spLocks noChangeAspect="1"/>
            </p:cNvSpPr>
            <p:nvPr/>
          </p:nvSpPr>
          <p:spPr bwMode="auto">
            <a:xfrm>
              <a:off x="7125110" y="4457266"/>
              <a:ext cx="341099" cy="507637"/>
            </a:xfrm>
            <a:custGeom>
              <a:avLst/>
              <a:gdLst/>
              <a:ahLst/>
              <a:cxnLst>
                <a:cxn ang="0">
                  <a:pos x="471" y="35"/>
                </a:cxn>
                <a:cxn ang="0">
                  <a:pos x="431" y="7"/>
                </a:cxn>
                <a:cxn ang="0">
                  <a:pos x="352" y="0"/>
                </a:cxn>
                <a:cxn ang="0">
                  <a:pos x="328" y="31"/>
                </a:cxn>
                <a:cxn ang="0">
                  <a:pos x="197" y="90"/>
                </a:cxn>
                <a:cxn ang="0">
                  <a:pos x="135" y="134"/>
                </a:cxn>
                <a:cxn ang="0">
                  <a:pos x="87" y="169"/>
                </a:cxn>
                <a:cxn ang="0">
                  <a:pos x="56" y="134"/>
                </a:cxn>
                <a:cxn ang="0">
                  <a:pos x="44" y="94"/>
                </a:cxn>
                <a:cxn ang="0">
                  <a:pos x="18" y="96"/>
                </a:cxn>
                <a:cxn ang="0">
                  <a:pos x="0" y="115"/>
                </a:cxn>
                <a:cxn ang="0">
                  <a:pos x="3" y="222"/>
                </a:cxn>
                <a:cxn ang="0">
                  <a:pos x="49" y="222"/>
                </a:cxn>
                <a:cxn ang="0">
                  <a:pos x="69" y="297"/>
                </a:cxn>
                <a:cxn ang="0">
                  <a:pos x="93" y="311"/>
                </a:cxn>
                <a:cxn ang="0">
                  <a:pos x="100" y="359"/>
                </a:cxn>
                <a:cxn ang="0">
                  <a:pos x="117" y="400"/>
                </a:cxn>
                <a:cxn ang="0">
                  <a:pos x="142" y="414"/>
                </a:cxn>
                <a:cxn ang="0">
                  <a:pos x="148" y="463"/>
                </a:cxn>
                <a:cxn ang="0">
                  <a:pos x="162" y="473"/>
                </a:cxn>
                <a:cxn ang="0">
                  <a:pos x="180" y="501"/>
                </a:cxn>
                <a:cxn ang="0">
                  <a:pos x="194" y="545"/>
                </a:cxn>
                <a:cxn ang="0">
                  <a:pos x="214" y="590"/>
                </a:cxn>
                <a:cxn ang="0">
                  <a:pos x="235" y="607"/>
                </a:cxn>
                <a:cxn ang="0">
                  <a:pos x="225" y="627"/>
                </a:cxn>
                <a:cxn ang="0">
                  <a:pos x="241" y="666"/>
                </a:cxn>
                <a:cxn ang="0">
                  <a:pos x="289" y="699"/>
                </a:cxn>
                <a:cxn ang="0">
                  <a:pos x="334" y="752"/>
                </a:cxn>
                <a:cxn ang="0">
                  <a:pos x="401" y="778"/>
                </a:cxn>
                <a:cxn ang="0">
                  <a:pos x="465" y="828"/>
                </a:cxn>
                <a:cxn ang="0">
                  <a:pos x="504" y="858"/>
                </a:cxn>
                <a:cxn ang="0">
                  <a:pos x="536" y="830"/>
                </a:cxn>
                <a:cxn ang="0">
                  <a:pos x="550" y="792"/>
                </a:cxn>
                <a:cxn ang="0">
                  <a:pos x="565" y="786"/>
                </a:cxn>
                <a:cxn ang="0">
                  <a:pos x="550" y="758"/>
                </a:cxn>
                <a:cxn ang="0">
                  <a:pos x="558" y="679"/>
                </a:cxn>
                <a:cxn ang="0">
                  <a:pos x="555" y="617"/>
                </a:cxn>
                <a:cxn ang="0">
                  <a:pos x="578" y="599"/>
                </a:cxn>
                <a:cxn ang="0">
                  <a:pos x="583" y="552"/>
                </a:cxn>
                <a:cxn ang="0">
                  <a:pos x="548" y="497"/>
                </a:cxn>
                <a:cxn ang="0">
                  <a:pos x="509" y="478"/>
                </a:cxn>
                <a:cxn ang="0">
                  <a:pos x="490" y="418"/>
                </a:cxn>
                <a:cxn ang="0">
                  <a:pos x="455" y="440"/>
                </a:cxn>
                <a:cxn ang="0">
                  <a:pos x="413" y="434"/>
                </a:cxn>
                <a:cxn ang="0">
                  <a:pos x="407" y="408"/>
                </a:cxn>
                <a:cxn ang="0">
                  <a:pos x="376" y="403"/>
                </a:cxn>
                <a:cxn ang="0">
                  <a:pos x="364" y="371"/>
                </a:cxn>
                <a:cxn ang="0">
                  <a:pos x="332" y="345"/>
                </a:cxn>
                <a:cxn ang="0">
                  <a:pos x="320" y="313"/>
                </a:cxn>
                <a:cxn ang="0">
                  <a:pos x="331" y="272"/>
                </a:cxn>
                <a:cxn ang="0">
                  <a:pos x="358" y="259"/>
                </a:cxn>
                <a:cxn ang="0">
                  <a:pos x="378" y="242"/>
                </a:cxn>
                <a:cxn ang="0">
                  <a:pos x="369" y="211"/>
                </a:cxn>
                <a:cxn ang="0">
                  <a:pos x="382" y="169"/>
                </a:cxn>
                <a:cxn ang="0">
                  <a:pos x="413" y="148"/>
                </a:cxn>
                <a:cxn ang="0">
                  <a:pos x="455" y="158"/>
                </a:cxn>
                <a:cxn ang="0">
                  <a:pos x="490" y="138"/>
                </a:cxn>
                <a:cxn ang="0">
                  <a:pos x="503" y="96"/>
                </a:cxn>
                <a:cxn ang="0">
                  <a:pos x="471" y="35"/>
                </a:cxn>
              </a:cxnLst>
              <a:rect l="0" t="0" r="r" b="b"/>
              <a:pathLst>
                <a:path w="583" h="858">
                  <a:moveTo>
                    <a:pt x="471" y="35"/>
                  </a:moveTo>
                  <a:lnTo>
                    <a:pt x="431" y="7"/>
                  </a:lnTo>
                  <a:lnTo>
                    <a:pt x="352" y="0"/>
                  </a:lnTo>
                  <a:lnTo>
                    <a:pt x="328" y="31"/>
                  </a:lnTo>
                  <a:lnTo>
                    <a:pt x="197" y="90"/>
                  </a:lnTo>
                  <a:lnTo>
                    <a:pt x="135" y="134"/>
                  </a:lnTo>
                  <a:lnTo>
                    <a:pt x="87" y="169"/>
                  </a:lnTo>
                  <a:lnTo>
                    <a:pt x="56" y="134"/>
                  </a:lnTo>
                  <a:lnTo>
                    <a:pt x="44" y="94"/>
                  </a:lnTo>
                  <a:lnTo>
                    <a:pt x="18" y="96"/>
                  </a:lnTo>
                  <a:lnTo>
                    <a:pt x="0" y="115"/>
                  </a:lnTo>
                  <a:lnTo>
                    <a:pt x="3" y="222"/>
                  </a:lnTo>
                  <a:lnTo>
                    <a:pt x="49" y="222"/>
                  </a:lnTo>
                  <a:lnTo>
                    <a:pt x="69" y="297"/>
                  </a:lnTo>
                  <a:lnTo>
                    <a:pt x="93" y="311"/>
                  </a:lnTo>
                  <a:lnTo>
                    <a:pt x="100" y="359"/>
                  </a:lnTo>
                  <a:lnTo>
                    <a:pt x="117" y="400"/>
                  </a:lnTo>
                  <a:lnTo>
                    <a:pt x="142" y="414"/>
                  </a:lnTo>
                  <a:lnTo>
                    <a:pt x="148" y="463"/>
                  </a:lnTo>
                  <a:lnTo>
                    <a:pt x="162" y="473"/>
                  </a:lnTo>
                  <a:lnTo>
                    <a:pt x="180" y="501"/>
                  </a:lnTo>
                  <a:lnTo>
                    <a:pt x="194" y="545"/>
                  </a:lnTo>
                  <a:lnTo>
                    <a:pt x="214" y="590"/>
                  </a:lnTo>
                  <a:lnTo>
                    <a:pt x="235" y="607"/>
                  </a:lnTo>
                  <a:lnTo>
                    <a:pt x="225" y="627"/>
                  </a:lnTo>
                  <a:lnTo>
                    <a:pt x="241" y="666"/>
                  </a:lnTo>
                  <a:lnTo>
                    <a:pt x="289" y="699"/>
                  </a:lnTo>
                  <a:lnTo>
                    <a:pt x="334" y="752"/>
                  </a:lnTo>
                  <a:lnTo>
                    <a:pt x="401" y="778"/>
                  </a:lnTo>
                  <a:lnTo>
                    <a:pt x="465" y="828"/>
                  </a:lnTo>
                  <a:lnTo>
                    <a:pt x="504" y="858"/>
                  </a:lnTo>
                  <a:lnTo>
                    <a:pt x="536" y="830"/>
                  </a:lnTo>
                  <a:lnTo>
                    <a:pt x="550" y="792"/>
                  </a:lnTo>
                  <a:lnTo>
                    <a:pt x="565" y="786"/>
                  </a:lnTo>
                  <a:lnTo>
                    <a:pt x="550" y="758"/>
                  </a:lnTo>
                  <a:lnTo>
                    <a:pt x="558" y="679"/>
                  </a:lnTo>
                  <a:lnTo>
                    <a:pt x="555" y="617"/>
                  </a:lnTo>
                  <a:lnTo>
                    <a:pt x="578" y="599"/>
                  </a:lnTo>
                  <a:lnTo>
                    <a:pt x="583" y="552"/>
                  </a:lnTo>
                  <a:lnTo>
                    <a:pt x="548" y="497"/>
                  </a:lnTo>
                  <a:lnTo>
                    <a:pt x="509" y="478"/>
                  </a:lnTo>
                  <a:lnTo>
                    <a:pt x="490" y="418"/>
                  </a:lnTo>
                  <a:lnTo>
                    <a:pt x="455" y="440"/>
                  </a:lnTo>
                  <a:lnTo>
                    <a:pt x="413" y="434"/>
                  </a:lnTo>
                  <a:lnTo>
                    <a:pt x="407" y="408"/>
                  </a:lnTo>
                  <a:lnTo>
                    <a:pt x="376" y="403"/>
                  </a:lnTo>
                  <a:lnTo>
                    <a:pt x="364" y="371"/>
                  </a:lnTo>
                  <a:lnTo>
                    <a:pt x="332" y="345"/>
                  </a:lnTo>
                  <a:lnTo>
                    <a:pt x="320" y="313"/>
                  </a:lnTo>
                  <a:lnTo>
                    <a:pt x="331" y="272"/>
                  </a:lnTo>
                  <a:lnTo>
                    <a:pt x="358" y="259"/>
                  </a:lnTo>
                  <a:lnTo>
                    <a:pt x="378" y="242"/>
                  </a:lnTo>
                  <a:lnTo>
                    <a:pt x="369" y="211"/>
                  </a:lnTo>
                  <a:lnTo>
                    <a:pt x="382" y="169"/>
                  </a:lnTo>
                  <a:lnTo>
                    <a:pt x="413" y="148"/>
                  </a:lnTo>
                  <a:lnTo>
                    <a:pt x="455" y="158"/>
                  </a:lnTo>
                  <a:lnTo>
                    <a:pt x="490" y="138"/>
                  </a:lnTo>
                  <a:lnTo>
                    <a:pt x="503" y="96"/>
                  </a:lnTo>
                  <a:lnTo>
                    <a:pt x="471" y="3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43"/>
            <p:cNvSpPr>
              <a:spLocks noChangeAspect="1"/>
            </p:cNvSpPr>
            <p:nvPr/>
          </p:nvSpPr>
          <p:spPr bwMode="auto">
            <a:xfrm>
              <a:off x="409255" y="3616266"/>
              <a:ext cx="434286" cy="496988"/>
            </a:xfrm>
            <a:custGeom>
              <a:avLst/>
              <a:gdLst/>
              <a:ahLst/>
              <a:cxnLst>
                <a:cxn ang="0">
                  <a:pos x="0" y="609"/>
                </a:cxn>
                <a:cxn ang="0">
                  <a:pos x="46" y="547"/>
                </a:cxn>
                <a:cxn ang="0">
                  <a:pos x="81" y="566"/>
                </a:cxn>
                <a:cxn ang="0">
                  <a:pos x="243" y="578"/>
                </a:cxn>
                <a:cxn ang="0">
                  <a:pos x="303" y="570"/>
                </a:cxn>
                <a:cxn ang="0">
                  <a:pos x="300" y="514"/>
                </a:cxn>
                <a:cxn ang="0">
                  <a:pos x="263" y="503"/>
                </a:cxn>
                <a:cxn ang="0">
                  <a:pos x="267" y="152"/>
                </a:cxn>
                <a:cxn ang="0">
                  <a:pos x="243" y="120"/>
                </a:cxn>
                <a:cxn ang="0">
                  <a:pos x="243" y="52"/>
                </a:cxn>
                <a:cxn ang="0">
                  <a:pos x="276" y="45"/>
                </a:cxn>
                <a:cxn ang="0">
                  <a:pos x="276" y="0"/>
                </a:cxn>
                <a:cxn ang="0">
                  <a:pos x="324" y="31"/>
                </a:cxn>
                <a:cxn ang="0">
                  <a:pos x="640" y="285"/>
                </a:cxn>
                <a:cxn ang="0">
                  <a:pos x="684" y="305"/>
                </a:cxn>
                <a:cxn ang="0">
                  <a:pos x="695" y="379"/>
                </a:cxn>
                <a:cxn ang="0">
                  <a:pos x="735" y="371"/>
                </a:cxn>
                <a:cxn ang="0">
                  <a:pos x="743" y="522"/>
                </a:cxn>
                <a:cxn ang="0">
                  <a:pos x="711" y="526"/>
                </a:cxn>
                <a:cxn ang="0">
                  <a:pos x="711" y="553"/>
                </a:cxn>
                <a:cxn ang="0">
                  <a:pos x="592" y="568"/>
                </a:cxn>
                <a:cxn ang="0">
                  <a:pos x="557" y="594"/>
                </a:cxn>
                <a:cxn ang="0">
                  <a:pos x="480" y="590"/>
                </a:cxn>
                <a:cxn ang="0">
                  <a:pos x="457" y="621"/>
                </a:cxn>
                <a:cxn ang="0">
                  <a:pos x="434" y="645"/>
                </a:cxn>
                <a:cxn ang="0">
                  <a:pos x="374" y="665"/>
                </a:cxn>
                <a:cxn ang="0">
                  <a:pos x="362" y="689"/>
                </a:cxn>
                <a:cxn ang="0">
                  <a:pos x="346" y="724"/>
                </a:cxn>
                <a:cxn ang="0">
                  <a:pos x="315" y="768"/>
                </a:cxn>
                <a:cxn ang="0">
                  <a:pos x="300" y="830"/>
                </a:cxn>
                <a:cxn ang="0">
                  <a:pos x="244" y="837"/>
                </a:cxn>
                <a:cxn ang="0">
                  <a:pos x="206" y="842"/>
                </a:cxn>
                <a:cxn ang="0">
                  <a:pos x="193" y="779"/>
                </a:cxn>
                <a:cxn ang="0">
                  <a:pos x="157" y="744"/>
                </a:cxn>
                <a:cxn ang="0">
                  <a:pos x="105" y="732"/>
                </a:cxn>
                <a:cxn ang="0">
                  <a:pos x="59" y="719"/>
                </a:cxn>
                <a:cxn ang="0">
                  <a:pos x="36" y="668"/>
                </a:cxn>
                <a:cxn ang="0">
                  <a:pos x="8" y="648"/>
                </a:cxn>
                <a:cxn ang="0">
                  <a:pos x="0" y="609"/>
                </a:cxn>
              </a:cxnLst>
              <a:rect l="0" t="0" r="r" b="b"/>
              <a:pathLst>
                <a:path w="743" h="842">
                  <a:moveTo>
                    <a:pt x="0" y="609"/>
                  </a:moveTo>
                  <a:lnTo>
                    <a:pt x="46" y="547"/>
                  </a:lnTo>
                  <a:lnTo>
                    <a:pt x="81" y="566"/>
                  </a:lnTo>
                  <a:lnTo>
                    <a:pt x="243" y="578"/>
                  </a:lnTo>
                  <a:lnTo>
                    <a:pt x="303" y="570"/>
                  </a:lnTo>
                  <a:lnTo>
                    <a:pt x="300" y="514"/>
                  </a:lnTo>
                  <a:lnTo>
                    <a:pt x="263" y="503"/>
                  </a:lnTo>
                  <a:lnTo>
                    <a:pt x="267" y="152"/>
                  </a:lnTo>
                  <a:lnTo>
                    <a:pt x="243" y="120"/>
                  </a:lnTo>
                  <a:lnTo>
                    <a:pt x="243" y="52"/>
                  </a:lnTo>
                  <a:lnTo>
                    <a:pt x="276" y="45"/>
                  </a:lnTo>
                  <a:lnTo>
                    <a:pt x="276" y="0"/>
                  </a:lnTo>
                  <a:lnTo>
                    <a:pt x="324" y="31"/>
                  </a:lnTo>
                  <a:lnTo>
                    <a:pt x="640" y="285"/>
                  </a:lnTo>
                  <a:lnTo>
                    <a:pt x="684" y="305"/>
                  </a:lnTo>
                  <a:lnTo>
                    <a:pt x="695" y="379"/>
                  </a:lnTo>
                  <a:lnTo>
                    <a:pt x="735" y="371"/>
                  </a:lnTo>
                  <a:lnTo>
                    <a:pt x="743" y="522"/>
                  </a:lnTo>
                  <a:lnTo>
                    <a:pt x="711" y="526"/>
                  </a:lnTo>
                  <a:lnTo>
                    <a:pt x="711" y="553"/>
                  </a:lnTo>
                  <a:lnTo>
                    <a:pt x="592" y="568"/>
                  </a:lnTo>
                  <a:lnTo>
                    <a:pt x="557" y="594"/>
                  </a:lnTo>
                  <a:lnTo>
                    <a:pt x="480" y="590"/>
                  </a:lnTo>
                  <a:lnTo>
                    <a:pt x="457" y="621"/>
                  </a:lnTo>
                  <a:lnTo>
                    <a:pt x="434" y="645"/>
                  </a:lnTo>
                  <a:lnTo>
                    <a:pt x="374" y="665"/>
                  </a:lnTo>
                  <a:lnTo>
                    <a:pt x="362" y="689"/>
                  </a:lnTo>
                  <a:lnTo>
                    <a:pt x="346" y="724"/>
                  </a:lnTo>
                  <a:lnTo>
                    <a:pt x="315" y="768"/>
                  </a:lnTo>
                  <a:lnTo>
                    <a:pt x="300" y="830"/>
                  </a:lnTo>
                  <a:lnTo>
                    <a:pt x="244" y="837"/>
                  </a:lnTo>
                  <a:lnTo>
                    <a:pt x="206" y="842"/>
                  </a:lnTo>
                  <a:lnTo>
                    <a:pt x="193" y="779"/>
                  </a:lnTo>
                  <a:lnTo>
                    <a:pt x="157" y="744"/>
                  </a:lnTo>
                  <a:lnTo>
                    <a:pt x="105" y="732"/>
                  </a:lnTo>
                  <a:lnTo>
                    <a:pt x="59" y="719"/>
                  </a:lnTo>
                  <a:lnTo>
                    <a:pt x="36" y="668"/>
                  </a:lnTo>
                  <a:lnTo>
                    <a:pt x="8" y="648"/>
                  </a:lnTo>
                  <a:lnTo>
                    <a:pt x="0" y="60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44"/>
            <p:cNvSpPr>
              <a:spLocks noChangeAspect="1"/>
            </p:cNvSpPr>
            <p:nvPr/>
          </p:nvSpPr>
          <p:spPr bwMode="auto">
            <a:xfrm>
              <a:off x="375849" y="4122129"/>
              <a:ext cx="87912" cy="95848"/>
            </a:xfrm>
            <a:custGeom>
              <a:avLst/>
              <a:gdLst/>
              <a:ahLst/>
              <a:cxnLst>
                <a:cxn ang="0">
                  <a:pos x="151" y="79"/>
                </a:cxn>
                <a:cxn ang="0">
                  <a:pos x="138" y="27"/>
                </a:cxn>
                <a:cxn ang="0">
                  <a:pos x="88" y="0"/>
                </a:cxn>
                <a:cxn ang="0">
                  <a:pos x="48" y="20"/>
                </a:cxn>
                <a:cxn ang="0">
                  <a:pos x="0" y="31"/>
                </a:cxn>
                <a:cxn ang="0">
                  <a:pos x="13" y="75"/>
                </a:cxn>
                <a:cxn ang="0">
                  <a:pos x="44" y="86"/>
                </a:cxn>
                <a:cxn ang="0">
                  <a:pos x="52" y="127"/>
                </a:cxn>
                <a:cxn ang="0">
                  <a:pos x="96" y="138"/>
                </a:cxn>
                <a:cxn ang="0">
                  <a:pos x="107" y="162"/>
                </a:cxn>
                <a:cxn ang="0">
                  <a:pos x="151" y="79"/>
                </a:cxn>
              </a:cxnLst>
              <a:rect l="0" t="0" r="r" b="b"/>
              <a:pathLst>
                <a:path w="151" h="162">
                  <a:moveTo>
                    <a:pt x="151" y="79"/>
                  </a:moveTo>
                  <a:lnTo>
                    <a:pt x="138" y="27"/>
                  </a:lnTo>
                  <a:lnTo>
                    <a:pt x="88" y="0"/>
                  </a:lnTo>
                  <a:lnTo>
                    <a:pt x="48" y="20"/>
                  </a:lnTo>
                  <a:lnTo>
                    <a:pt x="0" y="31"/>
                  </a:lnTo>
                  <a:lnTo>
                    <a:pt x="13" y="75"/>
                  </a:lnTo>
                  <a:lnTo>
                    <a:pt x="44" y="86"/>
                  </a:lnTo>
                  <a:lnTo>
                    <a:pt x="52" y="127"/>
                  </a:lnTo>
                  <a:lnTo>
                    <a:pt x="96" y="138"/>
                  </a:lnTo>
                  <a:lnTo>
                    <a:pt x="107" y="162"/>
                  </a:lnTo>
                  <a:lnTo>
                    <a:pt x="151" y="7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45"/>
            <p:cNvSpPr>
              <a:spLocks noChangeAspect="1"/>
            </p:cNvSpPr>
            <p:nvPr/>
          </p:nvSpPr>
          <p:spPr bwMode="auto">
            <a:xfrm>
              <a:off x="796069" y="3997882"/>
              <a:ext cx="293627" cy="292868"/>
            </a:xfrm>
            <a:custGeom>
              <a:avLst/>
              <a:gdLst/>
              <a:ahLst/>
              <a:cxnLst>
                <a:cxn ang="0">
                  <a:pos x="401" y="320"/>
                </a:cxn>
                <a:cxn ang="0">
                  <a:pos x="432" y="269"/>
                </a:cxn>
                <a:cxn ang="0">
                  <a:pos x="453" y="180"/>
                </a:cxn>
                <a:cxn ang="0">
                  <a:pos x="467" y="158"/>
                </a:cxn>
                <a:cxn ang="0">
                  <a:pos x="492" y="138"/>
                </a:cxn>
                <a:cxn ang="0">
                  <a:pos x="501" y="79"/>
                </a:cxn>
                <a:cxn ang="0">
                  <a:pos x="491" y="0"/>
                </a:cxn>
                <a:cxn ang="0">
                  <a:pos x="491" y="0"/>
                </a:cxn>
                <a:cxn ang="0">
                  <a:pos x="458" y="19"/>
                </a:cxn>
                <a:cxn ang="0">
                  <a:pos x="437" y="44"/>
                </a:cxn>
                <a:cxn ang="0">
                  <a:pos x="414" y="19"/>
                </a:cxn>
                <a:cxn ang="0">
                  <a:pos x="354" y="16"/>
                </a:cxn>
                <a:cxn ang="0">
                  <a:pos x="348" y="43"/>
                </a:cxn>
                <a:cxn ang="0">
                  <a:pos x="310" y="39"/>
                </a:cxn>
                <a:cxn ang="0">
                  <a:pos x="282" y="13"/>
                </a:cxn>
                <a:cxn ang="0">
                  <a:pos x="249" y="16"/>
                </a:cxn>
                <a:cxn ang="0">
                  <a:pos x="192" y="23"/>
                </a:cxn>
                <a:cxn ang="0">
                  <a:pos x="187" y="43"/>
                </a:cxn>
                <a:cxn ang="0">
                  <a:pos x="168" y="11"/>
                </a:cxn>
                <a:cxn ang="0">
                  <a:pos x="131" y="5"/>
                </a:cxn>
                <a:cxn ang="0">
                  <a:pos x="89" y="16"/>
                </a:cxn>
                <a:cxn ang="0">
                  <a:pos x="72" y="50"/>
                </a:cxn>
                <a:cxn ang="0">
                  <a:pos x="58" y="74"/>
                </a:cxn>
                <a:cxn ang="0">
                  <a:pos x="44" y="74"/>
                </a:cxn>
                <a:cxn ang="0">
                  <a:pos x="51" y="133"/>
                </a:cxn>
                <a:cxn ang="0">
                  <a:pos x="28" y="236"/>
                </a:cxn>
                <a:cxn ang="0">
                  <a:pos x="0" y="271"/>
                </a:cxn>
                <a:cxn ang="0">
                  <a:pos x="11" y="374"/>
                </a:cxn>
                <a:cxn ang="0">
                  <a:pos x="48" y="382"/>
                </a:cxn>
                <a:cxn ang="0">
                  <a:pos x="89" y="375"/>
                </a:cxn>
                <a:cxn ang="0">
                  <a:pos x="108" y="397"/>
                </a:cxn>
                <a:cxn ang="0">
                  <a:pos x="127" y="424"/>
                </a:cxn>
                <a:cxn ang="0">
                  <a:pos x="126" y="468"/>
                </a:cxn>
                <a:cxn ang="0">
                  <a:pos x="158" y="495"/>
                </a:cxn>
                <a:cxn ang="0">
                  <a:pos x="202" y="496"/>
                </a:cxn>
                <a:cxn ang="0">
                  <a:pos x="288" y="427"/>
                </a:cxn>
                <a:cxn ang="0">
                  <a:pos x="315" y="392"/>
                </a:cxn>
                <a:cxn ang="0">
                  <a:pos x="352" y="357"/>
                </a:cxn>
                <a:cxn ang="0">
                  <a:pos x="401" y="320"/>
                </a:cxn>
              </a:cxnLst>
              <a:rect l="0" t="0" r="r" b="b"/>
              <a:pathLst>
                <a:path w="501" h="496">
                  <a:moveTo>
                    <a:pt x="401" y="320"/>
                  </a:moveTo>
                  <a:lnTo>
                    <a:pt x="432" y="269"/>
                  </a:lnTo>
                  <a:lnTo>
                    <a:pt x="453" y="180"/>
                  </a:lnTo>
                  <a:lnTo>
                    <a:pt x="467" y="158"/>
                  </a:lnTo>
                  <a:lnTo>
                    <a:pt x="492" y="138"/>
                  </a:lnTo>
                  <a:lnTo>
                    <a:pt x="501" y="79"/>
                  </a:lnTo>
                  <a:lnTo>
                    <a:pt x="491" y="0"/>
                  </a:lnTo>
                  <a:lnTo>
                    <a:pt x="491" y="0"/>
                  </a:lnTo>
                  <a:lnTo>
                    <a:pt x="458" y="19"/>
                  </a:lnTo>
                  <a:lnTo>
                    <a:pt x="437" y="44"/>
                  </a:lnTo>
                  <a:lnTo>
                    <a:pt x="414" y="19"/>
                  </a:lnTo>
                  <a:lnTo>
                    <a:pt x="354" y="16"/>
                  </a:lnTo>
                  <a:lnTo>
                    <a:pt x="348" y="43"/>
                  </a:lnTo>
                  <a:lnTo>
                    <a:pt x="310" y="39"/>
                  </a:lnTo>
                  <a:lnTo>
                    <a:pt x="282" y="13"/>
                  </a:lnTo>
                  <a:lnTo>
                    <a:pt x="249" y="16"/>
                  </a:lnTo>
                  <a:lnTo>
                    <a:pt x="192" y="23"/>
                  </a:lnTo>
                  <a:lnTo>
                    <a:pt x="187" y="43"/>
                  </a:lnTo>
                  <a:lnTo>
                    <a:pt x="168" y="11"/>
                  </a:lnTo>
                  <a:lnTo>
                    <a:pt x="131" y="5"/>
                  </a:lnTo>
                  <a:lnTo>
                    <a:pt x="89" y="16"/>
                  </a:lnTo>
                  <a:lnTo>
                    <a:pt x="72" y="50"/>
                  </a:lnTo>
                  <a:lnTo>
                    <a:pt x="58" y="74"/>
                  </a:lnTo>
                  <a:lnTo>
                    <a:pt x="44" y="74"/>
                  </a:lnTo>
                  <a:lnTo>
                    <a:pt x="51" y="133"/>
                  </a:lnTo>
                  <a:lnTo>
                    <a:pt x="28" y="236"/>
                  </a:lnTo>
                  <a:lnTo>
                    <a:pt x="0" y="271"/>
                  </a:lnTo>
                  <a:lnTo>
                    <a:pt x="11" y="374"/>
                  </a:lnTo>
                  <a:lnTo>
                    <a:pt x="48" y="382"/>
                  </a:lnTo>
                  <a:lnTo>
                    <a:pt x="89" y="375"/>
                  </a:lnTo>
                  <a:lnTo>
                    <a:pt x="108" y="397"/>
                  </a:lnTo>
                  <a:lnTo>
                    <a:pt x="127" y="424"/>
                  </a:lnTo>
                  <a:lnTo>
                    <a:pt x="126" y="468"/>
                  </a:lnTo>
                  <a:lnTo>
                    <a:pt x="158" y="495"/>
                  </a:lnTo>
                  <a:lnTo>
                    <a:pt x="202" y="496"/>
                  </a:lnTo>
                  <a:lnTo>
                    <a:pt x="288" y="427"/>
                  </a:lnTo>
                  <a:lnTo>
                    <a:pt x="315" y="392"/>
                  </a:lnTo>
                  <a:lnTo>
                    <a:pt x="352" y="357"/>
                  </a:lnTo>
                  <a:lnTo>
                    <a:pt x="401" y="32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46"/>
            <p:cNvSpPr>
              <a:spLocks noChangeAspect="1"/>
            </p:cNvSpPr>
            <p:nvPr/>
          </p:nvSpPr>
          <p:spPr bwMode="auto">
            <a:xfrm>
              <a:off x="1126619" y="4081305"/>
              <a:ext cx="327033" cy="260919"/>
            </a:xfrm>
            <a:custGeom>
              <a:avLst/>
              <a:gdLst/>
              <a:ahLst/>
              <a:cxnLst>
                <a:cxn ang="0">
                  <a:pos x="553" y="314"/>
                </a:cxn>
                <a:cxn ang="0">
                  <a:pos x="527" y="312"/>
                </a:cxn>
                <a:cxn ang="0">
                  <a:pos x="474" y="324"/>
                </a:cxn>
                <a:cxn ang="0">
                  <a:pos x="434" y="318"/>
                </a:cxn>
                <a:cxn ang="0">
                  <a:pos x="430" y="335"/>
                </a:cxn>
                <a:cxn ang="0">
                  <a:pos x="336" y="345"/>
                </a:cxn>
                <a:cxn ang="0">
                  <a:pos x="330" y="366"/>
                </a:cxn>
                <a:cxn ang="0">
                  <a:pos x="251" y="373"/>
                </a:cxn>
                <a:cxn ang="0">
                  <a:pos x="235" y="342"/>
                </a:cxn>
                <a:cxn ang="0">
                  <a:pos x="206" y="329"/>
                </a:cxn>
                <a:cxn ang="0">
                  <a:pos x="186" y="356"/>
                </a:cxn>
                <a:cxn ang="0">
                  <a:pos x="164" y="367"/>
                </a:cxn>
                <a:cxn ang="0">
                  <a:pos x="147" y="381"/>
                </a:cxn>
                <a:cxn ang="0">
                  <a:pos x="113" y="387"/>
                </a:cxn>
                <a:cxn ang="0">
                  <a:pos x="89" y="412"/>
                </a:cxn>
                <a:cxn ang="0">
                  <a:pos x="71" y="440"/>
                </a:cxn>
                <a:cxn ang="0">
                  <a:pos x="55" y="412"/>
                </a:cxn>
                <a:cxn ang="0">
                  <a:pos x="34" y="347"/>
                </a:cxn>
                <a:cxn ang="0">
                  <a:pos x="0" y="294"/>
                </a:cxn>
                <a:cxn ang="0">
                  <a:pos x="20" y="235"/>
                </a:cxn>
                <a:cxn ang="0">
                  <a:pos x="41" y="205"/>
                </a:cxn>
                <a:cxn ang="0">
                  <a:pos x="68" y="191"/>
                </a:cxn>
                <a:cxn ang="0">
                  <a:pos x="110" y="195"/>
                </a:cxn>
                <a:cxn ang="0">
                  <a:pos x="124" y="166"/>
                </a:cxn>
                <a:cxn ang="0">
                  <a:pos x="174" y="162"/>
                </a:cxn>
                <a:cxn ang="0">
                  <a:pos x="197" y="129"/>
                </a:cxn>
                <a:cxn ang="0">
                  <a:pos x="241" y="119"/>
                </a:cxn>
                <a:cxn ang="0">
                  <a:pos x="257" y="87"/>
                </a:cxn>
                <a:cxn ang="0">
                  <a:pos x="286" y="73"/>
                </a:cxn>
                <a:cxn ang="0">
                  <a:pos x="306" y="35"/>
                </a:cxn>
                <a:cxn ang="0">
                  <a:pos x="336" y="8"/>
                </a:cxn>
                <a:cxn ang="0">
                  <a:pos x="358" y="0"/>
                </a:cxn>
                <a:cxn ang="0">
                  <a:pos x="379" y="33"/>
                </a:cxn>
                <a:cxn ang="0">
                  <a:pos x="401" y="78"/>
                </a:cxn>
                <a:cxn ang="0">
                  <a:pos x="396" y="118"/>
                </a:cxn>
                <a:cxn ang="0">
                  <a:pos x="417" y="128"/>
                </a:cxn>
                <a:cxn ang="0">
                  <a:pos x="420" y="153"/>
                </a:cxn>
                <a:cxn ang="0">
                  <a:pos x="452" y="148"/>
                </a:cxn>
                <a:cxn ang="0">
                  <a:pos x="464" y="191"/>
                </a:cxn>
                <a:cxn ang="0">
                  <a:pos x="506" y="199"/>
                </a:cxn>
                <a:cxn ang="0">
                  <a:pos x="513" y="250"/>
                </a:cxn>
                <a:cxn ang="0">
                  <a:pos x="540" y="260"/>
                </a:cxn>
                <a:cxn ang="0">
                  <a:pos x="551" y="278"/>
                </a:cxn>
                <a:cxn ang="0">
                  <a:pos x="558" y="291"/>
                </a:cxn>
                <a:cxn ang="0">
                  <a:pos x="553" y="314"/>
                </a:cxn>
              </a:cxnLst>
              <a:rect l="0" t="0" r="r" b="b"/>
              <a:pathLst>
                <a:path w="558" h="440">
                  <a:moveTo>
                    <a:pt x="553" y="314"/>
                  </a:moveTo>
                  <a:lnTo>
                    <a:pt x="527" y="312"/>
                  </a:lnTo>
                  <a:lnTo>
                    <a:pt x="474" y="324"/>
                  </a:lnTo>
                  <a:lnTo>
                    <a:pt x="434" y="318"/>
                  </a:lnTo>
                  <a:lnTo>
                    <a:pt x="430" y="335"/>
                  </a:lnTo>
                  <a:lnTo>
                    <a:pt x="336" y="345"/>
                  </a:lnTo>
                  <a:lnTo>
                    <a:pt x="330" y="366"/>
                  </a:lnTo>
                  <a:lnTo>
                    <a:pt x="251" y="373"/>
                  </a:lnTo>
                  <a:lnTo>
                    <a:pt x="235" y="342"/>
                  </a:lnTo>
                  <a:lnTo>
                    <a:pt x="206" y="329"/>
                  </a:lnTo>
                  <a:lnTo>
                    <a:pt x="186" y="356"/>
                  </a:lnTo>
                  <a:lnTo>
                    <a:pt x="164" y="367"/>
                  </a:lnTo>
                  <a:lnTo>
                    <a:pt x="147" y="381"/>
                  </a:lnTo>
                  <a:lnTo>
                    <a:pt x="113" y="387"/>
                  </a:lnTo>
                  <a:lnTo>
                    <a:pt x="89" y="412"/>
                  </a:lnTo>
                  <a:lnTo>
                    <a:pt x="71" y="440"/>
                  </a:lnTo>
                  <a:lnTo>
                    <a:pt x="55" y="412"/>
                  </a:lnTo>
                  <a:lnTo>
                    <a:pt x="34" y="347"/>
                  </a:lnTo>
                  <a:lnTo>
                    <a:pt x="0" y="294"/>
                  </a:lnTo>
                  <a:lnTo>
                    <a:pt x="20" y="235"/>
                  </a:lnTo>
                  <a:lnTo>
                    <a:pt x="41" y="205"/>
                  </a:lnTo>
                  <a:lnTo>
                    <a:pt x="68" y="191"/>
                  </a:lnTo>
                  <a:lnTo>
                    <a:pt x="110" y="195"/>
                  </a:lnTo>
                  <a:lnTo>
                    <a:pt x="124" y="166"/>
                  </a:lnTo>
                  <a:lnTo>
                    <a:pt x="174" y="162"/>
                  </a:lnTo>
                  <a:lnTo>
                    <a:pt x="197" y="129"/>
                  </a:lnTo>
                  <a:lnTo>
                    <a:pt x="241" y="119"/>
                  </a:lnTo>
                  <a:lnTo>
                    <a:pt x="257" y="87"/>
                  </a:lnTo>
                  <a:lnTo>
                    <a:pt x="286" y="73"/>
                  </a:lnTo>
                  <a:lnTo>
                    <a:pt x="306" y="35"/>
                  </a:lnTo>
                  <a:lnTo>
                    <a:pt x="336" y="8"/>
                  </a:lnTo>
                  <a:lnTo>
                    <a:pt x="358" y="0"/>
                  </a:lnTo>
                  <a:lnTo>
                    <a:pt x="379" y="33"/>
                  </a:lnTo>
                  <a:lnTo>
                    <a:pt x="401" y="78"/>
                  </a:lnTo>
                  <a:lnTo>
                    <a:pt x="396" y="118"/>
                  </a:lnTo>
                  <a:lnTo>
                    <a:pt x="417" y="128"/>
                  </a:lnTo>
                  <a:lnTo>
                    <a:pt x="420" y="153"/>
                  </a:lnTo>
                  <a:lnTo>
                    <a:pt x="452" y="148"/>
                  </a:lnTo>
                  <a:lnTo>
                    <a:pt x="464" y="191"/>
                  </a:lnTo>
                  <a:lnTo>
                    <a:pt x="506" y="199"/>
                  </a:lnTo>
                  <a:lnTo>
                    <a:pt x="513" y="250"/>
                  </a:lnTo>
                  <a:lnTo>
                    <a:pt x="540" y="260"/>
                  </a:lnTo>
                  <a:lnTo>
                    <a:pt x="551" y="278"/>
                  </a:lnTo>
                  <a:lnTo>
                    <a:pt x="558" y="291"/>
                  </a:lnTo>
                  <a:lnTo>
                    <a:pt x="553" y="31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47"/>
            <p:cNvSpPr>
              <a:spLocks noChangeAspect="1"/>
            </p:cNvSpPr>
            <p:nvPr/>
          </p:nvSpPr>
          <p:spPr bwMode="auto">
            <a:xfrm>
              <a:off x="1383323" y="3426346"/>
              <a:ext cx="284836" cy="335467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3" y="565"/>
                </a:cxn>
                <a:cxn ang="0">
                  <a:pos x="31" y="550"/>
                </a:cxn>
                <a:cxn ang="0">
                  <a:pos x="66" y="526"/>
                </a:cxn>
                <a:cxn ang="0">
                  <a:pos x="362" y="526"/>
                </a:cxn>
                <a:cxn ang="0">
                  <a:pos x="390" y="550"/>
                </a:cxn>
                <a:cxn ang="0">
                  <a:pos x="469" y="486"/>
                </a:cxn>
                <a:cxn ang="0">
                  <a:pos x="469" y="423"/>
                </a:cxn>
                <a:cxn ang="0">
                  <a:pos x="485" y="410"/>
                </a:cxn>
                <a:cxn ang="0">
                  <a:pos x="378" y="241"/>
                </a:cxn>
                <a:cxn ang="0">
                  <a:pos x="318" y="138"/>
                </a:cxn>
                <a:cxn ang="0">
                  <a:pos x="318" y="91"/>
                </a:cxn>
                <a:cxn ang="0">
                  <a:pos x="351" y="130"/>
                </a:cxn>
                <a:cxn ang="0">
                  <a:pos x="402" y="185"/>
                </a:cxn>
                <a:cxn ang="0">
                  <a:pos x="425" y="138"/>
                </a:cxn>
                <a:cxn ang="0">
                  <a:pos x="425" y="83"/>
                </a:cxn>
                <a:cxn ang="0">
                  <a:pos x="382" y="16"/>
                </a:cxn>
                <a:cxn ang="0">
                  <a:pos x="318" y="12"/>
                </a:cxn>
                <a:cxn ang="0">
                  <a:pos x="204" y="0"/>
                </a:cxn>
                <a:cxn ang="0">
                  <a:pos x="189" y="55"/>
                </a:cxn>
                <a:cxn ang="0">
                  <a:pos x="156" y="40"/>
                </a:cxn>
                <a:cxn ang="0">
                  <a:pos x="125" y="3"/>
                </a:cxn>
                <a:cxn ang="0">
                  <a:pos x="0" y="12"/>
                </a:cxn>
              </a:cxnLst>
              <a:rect l="0" t="0" r="r" b="b"/>
              <a:pathLst>
                <a:path w="485" h="565">
                  <a:moveTo>
                    <a:pt x="0" y="12"/>
                  </a:moveTo>
                  <a:lnTo>
                    <a:pt x="3" y="565"/>
                  </a:lnTo>
                  <a:lnTo>
                    <a:pt x="31" y="550"/>
                  </a:lnTo>
                  <a:lnTo>
                    <a:pt x="66" y="526"/>
                  </a:lnTo>
                  <a:lnTo>
                    <a:pt x="362" y="526"/>
                  </a:lnTo>
                  <a:lnTo>
                    <a:pt x="390" y="550"/>
                  </a:lnTo>
                  <a:lnTo>
                    <a:pt x="469" y="486"/>
                  </a:lnTo>
                  <a:lnTo>
                    <a:pt x="469" y="423"/>
                  </a:lnTo>
                  <a:lnTo>
                    <a:pt x="485" y="410"/>
                  </a:lnTo>
                  <a:lnTo>
                    <a:pt x="378" y="241"/>
                  </a:lnTo>
                  <a:lnTo>
                    <a:pt x="318" y="138"/>
                  </a:lnTo>
                  <a:lnTo>
                    <a:pt x="318" y="91"/>
                  </a:lnTo>
                  <a:lnTo>
                    <a:pt x="351" y="130"/>
                  </a:lnTo>
                  <a:lnTo>
                    <a:pt x="402" y="185"/>
                  </a:lnTo>
                  <a:lnTo>
                    <a:pt x="425" y="138"/>
                  </a:lnTo>
                  <a:lnTo>
                    <a:pt x="425" y="83"/>
                  </a:lnTo>
                  <a:lnTo>
                    <a:pt x="382" y="16"/>
                  </a:lnTo>
                  <a:lnTo>
                    <a:pt x="318" y="12"/>
                  </a:lnTo>
                  <a:lnTo>
                    <a:pt x="204" y="0"/>
                  </a:lnTo>
                  <a:lnTo>
                    <a:pt x="189" y="55"/>
                  </a:lnTo>
                  <a:lnTo>
                    <a:pt x="156" y="40"/>
                  </a:lnTo>
                  <a:lnTo>
                    <a:pt x="125" y="3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48"/>
            <p:cNvSpPr>
              <a:spLocks noChangeAspect="1"/>
            </p:cNvSpPr>
            <p:nvPr/>
          </p:nvSpPr>
          <p:spPr bwMode="auto">
            <a:xfrm>
              <a:off x="2355632" y="3282574"/>
              <a:ext cx="327033" cy="397590"/>
            </a:xfrm>
            <a:custGeom>
              <a:avLst/>
              <a:gdLst/>
              <a:ahLst/>
              <a:cxnLst>
                <a:cxn ang="0">
                  <a:pos x="430" y="0"/>
                </a:cxn>
                <a:cxn ang="0">
                  <a:pos x="388" y="16"/>
                </a:cxn>
                <a:cxn ang="0">
                  <a:pos x="378" y="65"/>
                </a:cxn>
                <a:cxn ang="0">
                  <a:pos x="378" y="65"/>
                </a:cxn>
                <a:cxn ang="0">
                  <a:pos x="360" y="123"/>
                </a:cxn>
                <a:cxn ang="0">
                  <a:pos x="340" y="169"/>
                </a:cxn>
                <a:cxn ang="0">
                  <a:pos x="309" y="189"/>
                </a:cxn>
                <a:cxn ang="0">
                  <a:pos x="296" y="245"/>
                </a:cxn>
                <a:cxn ang="0">
                  <a:pos x="257" y="248"/>
                </a:cxn>
                <a:cxn ang="0">
                  <a:pos x="206" y="281"/>
                </a:cxn>
                <a:cxn ang="0">
                  <a:pos x="170" y="309"/>
                </a:cxn>
                <a:cxn ang="0">
                  <a:pos x="150" y="355"/>
                </a:cxn>
                <a:cxn ang="0">
                  <a:pos x="20" y="368"/>
                </a:cxn>
                <a:cxn ang="0">
                  <a:pos x="0" y="407"/>
                </a:cxn>
                <a:cxn ang="0">
                  <a:pos x="12" y="458"/>
                </a:cxn>
                <a:cxn ang="0">
                  <a:pos x="47" y="462"/>
                </a:cxn>
                <a:cxn ang="0">
                  <a:pos x="64" y="490"/>
                </a:cxn>
                <a:cxn ang="0">
                  <a:pos x="36" y="526"/>
                </a:cxn>
                <a:cxn ang="0">
                  <a:pos x="0" y="537"/>
                </a:cxn>
                <a:cxn ang="0">
                  <a:pos x="36" y="549"/>
                </a:cxn>
                <a:cxn ang="0">
                  <a:pos x="55" y="589"/>
                </a:cxn>
                <a:cxn ang="0">
                  <a:pos x="134" y="589"/>
                </a:cxn>
                <a:cxn ang="0">
                  <a:pos x="185" y="569"/>
                </a:cxn>
                <a:cxn ang="0">
                  <a:pos x="194" y="609"/>
                </a:cxn>
                <a:cxn ang="0">
                  <a:pos x="246" y="644"/>
                </a:cxn>
                <a:cxn ang="0">
                  <a:pos x="285" y="672"/>
                </a:cxn>
                <a:cxn ang="0">
                  <a:pos x="312" y="644"/>
                </a:cxn>
                <a:cxn ang="0">
                  <a:pos x="403" y="644"/>
                </a:cxn>
                <a:cxn ang="0">
                  <a:pos x="408" y="605"/>
                </a:cxn>
                <a:cxn ang="0">
                  <a:pos x="360" y="541"/>
                </a:cxn>
                <a:cxn ang="0">
                  <a:pos x="320" y="502"/>
                </a:cxn>
                <a:cxn ang="0">
                  <a:pos x="336" y="454"/>
                </a:cxn>
                <a:cxn ang="0">
                  <a:pos x="364" y="427"/>
                </a:cxn>
                <a:cxn ang="0">
                  <a:pos x="443" y="454"/>
                </a:cxn>
                <a:cxn ang="0">
                  <a:pos x="454" y="423"/>
                </a:cxn>
                <a:cxn ang="0">
                  <a:pos x="459" y="387"/>
                </a:cxn>
                <a:cxn ang="0">
                  <a:pos x="509" y="344"/>
                </a:cxn>
                <a:cxn ang="0">
                  <a:pos x="526" y="300"/>
                </a:cxn>
                <a:cxn ang="0">
                  <a:pos x="557" y="269"/>
                </a:cxn>
                <a:cxn ang="0">
                  <a:pos x="553" y="197"/>
                </a:cxn>
                <a:cxn ang="0">
                  <a:pos x="509" y="166"/>
                </a:cxn>
                <a:cxn ang="0">
                  <a:pos x="514" y="103"/>
                </a:cxn>
                <a:cxn ang="0">
                  <a:pos x="491" y="71"/>
                </a:cxn>
                <a:cxn ang="0">
                  <a:pos x="498" y="27"/>
                </a:cxn>
                <a:cxn ang="0">
                  <a:pos x="459" y="7"/>
                </a:cxn>
                <a:cxn ang="0">
                  <a:pos x="430" y="0"/>
                </a:cxn>
              </a:cxnLst>
              <a:rect l="0" t="0" r="r" b="b"/>
              <a:pathLst>
                <a:path w="557" h="672">
                  <a:moveTo>
                    <a:pt x="430" y="0"/>
                  </a:moveTo>
                  <a:lnTo>
                    <a:pt x="388" y="16"/>
                  </a:lnTo>
                  <a:lnTo>
                    <a:pt x="378" y="65"/>
                  </a:lnTo>
                  <a:lnTo>
                    <a:pt x="378" y="65"/>
                  </a:lnTo>
                  <a:lnTo>
                    <a:pt x="360" y="123"/>
                  </a:lnTo>
                  <a:lnTo>
                    <a:pt x="340" y="169"/>
                  </a:lnTo>
                  <a:lnTo>
                    <a:pt x="309" y="189"/>
                  </a:lnTo>
                  <a:lnTo>
                    <a:pt x="296" y="245"/>
                  </a:lnTo>
                  <a:lnTo>
                    <a:pt x="257" y="248"/>
                  </a:lnTo>
                  <a:lnTo>
                    <a:pt x="206" y="281"/>
                  </a:lnTo>
                  <a:lnTo>
                    <a:pt x="170" y="309"/>
                  </a:lnTo>
                  <a:lnTo>
                    <a:pt x="150" y="355"/>
                  </a:lnTo>
                  <a:lnTo>
                    <a:pt x="20" y="368"/>
                  </a:lnTo>
                  <a:lnTo>
                    <a:pt x="0" y="407"/>
                  </a:lnTo>
                  <a:lnTo>
                    <a:pt x="12" y="458"/>
                  </a:lnTo>
                  <a:lnTo>
                    <a:pt x="47" y="462"/>
                  </a:lnTo>
                  <a:lnTo>
                    <a:pt x="64" y="490"/>
                  </a:lnTo>
                  <a:lnTo>
                    <a:pt x="36" y="526"/>
                  </a:lnTo>
                  <a:lnTo>
                    <a:pt x="0" y="537"/>
                  </a:lnTo>
                  <a:lnTo>
                    <a:pt x="36" y="549"/>
                  </a:lnTo>
                  <a:lnTo>
                    <a:pt x="55" y="589"/>
                  </a:lnTo>
                  <a:lnTo>
                    <a:pt x="134" y="589"/>
                  </a:lnTo>
                  <a:lnTo>
                    <a:pt x="185" y="569"/>
                  </a:lnTo>
                  <a:lnTo>
                    <a:pt x="194" y="609"/>
                  </a:lnTo>
                  <a:lnTo>
                    <a:pt x="246" y="644"/>
                  </a:lnTo>
                  <a:lnTo>
                    <a:pt x="285" y="672"/>
                  </a:lnTo>
                  <a:lnTo>
                    <a:pt x="312" y="644"/>
                  </a:lnTo>
                  <a:lnTo>
                    <a:pt x="403" y="644"/>
                  </a:lnTo>
                  <a:lnTo>
                    <a:pt x="408" y="605"/>
                  </a:lnTo>
                  <a:lnTo>
                    <a:pt x="360" y="541"/>
                  </a:lnTo>
                  <a:lnTo>
                    <a:pt x="320" y="502"/>
                  </a:lnTo>
                  <a:lnTo>
                    <a:pt x="336" y="454"/>
                  </a:lnTo>
                  <a:lnTo>
                    <a:pt x="364" y="427"/>
                  </a:lnTo>
                  <a:lnTo>
                    <a:pt x="443" y="454"/>
                  </a:lnTo>
                  <a:lnTo>
                    <a:pt x="454" y="423"/>
                  </a:lnTo>
                  <a:lnTo>
                    <a:pt x="459" y="387"/>
                  </a:lnTo>
                  <a:lnTo>
                    <a:pt x="509" y="344"/>
                  </a:lnTo>
                  <a:lnTo>
                    <a:pt x="526" y="300"/>
                  </a:lnTo>
                  <a:lnTo>
                    <a:pt x="557" y="269"/>
                  </a:lnTo>
                  <a:lnTo>
                    <a:pt x="553" y="197"/>
                  </a:lnTo>
                  <a:lnTo>
                    <a:pt x="509" y="166"/>
                  </a:lnTo>
                  <a:lnTo>
                    <a:pt x="514" y="103"/>
                  </a:lnTo>
                  <a:lnTo>
                    <a:pt x="491" y="71"/>
                  </a:lnTo>
                  <a:lnTo>
                    <a:pt x="498" y="27"/>
                  </a:lnTo>
                  <a:lnTo>
                    <a:pt x="459" y="7"/>
                  </a:lnTo>
                  <a:lnTo>
                    <a:pt x="43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49"/>
            <p:cNvSpPr>
              <a:spLocks noChangeAspect="1"/>
            </p:cNvSpPr>
            <p:nvPr/>
          </p:nvSpPr>
          <p:spPr bwMode="auto">
            <a:xfrm>
              <a:off x="3989040" y="3176077"/>
              <a:ext cx="98462" cy="161521"/>
            </a:xfrm>
            <a:custGeom>
              <a:avLst/>
              <a:gdLst/>
              <a:ahLst/>
              <a:cxnLst>
                <a:cxn ang="0">
                  <a:pos x="79" y="0"/>
                </a:cxn>
                <a:cxn ang="0">
                  <a:pos x="64" y="48"/>
                </a:cxn>
                <a:cxn ang="0">
                  <a:pos x="0" y="72"/>
                </a:cxn>
                <a:cxn ang="0">
                  <a:pos x="23" y="111"/>
                </a:cxn>
                <a:cxn ang="0">
                  <a:pos x="20" y="147"/>
                </a:cxn>
                <a:cxn ang="0">
                  <a:pos x="60" y="162"/>
                </a:cxn>
                <a:cxn ang="0">
                  <a:pos x="51" y="254"/>
                </a:cxn>
                <a:cxn ang="0">
                  <a:pos x="99" y="274"/>
                </a:cxn>
                <a:cxn ang="0">
                  <a:pos x="170" y="230"/>
                </a:cxn>
                <a:cxn ang="0">
                  <a:pos x="170" y="120"/>
                </a:cxn>
                <a:cxn ang="0">
                  <a:pos x="79" y="0"/>
                </a:cxn>
              </a:cxnLst>
              <a:rect l="0" t="0" r="r" b="b"/>
              <a:pathLst>
                <a:path w="170" h="274">
                  <a:moveTo>
                    <a:pt x="79" y="0"/>
                  </a:moveTo>
                  <a:lnTo>
                    <a:pt x="64" y="48"/>
                  </a:lnTo>
                  <a:lnTo>
                    <a:pt x="0" y="72"/>
                  </a:lnTo>
                  <a:lnTo>
                    <a:pt x="23" y="111"/>
                  </a:lnTo>
                  <a:lnTo>
                    <a:pt x="20" y="147"/>
                  </a:lnTo>
                  <a:lnTo>
                    <a:pt x="60" y="162"/>
                  </a:lnTo>
                  <a:lnTo>
                    <a:pt x="51" y="254"/>
                  </a:lnTo>
                  <a:lnTo>
                    <a:pt x="99" y="274"/>
                  </a:lnTo>
                  <a:lnTo>
                    <a:pt x="170" y="230"/>
                  </a:lnTo>
                  <a:lnTo>
                    <a:pt x="170" y="120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50"/>
            <p:cNvSpPr>
              <a:spLocks noChangeAspect="1"/>
            </p:cNvSpPr>
            <p:nvPr/>
          </p:nvSpPr>
          <p:spPr bwMode="auto">
            <a:xfrm>
              <a:off x="4270359" y="2616966"/>
              <a:ext cx="100220" cy="204120"/>
            </a:xfrm>
            <a:custGeom>
              <a:avLst/>
              <a:gdLst/>
              <a:ahLst/>
              <a:cxnLst>
                <a:cxn ang="0">
                  <a:pos x="12" y="32"/>
                </a:cxn>
                <a:cxn ang="0">
                  <a:pos x="12" y="68"/>
                </a:cxn>
                <a:cxn ang="0">
                  <a:pos x="24" y="111"/>
                </a:cxn>
                <a:cxn ang="0">
                  <a:pos x="40" y="166"/>
                </a:cxn>
                <a:cxn ang="0">
                  <a:pos x="55" y="230"/>
                </a:cxn>
                <a:cxn ang="0">
                  <a:pos x="83" y="258"/>
                </a:cxn>
                <a:cxn ang="0">
                  <a:pos x="67" y="300"/>
                </a:cxn>
                <a:cxn ang="0">
                  <a:pos x="75" y="322"/>
                </a:cxn>
                <a:cxn ang="0">
                  <a:pos x="95" y="320"/>
                </a:cxn>
                <a:cxn ang="0">
                  <a:pos x="142" y="343"/>
                </a:cxn>
                <a:cxn ang="0">
                  <a:pos x="170" y="324"/>
                </a:cxn>
                <a:cxn ang="0">
                  <a:pos x="147" y="265"/>
                </a:cxn>
                <a:cxn ang="0">
                  <a:pos x="109" y="175"/>
                </a:cxn>
                <a:cxn ang="0">
                  <a:pos x="140" y="181"/>
                </a:cxn>
                <a:cxn ang="0">
                  <a:pos x="98" y="122"/>
                </a:cxn>
                <a:cxn ang="0">
                  <a:pos x="64" y="76"/>
                </a:cxn>
                <a:cxn ang="0">
                  <a:pos x="51" y="13"/>
                </a:cxn>
                <a:cxn ang="0">
                  <a:pos x="0" y="0"/>
                </a:cxn>
                <a:cxn ang="0">
                  <a:pos x="12" y="32"/>
                </a:cxn>
              </a:cxnLst>
              <a:rect l="0" t="0" r="r" b="b"/>
              <a:pathLst>
                <a:path w="170" h="343">
                  <a:moveTo>
                    <a:pt x="12" y="32"/>
                  </a:moveTo>
                  <a:lnTo>
                    <a:pt x="12" y="68"/>
                  </a:lnTo>
                  <a:lnTo>
                    <a:pt x="24" y="111"/>
                  </a:lnTo>
                  <a:lnTo>
                    <a:pt x="40" y="166"/>
                  </a:lnTo>
                  <a:lnTo>
                    <a:pt x="55" y="230"/>
                  </a:lnTo>
                  <a:lnTo>
                    <a:pt x="83" y="258"/>
                  </a:lnTo>
                  <a:lnTo>
                    <a:pt x="67" y="300"/>
                  </a:lnTo>
                  <a:lnTo>
                    <a:pt x="75" y="322"/>
                  </a:lnTo>
                  <a:lnTo>
                    <a:pt x="95" y="320"/>
                  </a:lnTo>
                  <a:lnTo>
                    <a:pt x="142" y="343"/>
                  </a:lnTo>
                  <a:lnTo>
                    <a:pt x="170" y="324"/>
                  </a:lnTo>
                  <a:lnTo>
                    <a:pt x="147" y="265"/>
                  </a:lnTo>
                  <a:lnTo>
                    <a:pt x="109" y="175"/>
                  </a:lnTo>
                  <a:lnTo>
                    <a:pt x="140" y="181"/>
                  </a:lnTo>
                  <a:lnTo>
                    <a:pt x="98" y="122"/>
                  </a:lnTo>
                  <a:lnTo>
                    <a:pt x="64" y="76"/>
                  </a:lnTo>
                  <a:lnTo>
                    <a:pt x="51" y="13"/>
                  </a:lnTo>
                  <a:lnTo>
                    <a:pt x="0" y="0"/>
                  </a:lnTo>
                  <a:lnTo>
                    <a:pt x="12" y="3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 51"/>
            <p:cNvSpPr>
              <a:spLocks noChangeAspect="1"/>
            </p:cNvSpPr>
            <p:nvPr/>
          </p:nvSpPr>
          <p:spPr bwMode="auto">
            <a:xfrm>
              <a:off x="2522665" y="3374872"/>
              <a:ext cx="757803" cy="795180"/>
            </a:xfrm>
            <a:custGeom>
              <a:avLst/>
              <a:gdLst/>
              <a:ahLst/>
              <a:cxnLst>
                <a:cxn ang="0">
                  <a:pos x="1288" y="332"/>
                </a:cxn>
                <a:cxn ang="0">
                  <a:pos x="1194" y="407"/>
                </a:cxn>
                <a:cxn ang="0">
                  <a:pos x="1133" y="514"/>
                </a:cxn>
                <a:cxn ang="0">
                  <a:pos x="1133" y="605"/>
                </a:cxn>
                <a:cxn ang="0">
                  <a:pos x="1087" y="506"/>
                </a:cxn>
                <a:cxn ang="0">
                  <a:pos x="1023" y="419"/>
                </a:cxn>
                <a:cxn ang="0">
                  <a:pos x="920" y="372"/>
                </a:cxn>
                <a:cxn ang="0">
                  <a:pos x="920" y="478"/>
                </a:cxn>
                <a:cxn ang="0">
                  <a:pos x="892" y="604"/>
                </a:cxn>
                <a:cxn ang="0">
                  <a:pos x="861" y="683"/>
                </a:cxn>
                <a:cxn ang="0">
                  <a:pos x="809" y="747"/>
                </a:cxn>
                <a:cxn ang="0">
                  <a:pos x="723" y="810"/>
                </a:cxn>
                <a:cxn ang="0">
                  <a:pos x="651" y="889"/>
                </a:cxn>
                <a:cxn ang="0">
                  <a:pos x="541" y="964"/>
                </a:cxn>
                <a:cxn ang="0">
                  <a:pos x="537" y="1134"/>
                </a:cxn>
                <a:cxn ang="0">
                  <a:pos x="526" y="1264"/>
                </a:cxn>
                <a:cxn ang="0">
                  <a:pos x="443" y="1344"/>
                </a:cxn>
                <a:cxn ang="0">
                  <a:pos x="406" y="1264"/>
                </a:cxn>
                <a:cxn ang="0">
                  <a:pos x="300" y="1000"/>
                </a:cxn>
                <a:cxn ang="0">
                  <a:pos x="221" y="806"/>
                </a:cxn>
                <a:cxn ang="0">
                  <a:pos x="209" y="628"/>
                </a:cxn>
                <a:cxn ang="0">
                  <a:pos x="185" y="624"/>
                </a:cxn>
                <a:cxn ang="0">
                  <a:pos x="86" y="652"/>
                </a:cxn>
                <a:cxn ang="0">
                  <a:pos x="62" y="549"/>
                </a:cxn>
                <a:cxn ang="0">
                  <a:pos x="0" y="514"/>
                </a:cxn>
                <a:cxn ang="0">
                  <a:pos x="118" y="486"/>
                </a:cxn>
                <a:cxn ang="0">
                  <a:pos x="75" y="383"/>
                </a:cxn>
                <a:cxn ang="0">
                  <a:pos x="51" y="296"/>
                </a:cxn>
                <a:cxn ang="0">
                  <a:pos x="158" y="296"/>
                </a:cxn>
                <a:cxn ang="0">
                  <a:pos x="174" y="229"/>
                </a:cxn>
                <a:cxn ang="0">
                  <a:pos x="241" y="142"/>
                </a:cxn>
                <a:cxn ang="0">
                  <a:pos x="268" y="39"/>
                </a:cxn>
                <a:cxn ang="0">
                  <a:pos x="384" y="4"/>
                </a:cxn>
                <a:cxn ang="0">
                  <a:pos x="418" y="114"/>
                </a:cxn>
                <a:cxn ang="0">
                  <a:pos x="526" y="166"/>
                </a:cxn>
                <a:cxn ang="0">
                  <a:pos x="568" y="289"/>
                </a:cxn>
                <a:cxn ang="0">
                  <a:pos x="695" y="332"/>
                </a:cxn>
                <a:cxn ang="0">
                  <a:pos x="791" y="368"/>
                </a:cxn>
                <a:cxn ang="0">
                  <a:pos x="885" y="363"/>
                </a:cxn>
                <a:cxn ang="0">
                  <a:pos x="932" y="272"/>
                </a:cxn>
                <a:cxn ang="0">
                  <a:pos x="1058" y="295"/>
                </a:cxn>
                <a:cxn ang="0">
                  <a:pos x="1137" y="230"/>
                </a:cxn>
                <a:cxn ang="0">
                  <a:pos x="1261" y="257"/>
                </a:cxn>
              </a:cxnLst>
              <a:rect l="0" t="0" r="r" b="b"/>
              <a:pathLst>
                <a:path w="1292" h="1344">
                  <a:moveTo>
                    <a:pt x="1292" y="305"/>
                  </a:moveTo>
                  <a:lnTo>
                    <a:pt x="1288" y="332"/>
                  </a:lnTo>
                  <a:lnTo>
                    <a:pt x="1229" y="359"/>
                  </a:lnTo>
                  <a:lnTo>
                    <a:pt x="1194" y="407"/>
                  </a:lnTo>
                  <a:lnTo>
                    <a:pt x="1174" y="471"/>
                  </a:lnTo>
                  <a:lnTo>
                    <a:pt x="1133" y="514"/>
                  </a:lnTo>
                  <a:lnTo>
                    <a:pt x="1133" y="605"/>
                  </a:lnTo>
                  <a:lnTo>
                    <a:pt x="1133" y="605"/>
                  </a:lnTo>
                  <a:lnTo>
                    <a:pt x="1106" y="581"/>
                  </a:lnTo>
                  <a:lnTo>
                    <a:pt x="1087" y="506"/>
                  </a:lnTo>
                  <a:lnTo>
                    <a:pt x="1078" y="451"/>
                  </a:lnTo>
                  <a:lnTo>
                    <a:pt x="1023" y="419"/>
                  </a:lnTo>
                  <a:lnTo>
                    <a:pt x="976" y="411"/>
                  </a:lnTo>
                  <a:lnTo>
                    <a:pt x="920" y="372"/>
                  </a:lnTo>
                  <a:lnTo>
                    <a:pt x="889" y="470"/>
                  </a:lnTo>
                  <a:lnTo>
                    <a:pt x="920" y="478"/>
                  </a:lnTo>
                  <a:lnTo>
                    <a:pt x="925" y="600"/>
                  </a:lnTo>
                  <a:lnTo>
                    <a:pt x="892" y="604"/>
                  </a:lnTo>
                  <a:lnTo>
                    <a:pt x="861" y="624"/>
                  </a:lnTo>
                  <a:lnTo>
                    <a:pt x="861" y="683"/>
                  </a:lnTo>
                  <a:lnTo>
                    <a:pt x="846" y="696"/>
                  </a:lnTo>
                  <a:lnTo>
                    <a:pt x="809" y="747"/>
                  </a:lnTo>
                  <a:lnTo>
                    <a:pt x="754" y="771"/>
                  </a:lnTo>
                  <a:lnTo>
                    <a:pt x="723" y="810"/>
                  </a:lnTo>
                  <a:lnTo>
                    <a:pt x="675" y="830"/>
                  </a:lnTo>
                  <a:lnTo>
                    <a:pt x="651" y="889"/>
                  </a:lnTo>
                  <a:lnTo>
                    <a:pt x="605" y="924"/>
                  </a:lnTo>
                  <a:lnTo>
                    <a:pt x="541" y="964"/>
                  </a:lnTo>
                  <a:lnTo>
                    <a:pt x="557" y="1126"/>
                  </a:lnTo>
                  <a:lnTo>
                    <a:pt x="537" y="1134"/>
                  </a:lnTo>
                  <a:lnTo>
                    <a:pt x="557" y="1209"/>
                  </a:lnTo>
                  <a:lnTo>
                    <a:pt x="526" y="1264"/>
                  </a:lnTo>
                  <a:lnTo>
                    <a:pt x="494" y="1316"/>
                  </a:lnTo>
                  <a:lnTo>
                    <a:pt x="443" y="1344"/>
                  </a:lnTo>
                  <a:lnTo>
                    <a:pt x="415" y="1323"/>
                  </a:lnTo>
                  <a:lnTo>
                    <a:pt x="406" y="1264"/>
                  </a:lnTo>
                  <a:lnTo>
                    <a:pt x="351" y="1138"/>
                  </a:lnTo>
                  <a:lnTo>
                    <a:pt x="300" y="1000"/>
                  </a:lnTo>
                  <a:lnTo>
                    <a:pt x="244" y="917"/>
                  </a:lnTo>
                  <a:lnTo>
                    <a:pt x="221" y="806"/>
                  </a:lnTo>
                  <a:lnTo>
                    <a:pt x="221" y="707"/>
                  </a:lnTo>
                  <a:lnTo>
                    <a:pt x="209" y="628"/>
                  </a:lnTo>
                  <a:lnTo>
                    <a:pt x="185" y="581"/>
                  </a:lnTo>
                  <a:lnTo>
                    <a:pt x="185" y="624"/>
                  </a:lnTo>
                  <a:lnTo>
                    <a:pt x="154" y="655"/>
                  </a:lnTo>
                  <a:lnTo>
                    <a:pt x="86" y="652"/>
                  </a:lnTo>
                  <a:lnTo>
                    <a:pt x="35" y="585"/>
                  </a:lnTo>
                  <a:lnTo>
                    <a:pt x="62" y="549"/>
                  </a:lnTo>
                  <a:lnTo>
                    <a:pt x="24" y="554"/>
                  </a:lnTo>
                  <a:lnTo>
                    <a:pt x="0" y="514"/>
                  </a:lnTo>
                  <a:lnTo>
                    <a:pt x="27" y="486"/>
                  </a:lnTo>
                  <a:lnTo>
                    <a:pt x="118" y="486"/>
                  </a:lnTo>
                  <a:lnTo>
                    <a:pt x="123" y="447"/>
                  </a:lnTo>
                  <a:lnTo>
                    <a:pt x="75" y="383"/>
                  </a:lnTo>
                  <a:lnTo>
                    <a:pt x="35" y="344"/>
                  </a:lnTo>
                  <a:lnTo>
                    <a:pt x="51" y="296"/>
                  </a:lnTo>
                  <a:lnTo>
                    <a:pt x="79" y="269"/>
                  </a:lnTo>
                  <a:lnTo>
                    <a:pt x="158" y="296"/>
                  </a:lnTo>
                  <a:lnTo>
                    <a:pt x="169" y="265"/>
                  </a:lnTo>
                  <a:lnTo>
                    <a:pt x="174" y="229"/>
                  </a:lnTo>
                  <a:lnTo>
                    <a:pt x="224" y="186"/>
                  </a:lnTo>
                  <a:lnTo>
                    <a:pt x="241" y="142"/>
                  </a:lnTo>
                  <a:lnTo>
                    <a:pt x="272" y="111"/>
                  </a:lnTo>
                  <a:lnTo>
                    <a:pt x="268" y="39"/>
                  </a:lnTo>
                  <a:lnTo>
                    <a:pt x="331" y="0"/>
                  </a:lnTo>
                  <a:lnTo>
                    <a:pt x="384" y="4"/>
                  </a:lnTo>
                  <a:lnTo>
                    <a:pt x="418" y="31"/>
                  </a:lnTo>
                  <a:lnTo>
                    <a:pt x="418" y="114"/>
                  </a:lnTo>
                  <a:lnTo>
                    <a:pt x="486" y="127"/>
                  </a:lnTo>
                  <a:lnTo>
                    <a:pt x="526" y="166"/>
                  </a:lnTo>
                  <a:lnTo>
                    <a:pt x="533" y="245"/>
                  </a:lnTo>
                  <a:lnTo>
                    <a:pt x="568" y="289"/>
                  </a:lnTo>
                  <a:lnTo>
                    <a:pt x="624" y="304"/>
                  </a:lnTo>
                  <a:lnTo>
                    <a:pt x="695" y="332"/>
                  </a:lnTo>
                  <a:lnTo>
                    <a:pt x="750" y="344"/>
                  </a:lnTo>
                  <a:lnTo>
                    <a:pt x="791" y="368"/>
                  </a:lnTo>
                  <a:lnTo>
                    <a:pt x="841" y="363"/>
                  </a:lnTo>
                  <a:lnTo>
                    <a:pt x="885" y="363"/>
                  </a:lnTo>
                  <a:lnTo>
                    <a:pt x="909" y="316"/>
                  </a:lnTo>
                  <a:lnTo>
                    <a:pt x="932" y="272"/>
                  </a:lnTo>
                  <a:lnTo>
                    <a:pt x="983" y="296"/>
                  </a:lnTo>
                  <a:lnTo>
                    <a:pt x="1058" y="295"/>
                  </a:lnTo>
                  <a:lnTo>
                    <a:pt x="1082" y="260"/>
                  </a:lnTo>
                  <a:lnTo>
                    <a:pt x="1137" y="230"/>
                  </a:lnTo>
                  <a:lnTo>
                    <a:pt x="1209" y="230"/>
                  </a:lnTo>
                  <a:lnTo>
                    <a:pt x="1261" y="257"/>
                  </a:lnTo>
                  <a:lnTo>
                    <a:pt x="1292" y="30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52"/>
            <p:cNvSpPr>
              <a:spLocks noChangeAspect="1"/>
            </p:cNvSpPr>
            <p:nvPr/>
          </p:nvSpPr>
          <p:spPr bwMode="auto">
            <a:xfrm>
              <a:off x="2522665" y="3374872"/>
              <a:ext cx="757803" cy="795180"/>
            </a:xfrm>
            <a:custGeom>
              <a:avLst/>
              <a:gdLst/>
              <a:ahLst/>
              <a:cxnLst>
                <a:cxn ang="0">
                  <a:pos x="1288" y="332"/>
                </a:cxn>
                <a:cxn ang="0">
                  <a:pos x="1194" y="407"/>
                </a:cxn>
                <a:cxn ang="0">
                  <a:pos x="1133" y="514"/>
                </a:cxn>
                <a:cxn ang="0">
                  <a:pos x="1133" y="605"/>
                </a:cxn>
                <a:cxn ang="0">
                  <a:pos x="1087" y="506"/>
                </a:cxn>
                <a:cxn ang="0">
                  <a:pos x="1023" y="419"/>
                </a:cxn>
                <a:cxn ang="0">
                  <a:pos x="920" y="372"/>
                </a:cxn>
                <a:cxn ang="0">
                  <a:pos x="920" y="478"/>
                </a:cxn>
                <a:cxn ang="0">
                  <a:pos x="892" y="604"/>
                </a:cxn>
                <a:cxn ang="0">
                  <a:pos x="861" y="683"/>
                </a:cxn>
                <a:cxn ang="0">
                  <a:pos x="809" y="747"/>
                </a:cxn>
                <a:cxn ang="0">
                  <a:pos x="723" y="810"/>
                </a:cxn>
                <a:cxn ang="0">
                  <a:pos x="651" y="889"/>
                </a:cxn>
                <a:cxn ang="0">
                  <a:pos x="541" y="964"/>
                </a:cxn>
                <a:cxn ang="0">
                  <a:pos x="537" y="1134"/>
                </a:cxn>
                <a:cxn ang="0">
                  <a:pos x="526" y="1264"/>
                </a:cxn>
                <a:cxn ang="0">
                  <a:pos x="443" y="1344"/>
                </a:cxn>
                <a:cxn ang="0">
                  <a:pos x="406" y="1264"/>
                </a:cxn>
                <a:cxn ang="0">
                  <a:pos x="300" y="1000"/>
                </a:cxn>
                <a:cxn ang="0">
                  <a:pos x="221" y="806"/>
                </a:cxn>
                <a:cxn ang="0">
                  <a:pos x="209" y="628"/>
                </a:cxn>
                <a:cxn ang="0">
                  <a:pos x="185" y="624"/>
                </a:cxn>
                <a:cxn ang="0">
                  <a:pos x="86" y="652"/>
                </a:cxn>
                <a:cxn ang="0">
                  <a:pos x="62" y="549"/>
                </a:cxn>
                <a:cxn ang="0">
                  <a:pos x="0" y="514"/>
                </a:cxn>
                <a:cxn ang="0">
                  <a:pos x="118" y="486"/>
                </a:cxn>
                <a:cxn ang="0">
                  <a:pos x="75" y="383"/>
                </a:cxn>
                <a:cxn ang="0">
                  <a:pos x="51" y="296"/>
                </a:cxn>
                <a:cxn ang="0">
                  <a:pos x="158" y="296"/>
                </a:cxn>
                <a:cxn ang="0">
                  <a:pos x="174" y="229"/>
                </a:cxn>
                <a:cxn ang="0">
                  <a:pos x="241" y="142"/>
                </a:cxn>
                <a:cxn ang="0">
                  <a:pos x="268" y="39"/>
                </a:cxn>
                <a:cxn ang="0">
                  <a:pos x="384" y="4"/>
                </a:cxn>
                <a:cxn ang="0">
                  <a:pos x="418" y="114"/>
                </a:cxn>
                <a:cxn ang="0">
                  <a:pos x="526" y="166"/>
                </a:cxn>
                <a:cxn ang="0">
                  <a:pos x="568" y="289"/>
                </a:cxn>
                <a:cxn ang="0">
                  <a:pos x="695" y="332"/>
                </a:cxn>
                <a:cxn ang="0">
                  <a:pos x="791" y="368"/>
                </a:cxn>
                <a:cxn ang="0">
                  <a:pos x="885" y="363"/>
                </a:cxn>
                <a:cxn ang="0">
                  <a:pos x="932" y="272"/>
                </a:cxn>
                <a:cxn ang="0">
                  <a:pos x="1058" y="295"/>
                </a:cxn>
                <a:cxn ang="0">
                  <a:pos x="1137" y="230"/>
                </a:cxn>
                <a:cxn ang="0">
                  <a:pos x="1261" y="257"/>
                </a:cxn>
              </a:cxnLst>
              <a:rect l="0" t="0" r="r" b="b"/>
              <a:pathLst>
                <a:path w="1292" h="1344">
                  <a:moveTo>
                    <a:pt x="1292" y="305"/>
                  </a:moveTo>
                  <a:lnTo>
                    <a:pt x="1288" y="332"/>
                  </a:lnTo>
                  <a:lnTo>
                    <a:pt x="1229" y="359"/>
                  </a:lnTo>
                  <a:lnTo>
                    <a:pt x="1194" y="407"/>
                  </a:lnTo>
                  <a:lnTo>
                    <a:pt x="1174" y="471"/>
                  </a:lnTo>
                  <a:lnTo>
                    <a:pt x="1133" y="514"/>
                  </a:lnTo>
                  <a:lnTo>
                    <a:pt x="1133" y="605"/>
                  </a:lnTo>
                  <a:lnTo>
                    <a:pt x="1133" y="605"/>
                  </a:lnTo>
                  <a:lnTo>
                    <a:pt x="1106" y="581"/>
                  </a:lnTo>
                  <a:lnTo>
                    <a:pt x="1087" y="506"/>
                  </a:lnTo>
                  <a:lnTo>
                    <a:pt x="1078" y="451"/>
                  </a:lnTo>
                  <a:lnTo>
                    <a:pt x="1023" y="419"/>
                  </a:lnTo>
                  <a:lnTo>
                    <a:pt x="976" y="411"/>
                  </a:lnTo>
                  <a:lnTo>
                    <a:pt x="920" y="372"/>
                  </a:lnTo>
                  <a:lnTo>
                    <a:pt x="889" y="470"/>
                  </a:lnTo>
                  <a:lnTo>
                    <a:pt x="920" y="478"/>
                  </a:lnTo>
                  <a:lnTo>
                    <a:pt x="925" y="600"/>
                  </a:lnTo>
                  <a:lnTo>
                    <a:pt x="892" y="604"/>
                  </a:lnTo>
                  <a:lnTo>
                    <a:pt x="861" y="624"/>
                  </a:lnTo>
                  <a:lnTo>
                    <a:pt x="861" y="683"/>
                  </a:lnTo>
                  <a:lnTo>
                    <a:pt x="846" y="696"/>
                  </a:lnTo>
                  <a:lnTo>
                    <a:pt x="809" y="747"/>
                  </a:lnTo>
                  <a:lnTo>
                    <a:pt x="754" y="771"/>
                  </a:lnTo>
                  <a:lnTo>
                    <a:pt x="723" y="810"/>
                  </a:lnTo>
                  <a:lnTo>
                    <a:pt x="675" y="830"/>
                  </a:lnTo>
                  <a:lnTo>
                    <a:pt x="651" y="889"/>
                  </a:lnTo>
                  <a:lnTo>
                    <a:pt x="605" y="924"/>
                  </a:lnTo>
                  <a:lnTo>
                    <a:pt x="541" y="964"/>
                  </a:lnTo>
                  <a:lnTo>
                    <a:pt x="557" y="1126"/>
                  </a:lnTo>
                  <a:lnTo>
                    <a:pt x="537" y="1134"/>
                  </a:lnTo>
                  <a:lnTo>
                    <a:pt x="557" y="1209"/>
                  </a:lnTo>
                  <a:lnTo>
                    <a:pt x="526" y="1264"/>
                  </a:lnTo>
                  <a:lnTo>
                    <a:pt x="494" y="1316"/>
                  </a:lnTo>
                  <a:lnTo>
                    <a:pt x="443" y="1344"/>
                  </a:lnTo>
                  <a:lnTo>
                    <a:pt x="415" y="1323"/>
                  </a:lnTo>
                  <a:lnTo>
                    <a:pt x="406" y="1264"/>
                  </a:lnTo>
                  <a:lnTo>
                    <a:pt x="351" y="1138"/>
                  </a:lnTo>
                  <a:lnTo>
                    <a:pt x="300" y="1000"/>
                  </a:lnTo>
                  <a:lnTo>
                    <a:pt x="244" y="917"/>
                  </a:lnTo>
                  <a:lnTo>
                    <a:pt x="221" y="806"/>
                  </a:lnTo>
                  <a:lnTo>
                    <a:pt x="221" y="707"/>
                  </a:lnTo>
                  <a:lnTo>
                    <a:pt x="209" y="628"/>
                  </a:lnTo>
                  <a:lnTo>
                    <a:pt x="185" y="581"/>
                  </a:lnTo>
                  <a:lnTo>
                    <a:pt x="185" y="624"/>
                  </a:lnTo>
                  <a:lnTo>
                    <a:pt x="154" y="655"/>
                  </a:lnTo>
                  <a:lnTo>
                    <a:pt x="86" y="652"/>
                  </a:lnTo>
                  <a:lnTo>
                    <a:pt x="35" y="585"/>
                  </a:lnTo>
                  <a:lnTo>
                    <a:pt x="62" y="549"/>
                  </a:lnTo>
                  <a:lnTo>
                    <a:pt x="24" y="554"/>
                  </a:lnTo>
                  <a:lnTo>
                    <a:pt x="0" y="514"/>
                  </a:lnTo>
                  <a:lnTo>
                    <a:pt x="27" y="486"/>
                  </a:lnTo>
                  <a:lnTo>
                    <a:pt x="118" y="486"/>
                  </a:lnTo>
                  <a:lnTo>
                    <a:pt x="123" y="447"/>
                  </a:lnTo>
                  <a:lnTo>
                    <a:pt x="75" y="383"/>
                  </a:lnTo>
                  <a:lnTo>
                    <a:pt x="35" y="344"/>
                  </a:lnTo>
                  <a:lnTo>
                    <a:pt x="51" y="296"/>
                  </a:lnTo>
                  <a:lnTo>
                    <a:pt x="79" y="269"/>
                  </a:lnTo>
                  <a:lnTo>
                    <a:pt x="158" y="296"/>
                  </a:lnTo>
                  <a:lnTo>
                    <a:pt x="169" y="265"/>
                  </a:lnTo>
                  <a:lnTo>
                    <a:pt x="174" y="229"/>
                  </a:lnTo>
                  <a:lnTo>
                    <a:pt x="224" y="186"/>
                  </a:lnTo>
                  <a:lnTo>
                    <a:pt x="241" y="142"/>
                  </a:lnTo>
                  <a:lnTo>
                    <a:pt x="272" y="111"/>
                  </a:lnTo>
                  <a:lnTo>
                    <a:pt x="268" y="39"/>
                  </a:lnTo>
                  <a:lnTo>
                    <a:pt x="331" y="0"/>
                  </a:lnTo>
                  <a:lnTo>
                    <a:pt x="384" y="4"/>
                  </a:lnTo>
                  <a:lnTo>
                    <a:pt x="418" y="31"/>
                  </a:lnTo>
                  <a:lnTo>
                    <a:pt x="418" y="114"/>
                  </a:lnTo>
                  <a:lnTo>
                    <a:pt x="486" y="127"/>
                  </a:lnTo>
                  <a:lnTo>
                    <a:pt x="526" y="166"/>
                  </a:lnTo>
                  <a:lnTo>
                    <a:pt x="533" y="245"/>
                  </a:lnTo>
                  <a:lnTo>
                    <a:pt x="568" y="289"/>
                  </a:lnTo>
                  <a:lnTo>
                    <a:pt x="624" y="304"/>
                  </a:lnTo>
                  <a:lnTo>
                    <a:pt x="695" y="332"/>
                  </a:lnTo>
                  <a:lnTo>
                    <a:pt x="750" y="344"/>
                  </a:lnTo>
                  <a:lnTo>
                    <a:pt x="791" y="368"/>
                  </a:lnTo>
                  <a:lnTo>
                    <a:pt x="841" y="363"/>
                  </a:lnTo>
                  <a:lnTo>
                    <a:pt x="885" y="363"/>
                  </a:lnTo>
                  <a:lnTo>
                    <a:pt x="909" y="316"/>
                  </a:lnTo>
                  <a:lnTo>
                    <a:pt x="932" y="272"/>
                  </a:lnTo>
                  <a:lnTo>
                    <a:pt x="983" y="296"/>
                  </a:lnTo>
                  <a:lnTo>
                    <a:pt x="1058" y="295"/>
                  </a:lnTo>
                  <a:lnTo>
                    <a:pt x="1082" y="260"/>
                  </a:lnTo>
                  <a:lnTo>
                    <a:pt x="1137" y="230"/>
                  </a:lnTo>
                  <a:lnTo>
                    <a:pt x="1209" y="230"/>
                  </a:lnTo>
                  <a:lnTo>
                    <a:pt x="1261" y="257"/>
                  </a:lnTo>
                  <a:lnTo>
                    <a:pt x="1292" y="305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 53"/>
            <p:cNvSpPr>
              <a:spLocks noChangeAspect="1"/>
            </p:cNvSpPr>
            <p:nvPr/>
          </p:nvSpPr>
          <p:spPr bwMode="auto">
            <a:xfrm>
              <a:off x="3043105" y="3594967"/>
              <a:ext cx="144176" cy="161521"/>
            </a:xfrm>
            <a:custGeom>
              <a:avLst/>
              <a:gdLst/>
              <a:ahLst/>
              <a:cxnLst>
                <a:cxn ang="0">
                  <a:pos x="244" y="233"/>
                </a:cxn>
                <a:cxn ang="0">
                  <a:pos x="226" y="272"/>
                </a:cxn>
                <a:cxn ang="0">
                  <a:pos x="198" y="262"/>
                </a:cxn>
                <a:cxn ang="0">
                  <a:pos x="164" y="213"/>
                </a:cxn>
                <a:cxn ang="0">
                  <a:pos x="170" y="169"/>
                </a:cxn>
                <a:cxn ang="0">
                  <a:pos x="143" y="130"/>
                </a:cxn>
                <a:cxn ang="0">
                  <a:pos x="130" y="165"/>
                </a:cxn>
                <a:cxn ang="0">
                  <a:pos x="91" y="186"/>
                </a:cxn>
                <a:cxn ang="0">
                  <a:pos x="87" y="237"/>
                </a:cxn>
                <a:cxn ang="0">
                  <a:pos x="36" y="228"/>
                </a:cxn>
                <a:cxn ang="0">
                  <a:pos x="31" y="106"/>
                </a:cxn>
                <a:cxn ang="0">
                  <a:pos x="0" y="98"/>
                </a:cxn>
                <a:cxn ang="0">
                  <a:pos x="31" y="0"/>
                </a:cxn>
                <a:cxn ang="0">
                  <a:pos x="87" y="39"/>
                </a:cxn>
                <a:cxn ang="0">
                  <a:pos x="134" y="47"/>
                </a:cxn>
                <a:cxn ang="0">
                  <a:pos x="189" y="79"/>
                </a:cxn>
                <a:cxn ang="0">
                  <a:pos x="198" y="134"/>
                </a:cxn>
                <a:cxn ang="0">
                  <a:pos x="217" y="209"/>
                </a:cxn>
                <a:cxn ang="0">
                  <a:pos x="244" y="233"/>
                </a:cxn>
              </a:cxnLst>
              <a:rect l="0" t="0" r="r" b="b"/>
              <a:pathLst>
                <a:path w="244" h="272">
                  <a:moveTo>
                    <a:pt x="244" y="233"/>
                  </a:moveTo>
                  <a:lnTo>
                    <a:pt x="226" y="272"/>
                  </a:lnTo>
                  <a:lnTo>
                    <a:pt x="198" y="262"/>
                  </a:lnTo>
                  <a:lnTo>
                    <a:pt x="164" y="213"/>
                  </a:lnTo>
                  <a:lnTo>
                    <a:pt x="170" y="169"/>
                  </a:lnTo>
                  <a:lnTo>
                    <a:pt x="143" y="130"/>
                  </a:lnTo>
                  <a:lnTo>
                    <a:pt x="130" y="165"/>
                  </a:lnTo>
                  <a:lnTo>
                    <a:pt x="91" y="186"/>
                  </a:lnTo>
                  <a:lnTo>
                    <a:pt x="87" y="237"/>
                  </a:lnTo>
                  <a:lnTo>
                    <a:pt x="36" y="228"/>
                  </a:lnTo>
                  <a:lnTo>
                    <a:pt x="31" y="106"/>
                  </a:lnTo>
                  <a:lnTo>
                    <a:pt x="0" y="98"/>
                  </a:lnTo>
                  <a:lnTo>
                    <a:pt x="31" y="0"/>
                  </a:lnTo>
                  <a:lnTo>
                    <a:pt x="87" y="39"/>
                  </a:lnTo>
                  <a:lnTo>
                    <a:pt x="134" y="47"/>
                  </a:lnTo>
                  <a:lnTo>
                    <a:pt x="189" y="79"/>
                  </a:lnTo>
                  <a:lnTo>
                    <a:pt x="198" y="134"/>
                  </a:lnTo>
                  <a:lnTo>
                    <a:pt x="217" y="209"/>
                  </a:lnTo>
                  <a:lnTo>
                    <a:pt x="244" y="23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 54"/>
            <p:cNvSpPr>
              <a:spLocks noChangeAspect="1"/>
            </p:cNvSpPr>
            <p:nvPr/>
          </p:nvSpPr>
          <p:spPr bwMode="auto">
            <a:xfrm>
              <a:off x="3043105" y="3594967"/>
              <a:ext cx="144176" cy="161521"/>
            </a:xfrm>
            <a:custGeom>
              <a:avLst/>
              <a:gdLst/>
              <a:ahLst/>
              <a:cxnLst>
                <a:cxn ang="0">
                  <a:pos x="244" y="233"/>
                </a:cxn>
                <a:cxn ang="0">
                  <a:pos x="226" y="272"/>
                </a:cxn>
                <a:cxn ang="0">
                  <a:pos x="198" y="262"/>
                </a:cxn>
                <a:cxn ang="0">
                  <a:pos x="164" y="213"/>
                </a:cxn>
                <a:cxn ang="0">
                  <a:pos x="170" y="169"/>
                </a:cxn>
                <a:cxn ang="0">
                  <a:pos x="143" y="130"/>
                </a:cxn>
                <a:cxn ang="0">
                  <a:pos x="130" y="165"/>
                </a:cxn>
                <a:cxn ang="0">
                  <a:pos x="91" y="186"/>
                </a:cxn>
                <a:cxn ang="0">
                  <a:pos x="87" y="237"/>
                </a:cxn>
                <a:cxn ang="0">
                  <a:pos x="36" y="228"/>
                </a:cxn>
                <a:cxn ang="0">
                  <a:pos x="31" y="106"/>
                </a:cxn>
                <a:cxn ang="0">
                  <a:pos x="0" y="98"/>
                </a:cxn>
                <a:cxn ang="0">
                  <a:pos x="31" y="0"/>
                </a:cxn>
                <a:cxn ang="0">
                  <a:pos x="87" y="39"/>
                </a:cxn>
                <a:cxn ang="0">
                  <a:pos x="134" y="47"/>
                </a:cxn>
                <a:cxn ang="0">
                  <a:pos x="189" y="79"/>
                </a:cxn>
                <a:cxn ang="0">
                  <a:pos x="198" y="134"/>
                </a:cxn>
                <a:cxn ang="0">
                  <a:pos x="217" y="209"/>
                </a:cxn>
                <a:cxn ang="0">
                  <a:pos x="244" y="233"/>
                </a:cxn>
              </a:cxnLst>
              <a:rect l="0" t="0" r="r" b="b"/>
              <a:pathLst>
                <a:path w="244" h="272">
                  <a:moveTo>
                    <a:pt x="244" y="233"/>
                  </a:moveTo>
                  <a:lnTo>
                    <a:pt x="226" y="272"/>
                  </a:lnTo>
                  <a:lnTo>
                    <a:pt x="198" y="262"/>
                  </a:lnTo>
                  <a:lnTo>
                    <a:pt x="164" y="213"/>
                  </a:lnTo>
                  <a:lnTo>
                    <a:pt x="170" y="169"/>
                  </a:lnTo>
                  <a:lnTo>
                    <a:pt x="143" y="130"/>
                  </a:lnTo>
                  <a:lnTo>
                    <a:pt x="130" y="165"/>
                  </a:lnTo>
                  <a:lnTo>
                    <a:pt x="91" y="186"/>
                  </a:lnTo>
                  <a:lnTo>
                    <a:pt x="87" y="237"/>
                  </a:lnTo>
                  <a:lnTo>
                    <a:pt x="36" y="228"/>
                  </a:lnTo>
                  <a:lnTo>
                    <a:pt x="31" y="106"/>
                  </a:lnTo>
                  <a:lnTo>
                    <a:pt x="0" y="98"/>
                  </a:lnTo>
                  <a:lnTo>
                    <a:pt x="31" y="0"/>
                  </a:lnTo>
                  <a:lnTo>
                    <a:pt x="87" y="39"/>
                  </a:lnTo>
                  <a:lnTo>
                    <a:pt x="134" y="47"/>
                  </a:lnTo>
                  <a:lnTo>
                    <a:pt x="189" y="79"/>
                  </a:lnTo>
                  <a:lnTo>
                    <a:pt x="198" y="134"/>
                  </a:lnTo>
                  <a:lnTo>
                    <a:pt x="217" y="209"/>
                  </a:lnTo>
                  <a:lnTo>
                    <a:pt x="244" y="233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 55"/>
            <p:cNvSpPr>
              <a:spLocks noChangeAspect="1"/>
            </p:cNvSpPr>
            <p:nvPr/>
          </p:nvSpPr>
          <p:spPr bwMode="auto">
            <a:xfrm>
              <a:off x="428596" y="3286124"/>
              <a:ext cx="274286" cy="260919"/>
            </a:xfrm>
            <a:custGeom>
              <a:avLst/>
              <a:gdLst/>
              <a:ahLst/>
              <a:cxnLst>
                <a:cxn ang="0">
                  <a:pos x="375" y="61"/>
                </a:cxn>
                <a:cxn ang="0">
                  <a:pos x="428" y="51"/>
                </a:cxn>
                <a:cxn ang="0">
                  <a:pos x="463" y="87"/>
                </a:cxn>
                <a:cxn ang="0">
                  <a:pos x="439" y="130"/>
                </a:cxn>
                <a:cxn ang="0">
                  <a:pos x="467" y="146"/>
                </a:cxn>
                <a:cxn ang="0">
                  <a:pos x="447" y="225"/>
                </a:cxn>
                <a:cxn ang="0">
                  <a:pos x="395" y="229"/>
                </a:cxn>
                <a:cxn ang="0">
                  <a:pos x="388" y="260"/>
                </a:cxn>
                <a:cxn ang="0">
                  <a:pos x="412" y="284"/>
                </a:cxn>
                <a:cxn ang="0">
                  <a:pos x="353" y="336"/>
                </a:cxn>
                <a:cxn ang="0">
                  <a:pos x="312" y="375"/>
                </a:cxn>
                <a:cxn ang="0">
                  <a:pos x="277" y="395"/>
                </a:cxn>
                <a:cxn ang="0">
                  <a:pos x="246" y="395"/>
                </a:cxn>
                <a:cxn ang="0">
                  <a:pos x="233" y="418"/>
                </a:cxn>
                <a:cxn ang="0">
                  <a:pos x="198" y="415"/>
                </a:cxn>
                <a:cxn ang="0">
                  <a:pos x="194" y="442"/>
                </a:cxn>
                <a:cxn ang="0">
                  <a:pos x="147" y="442"/>
                </a:cxn>
                <a:cxn ang="0">
                  <a:pos x="149" y="420"/>
                </a:cxn>
                <a:cxn ang="0">
                  <a:pos x="118" y="420"/>
                </a:cxn>
                <a:cxn ang="0">
                  <a:pos x="0" y="420"/>
                </a:cxn>
                <a:cxn ang="0">
                  <a:pos x="31" y="381"/>
                </a:cxn>
                <a:cxn ang="0">
                  <a:pos x="55" y="368"/>
                </a:cxn>
                <a:cxn ang="0">
                  <a:pos x="79" y="341"/>
                </a:cxn>
                <a:cxn ang="0">
                  <a:pos x="98" y="202"/>
                </a:cxn>
                <a:cxn ang="0">
                  <a:pos x="114" y="159"/>
                </a:cxn>
                <a:cxn ang="0">
                  <a:pos x="134" y="162"/>
                </a:cxn>
                <a:cxn ang="0">
                  <a:pos x="138" y="131"/>
                </a:cxn>
                <a:cxn ang="0">
                  <a:pos x="213" y="127"/>
                </a:cxn>
                <a:cxn ang="0">
                  <a:pos x="213" y="92"/>
                </a:cxn>
                <a:cxn ang="0">
                  <a:pos x="241" y="61"/>
                </a:cxn>
                <a:cxn ang="0">
                  <a:pos x="256" y="33"/>
                </a:cxn>
                <a:cxn ang="0">
                  <a:pos x="268" y="0"/>
                </a:cxn>
                <a:cxn ang="0">
                  <a:pos x="304" y="24"/>
                </a:cxn>
                <a:cxn ang="0">
                  <a:pos x="343" y="28"/>
                </a:cxn>
                <a:cxn ang="0">
                  <a:pos x="375" y="61"/>
                </a:cxn>
              </a:cxnLst>
              <a:rect l="0" t="0" r="r" b="b"/>
              <a:pathLst>
                <a:path w="467" h="442">
                  <a:moveTo>
                    <a:pt x="375" y="61"/>
                  </a:moveTo>
                  <a:lnTo>
                    <a:pt x="428" y="51"/>
                  </a:lnTo>
                  <a:lnTo>
                    <a:pt x="463" y="87"/>
                  </a:lnTo>
                  <a:lnTo>
                    <a:pt x="439" y="130"/>
                  </a:lnTo>
                  <a:lnTo>
                    <a:pt x="467" y="146"/>
                  </a:lnTo>
                  <a:lnTo>
                    <a:pt x="447" y="225"/>
                  </a:lnTo>
                  <a:lnTo>
                    <a:pt x="395" y="229"/>
                  </a:lnTo>
                  <a:lnTo>
                    <a:pt x="388" y="260"/>
                  </a:lnTo>
                  <a:lnTo>
                    <a:pt x="412" y="284"/>
                  </a:lnTo>
                  <a:lnTo>
                    <a:pt x="353" y="336"/>
                  </a:lnTo>
                  <a:lnTo>
                    <a:pt x="312" y="375"/>
                  </a:lnTo>
                  <a:lnTo>
                    <a:pt x="277" y="395"/>
                  </a:lnTo>
                  <a:lnTo>
                    <a:pt x="246" y="395"/>
                  </a:lnTo>
                  <a:lnTo>
                    <a:pt x="233" y="418"/>
                  </a:lnTo>
                  <a:lnTo>
                    <a:pt x="198" y="415"/>
                  </a:lnTo>
                  <a:lnTo>
                    <a:pt x="194" y="442"/>
                  </a:lnTo>
                  <a:lnTo>
                    <a:pt x="147" y="442"/>
                  </a:lnTo>
                  <a:lnTo>
                    <a:pt x="149" y="420"/>
                  </a:lnTo>
                  <a:lnTo>
                    <a:pt x="118" y="420"/>
                  </a:lnTo>
                  <a:lnTo>
                    <a:pt x="0" y="420"/>
                  </a:lnTo>
                  <a:lnTo>
                    <a:pt x="31" y="381"/>
                  </a:lnTo>
                  <a:lnTo>
                    <a:pt x="55" y="368"/>
                  </a:lnTo>
                  <a:lnTo>
                    <a:pt x="79" y="341"/>
                  </a:lnTo>
                  <a:lnTo>
                    <a:pt x="98" y="202"/>
                  </a:lnTo>
                  <a:lnTo>
                    <a:pt x="114" y="159"/>
                  </a:lnTo>
                  <a:lnTo>
                    <a:pt x="134" y="162"/>
                  </a:lnTo>
                  <a:lnTo>
                    <a:pt x="138" y="131"/>
                  </a:lnTo>
                  <a:lnTo>
                    <a:pt x="213" y="127"/>
                  </a:lnTo>
                  <a:lnTo>
                    <a:pt x="213" y="92"/>
                  </a:lnTo>
                  <a:lnTo>
                    <a:pt x="241" y="61"/>
                  </a:lnTo>
                  <a:lnTo>
                    <a:pt x="256" y="33"/>
                  </a:lnTo>
                  <a:lnTo>
                    <a:pt x="268" y="0"/>
                  </a:lnTo>
                  <a:lnTo>
                    <a:pt x="304" y="24"/>
                  </a:lnTo>
                  <a:lnTo>
                    <a:pt x="343" y="28"/>
                  </a:lnTo>
                  <a:lnTo>
                    <a:pt x="375" y="6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 56"/>
            <p:cNvSpPr>
              <a:spLocks noChangeAspect="1"/>
            </p:cNvSpPr>
            <p:nvPr/>
          </p:nvSpPr>
          <p:spPr bwMode="auto">
            <a:xfrm>
              <a:off x="428596" y="3286124"/>
              <a:ext cx="274286" cy="260919"/>
            </a:xfrm>
            <a:custGeom>
              <a:avLst/>
              <a:gdLst/>
              <a:ahLst/>
              <a:cxnLst>
                <a:cxn ang="0">
                  <a:pos x="375" y="61"/>
                </a:cxn>
                <a:cxn ang="0">
                  <a:pos x="428" y="51"/>
                </a:cxn>
                <a:cxn ang="0">
                  <a:pos x="463" y="87"/>
                </a:cxn>
                <a:cxn ang="0">
                  <a:pos x="439" y="130"/>
                </a:cxn>
                <a:cxn ang="0">
                  <a:pos x="467" y="146"/>
                </a:cxn>
                <a:cxn ang="0">
                  <a:pos x="447" y="225"/>
                </a:cxn>
                <a:cxn ang="0">
                  <a:pos x="395" y="229"/>
                </a:cxn>
                <a:cxn ang="0">
                  <a:pos x="388" y="260"/>
                </a:cxn>
                <a:cxn ang="0">
                  <a:pos x="412" y="284"/>
                </a:cxn>
                <a:cxn ang="0">
                  <a:pos x="353" y="336"/>
                </a:cxn>
                <a:cxn ang="0">
                  <a:pos x="312" y="375"/>
                </a:cxn>
                <a:cxn ang="0">
                  <a:pos x="277" y="395"/>
                </a:cxn>
                <a:cxn ang="0">
                  <a:pos x="246" y="395"/>
                </a:cxn>
                <a:cxn ang="0">
                  <a:pos x="233" y="418"/>
                </a:cxn>
                <a:cxn ang="0">
                  <a:pos x="198" y="415"/>
                </a:cxn>
                <a:cxn ang="0">
                  <a:pos x="194" y="442"/>
                </a:cxn>
                <a:cxn ang="0">
                  <a:pos x="147" y="442"/>
                </a:cxn>
                <a:cxn ang="0">
                  <a:pos x="149" y="420"/>
                </a:cxn>
                <a:cxn ang="0">
                  <a:pos x="118" y="420"/>
                </a:cxn>
                <a:cxn ang="0">
                  <a:pos x="0" y="420"/>
                </a:cxn>
                <a:cxn ang="0">
                  <a:pos x="31" y="381"/>
                </a:cxn>
                <a:cxn ang="0">
                  <a:pos x="55" y="368"/>
                </a:cxn>
                <a:cxn ang="0">
                  <a:pos x="79" y="341"/>
                </a:cxn>
                <a:cxn ang="0">
                  <a:pos x="98" y="202"/>
                </a:cxn>
                <a:cxn ang="0">
                  <a:pos x="114" y="159"/>
                </a:cxn>
                <a:cxn ang="0">
                  <a:pos x="134" y="162"/>
                </a:cxn>
                <a:cxn ang="0">
                  <a:pos x="138" y="131"/>
                </a:cxn>
                <a:cxn ang="0">
                  <a:pos x="213" y="127"/>
                </a:cxn>
                <a:cxn ang="0">
                  <a:pos x="213" y="92"/>
                </a:cxn>
                <a:cxn ang="0">
                  <a:pos x="241" y="61"/>
                </a:cxn>
                <a:cxn ang="0">
                  <a:pos x="256" y="33"/>
                </a:cxn>
                <a:cxn ang="0">
                  <a:pos x="268" y="0"/>
                </a:cxn>
                <a:cxn ang="0">
                  <a:pos x="304" y="24"/>
                </a:cxn>
                <a:cxn ang="0">
                  <a:pos x="343" y="28"/>
                </a:cxn>
                <a:cxn ang="0">
                  <a:pos x="375" y="61"/>
                </a:cxn>
              </a:cxnLst>
              <a:rect l="0" t="0" r="r" b="b"/>
              <a:pathLst>
                <a:path w="467" h="442">
                  <a:moveTo>
                    <a:pt x="375" y="61"/>
                  </a:moveTo>
                  <a:lnTo>
                    <a:pt x="428" y="51"/>
                  </a:lnTo>
                  <a:lnTo>
                    <a:pt x="463" y="87"/>
                  </a:lnTo>
                  <a:lnTo>
                    <a:pt x="439" y="130"/>
                  </a:lnTo>
                  <a:lnTo>
                    <a:pt x="467" y="146"/>
                  </a:lnTo>
                  <a:lnTo>
                    <a:pt x="447" y="225"/>
                  </a:lnTo>
                  <a:lnTo>
                    <a:pt x="395" y="229"/>
                  </a:lnTo>
                  <a:lnTo>
                    <a:pt x="388" y="260"/>
                  </a:lnTo>
                  <a:lnTo>
                    <a:pt x="412" y="284"/>
                  </a:lnTo>
                  <a:lnTo>
                    <a:pt x="353" y="336"/>
                  </a:lnTo>
                  <a:lnTo>
                    <a:pt x="312" y="375"/>
                  </a:lnTo>
                  <a:lnTo>
                    <a:pt x="277" y="395"/>
                  </a:lnTo>
                  <a:lnTo>
                    <a:pt x="246" y="395"/>
                  </a:lnTo>
                  <a:lnTo>
                    <a:pt x="233" y="418"/>
                  </a:lnTo>
                  <a:lnTo>
                    <a:pt x="198" y="415"/>
                  </a:lnTo>
                  <a:lnTo>
                    <a:pt x="194" y="442"/>
                  </a:lnTo>
                  <a:lnTo>
                    <a:pt x="147" y="442"/>
                  </a:lnTo>
                  <a:lnTo>
                    <a:pt x="149" y="420"/>
                  </a:lnTo>
                  <a:lnTo>
                    <a:pt x="118" y="420"/>
                  </a:lnTo>
                  <a:lnTo>
                    <a:pt x="0" y="420"/>
                  </a:lnTo>
                  <a:lnTo>
                    <a:pt x="31" y="381"/>
                  </a:lnTo>
                  <a:lnTo>
                    <a:pt x="55" y="368"/>
                  </a:lnTo>
                  <a:lnTo>
                    <a:pt x="79" y="341"/>
                  </a:lnTo>
                  <a:lnTo>
                    <a:pt x="98" y="202"/>
                  </a:lnTo>
                  <a:lnTo>
                    <a:pt x="114" y="159"/>
                  </a:lnTo>
                  <a:lnTo>
                    <a:pt x="134" y="162"/>
                  </a:lnTo>
                  <a:lnTo>
                    <a:pt x="138" y="131"/>
                  </a:lnTo>
                  <a:lnTo>
                    <a:pt x="213" y="127"/>
                  </a:lnTo>
                  <a:lnTo>
                    <a:pt x="213" y="92"/>
                  </a:lnTo>
                  <a:lnTo>
                    <a:pt x="241" y="61"/>
                  </a:lnTo>
                  <a:lnTo>
                    <a:pt x="256" y="33"/>
                  </a:lnTo>
                  <a:lnTo>
                    <a:pt x="268" y="0"/>
                  </a:lnTo>
                  <a:lnTo>
                    <a:pt x="304" y="24"/>
                  </a:lnTo>
                  <a:lnTo>
                    <a:pt x="343" y="28"/>
                  </a:lnTo>
                  <a:lnTo>
                    <a:pt x="375" y="61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eform 57"/>
            <p:cNvSpPr>
              <a:spLocks noChangeAspect="1"/>
            </p:cNvSpPr>
            <p:nvPr/>
          </p:nvSpPr>
          <p:spPr bwMode="auto">
            <a:xfrm>
              <a:off x="514750" y="3241751"/>
              <a:ext cx="525715" cy="598160"/>
            </a:xfrm>
            <a:custGeom>
              <a:avLst/>
              <a:gdLst/>
              <a:ahLst/>
              <a:cxnLst>
                <a:cxn ang="0">
                  <a:pos x="281" y="127"/>
                </a:cxn>
                <a:cxn ang="0">
                  <a:pos x="316" y="163"/>
                </a:cxn>
                <a:cxn ang="0">
                  <a:pos x="292" y="206"/>
                </a:cxn>
                <a:cxn ang="0">
                  <a:pos x="320" y="222"/>
                </a:cxn>
                <a:cxn ang="0">
                  <a:pos x="300" y="301"/>
                </a:cxn>
                <a:cxn ang="0">
                  <a:pos x="248" y="305"/>
                </a:cxn>
                <a:cxn ang="0">
                  <a:pos x="241" y="336"/>
                </a:cxn>
                <a:cxn ang="0">
                  <a:pos x="265" y="360"/>
                </a:cxn>
                <a:cxn ang="0">
                  <a:pos x="206" y="412"/>
                </a:cxn>
                <a:cxn ang="0">
                  <a:pos x="165" y="451"/>
                </a:cxn>
                <a:cxn ang="0">
                  <a:pos x="130" y="471"/>
                </a:cxn>
                <a:cxn ang="0">
                  <a:pos x="99" y="471"/>
                </a:cxn>
                <a:cxn ang="0">
                  <a:pos x="86" y="494"/>
                </a:cxn>
                <a:cxn ang="0">
                  <a:pos x="51" y="491"/>
                </a:cxn>
                <a:cxn ang="0">
                  <a:pos x="47" y="518"/>
                </a:cxn>
                <a:cxn ang="0">
                  <a:pos x="0" y="518"/>
                </a:cxn>
                <a:cxn ang="0">
                  <a:pos x="94" y="633"/>
                </a:cxn>
                <a:cxn ang="0">
                  <a:pos x="142" y="664"/>
                </a:cxn>
                <a:cxn ang="0">
                  <a:pos x="458" y="918"/>
                </a:cxn>
                <a:cxn ang="0">
                  <a:pos x="502" y="938"/>
                </a:cxn>
                <a:cxn ang="0">
                  <a:pos x="513" y="1012"/>
                </a:cxn>
                <a:cxn ang="0">
                  <a:pos x="553" y="1004"/>
                </a:cxn>
                <a:cxn ang="0">
                  <a:pos x="558" y="979"/>
                </a:cxn>
                <a:cxn ang="0">
                  <a:pos x="634" y="975"/>
                </a:cxn>
                <a:cxn ang="0">
                  <a:pos x="665" y="940"/>
                </a:cxn>
                <a:cxn ang="0">
                  <a:pos x="693" y="924"/>
                </a:cxn>
                <a:cxn ang="0">
                  <a:pos x="700" y="893"/>
                </a:cxn>
                <a:cxn ang="0">
                  <a:pos x="776" y="869"/>
                </a:cxn>
                <a:cxn ang="0">
                  <a:pos x="796" y="837"/>
                </a:cxn>
                <a:cxn ang="0">
                  <a:pos x="835" y="806"/>
                </a:cxn>
                <a:cxn ang="0">
                  <a:pos x="882" y="786"/>
                </a:cxn>
                <a:cxn ang="0">
                  <a:pos x="897" y="767"/>
                </a:cxn>
                <a:cxn ang="0">
                  <a:pos x="889" y="719"/>
                </a:cxn>
                <a:cxn ang="0">
                  <a:pos x="818" y="708"/>
                </a:cxn>
                <a:cxn ang="0">
                  <a:pos x="794" y="684"/>
                </a:cxn>
                <a:cxn ang="0">
                  <a:pos x="791" y="629"/>
                </a:cxn>
                <a:cxn ang="0">
                  <a:pos x="802" y="321"/>
                </a:cxn>
                <a:cxn ang="0">
                  <a:pos x="774" y="320"/>
                </a:cxn>
                <a:cxn ang="0">
                  <a:pos x="763" y="270"/>
                </a:cxn>
                <a:cxn ang="0">
                  <a:pos x="723" y="253"/>
                </a:cxn>
                <a:cxn ang="0">
                  <a:pos x="703" y="202"/>
                </a:cxn>
                <a:cxn ang="0">
                  <a:pos x="715" y="154"/>
                </a:cxn>
                <a:cxn ang="0">
                  <a:pos x="758" y="139"/>
                </a:cxn>
                <a:cxn ang="0">
                  <a:pos x="735" y="103"/>
                </a:cxn>
                <a:cxn ang="0">
                  <a:pos x="743" y="68"/>
                </a:cxn>
                <a:cxn ang="0">
                  <a:pos x="763" y="68"/>
                </a:cxn>
                <a:cxn ang="0">
                  <a:pos x="754" y="9"/>
                </a:cxn>
                <a:cxn ang="0">
                  <a:pos x="617" y="0"/>
                </a:cxn>
                <a:cxn ang="0">
                  <a:pos x="555" y="7"/>
                </a:cxn>
                <a:cxn ang="0">
                  <a:pos x="503" y="27"/>
                </a:cxn>
                <a:cxn ang="0">
                  <a:pos x="404" y="35"/>
                </a:cxn>
                <a:cxn ang="0">
                  <a:pos x="369" y="66"/>
                </a:cxn>
                <a:cxn ang="0">
                  <a:pos x="301" y="79"/>
                </a:cxn>
                <a:cxn ang="0">
                  <a:pos x="281" y="127"/>
                </a:cxn>
              </a:cxnLst>
              <a:rect l="0" t="0" r="r" b="b"/>
              <a:pathLst>
                <a:path w="897" h="1012">
                  <a:moveTo>
                    <a:pt x="281" y="127"/>
                  </a:moveTo>
                  <a:lnTo>
                    <a:pt x="316" y="163"/>
                  </a:lnTo>
                  <a:lnTo>
                    <a:pt x="292" y="206"/>
                  </a:lnTo>
                  <a:lnTo>
                    <a:pt x="320" y="222"/>
                  </a:lnTo>
                  <a:lnTo>
                    <a:pt x="300" y="301"/>
                  </a:lnTo>
                  <a:lnTo>
                    <a:pt x="248" y="305"/>
                  </a:lnTo>
                  <a:lnTo>
                    <a:pt x="241" y="336"/>
                  </a:lnTo>
                  <a:lnTo>
                    <a:pt x="265" y="360"/>
                  </a:lnTo>
                  <a:lnTo>
                    <a:pt x="206" y="412"/>
                  </a:lnTo>
                  <a:lnTo>
                    <a:pt x="165" y="451"/>
                  </a:lnTo>
                  <a:lnTo>
                    <a:pt x="130" y="471"/>
                  </a:lnTo>
                  <a:lnTo>
                    <a:pt x="99" y="471"/>
                  </a:lnTo>
                  <a:lnTo>
                    <a:pt x="86" y="494"/>
                  </a:lnTo>
                  <a:lnTo>
                    <a:pt x="51" y="491"/>
                  </a:lnTo>
                  <a:lnTo>
                    <a:pt x="47" y="518"/>
                  </a:lnTo>
                  <a:lnTo>
                    <a:pt x="0" y="518"/>
                  </a:lnTo>
                  <a:lnTo>
                    <a:pt x="94" y="633"/>
                  </a:lnTo>
                  <a:lnTo>
                    <a:pt x="142" y="664"/>
                  </a:lnTo>
                  <a:lnTo>
                    <a:pt x="458" y="918"/>
                  </a:lnTo>
                  <a:lnTo>
                    <a:pt x="502" y="938"/>
                  </a:lnTo>
                  <a:lnTo>
                    <a:pt x="513" y="1012"/>
                  </a:lnTo>
                  <a:lnTo>
                    <a:pt x="553" y="1004"/>
                  </a:lnTo>
                  <a:lnTo>
                    <a:pt x="558" y="979"/>
                  </a:lnTo>
                  <a:lnTo>
                    <a:pt x="634" y="975"/>
                  </a:lnTo>
                  <a:lnTo>
                    <a:pt x="665" y="940"/>
                  </a:lnTo>
                  <a:lnTo>
                    <a:pt x="693" y="924"/>
                  </a:lnTo>
                  <a:lnTo>
                    <a:pt x="700" y="893"/>
                  </a:lnTo>
                  <a:lnTo>
                    <a:pt x="776" y="869"/>
                  </a:lnTo>
                  <a:lnTo>
                    <a:pt x="796" y="837"/>
                  </a:lnTo>
                  <a:lnTo>
                    <a:pt x="835" y="806"/>
                  </a:lnTo>
                  <a:lnTo>
                    <a:pt x="882" y="786"/>
                  </a:lnTo>
                  <a:lnTo>
                    <a:pt x="897" y="767"/>
                  </a:lnTo>
                  <a:lnTo>
                    <a:pt x="889" y="719"/>
                  </a:lnTo>
                  <a:lnTo>
                    <a:pt x="818" y="708"/>
                  </a:lnTo>
                  <a:lnTo>
                    <a:pt x="794" y="684"/>
                  </a:lnTo>
                  <a:lnTo>
                    <a:pt x="791" y="629"/>
                  </a:lnTo>
                  <a:lnTo>
                    <a:pt x="802" y="321"/>
                  </a:lnTo>
                  <a:lnTo>
                    <a:pt x="774" y="320"/>
                  </a:lnTo>
                  <a:lnTo>
                    <a:pt x="763" y="270"/>
                  </a:lnTo>
                  <a:lnTo>
                    <a:pt x="723" y="253"/>
                  </a:lnTo>
                  <a:lnTo>
                    <a:pt x="703" y="202"/>
                  </a:lnTo>
                  <a:lnTo>
                    <a:pt x="715" y="154"/>
                  </a:lnTo>
                  <a:lnTo>
                    <a:pt x="758" y="139"/>
                  </a:lnTo>
                  <a:lnTo>
                    <a:pt x="735" y="103"/>
                  </a:lnTo>
                  <a:lnTo>
                    <a:pt x="743" y="68"/>
                  </a:lnTo>
                  <a:lnTo>
                    <a:pt x="763" y="68"/>
                  </a:lnTo>
                  <a:lnTo>
                    <a:pt x="754" y="9"/>
                  </a:lnTo>
                  <a:lnTo>
                    <a:pt x="617" y="0"/>
                  </a:lnTo>
                  <a:lnTo>
                    <a:pt x="555" y="7"/>
                  </a:lnTo>
                  <a:lnTo>
                    <a:pt x="503" y="27"/>
                  </a:lnTo>
                  <a:lnTo>
                    <a:pt x="404" y="35"/>
                  </a:lnTo>
                  <a:lnTo>
                    <a:pt x="369" y="66"/>
                  </a:lnTo>
                  <a:lnTo>
                    <a:pt x="301" y="79"/>
                  </a:lnTo>
                  <a:lnTo>
                    <a:pt x="281" y="12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eform 58"/>
            <p:cNvSpPr>
              <a:spLocks noChangeAspect="1"/>
            </p:cNvSpPr>
            <p:nvPr/>
          </p:nvSpPr>
          <p:spPr bwMode="auto">
            <a:xfrm>
              <a:off x="1861565" y="4782412"/>
              <a:ext cx="212748" cy="441964"/>
            </a:xfrm>
            <a:custGeom>
              <a:avLst/>
              <a:gdLst/>
              <a:ahLst/>
              <a:cxnLst>
                <a:cxn ang="0">
                  <a:pos x="275" y="10"/>
                </a:cxn>
                <a:cxn ang="0">
                  <a:pos x="273" y="75"/>
                </a:cxn>
                <a:cxn ang="0">
                  <a:pos x="255" y="83"/>
                </a:cxn>
                <a:cxn ang="0">
                  <a:pos x="250" y="132"/>
                </a:cxn>
                <a:cxn ang="0">
                  <a:pos x="220" y="132"/>
                </a:cxn>
                <a:cxn ang="0">
                  <a:pos x="210" y="148"/>
                </a:cxn>
                <a:cxn ang="0">
                  <a:pos x="203" y="177"/>
                </a:cxn>
                <a:cxn ang="0">
                  <a:pos x="176" y="197"/>
                </a:cxn>
                <a:cxn ang="0">
                  <a:pos x="167" y="224"/>
                </a:cxn>
                <a:cxn ang="0">
                  <a:pos x="149" y="220"/>
                </a:cxn>
                <a:cxn ang="0">
                  <a:pos x="145" y="191"/>
                </a:cxn>
                <a:cxn ang="0">
                  <a:pos x="116" y="193"/>
                </a:cxn>
                <a:cxn ang="0">
                  <a:pos x="110" y="215"/>
                </a:cxn>
                <a:cxn ang="0">
                  <a:pos x="80" y="225"/>
                </a:cxn>
                <a:cxn ang="0">
                  <a:pos x="72" y="265"/>
                </a:cxn>
                <a:cxn ang="0">
                  <a:pos x="54" y="270"/>
                </a:cxn>
                <a:cxn ang="0">
                  <a:pos x="62" y="401"/>
                </a:cxn>
                <a:cxn ang="0">
                  <a:pos x="76" y="403"/>
                </a:cxn>
                <a:cxn ang="0">
                  <a:pos x="80" y="438"/>
                </a:cxn>
                <a:cxn ang="0">
                  <a:pos x="65" y="455"/>
                </a:cxn>
                <a:cxn ang="0">
                  <a:pos x="54" y="496"/>
                </a:cxn>
                <a:cxn ang="0">
                  <a:pos x="31" y="506"/>
                </a:cxn>
                <a:cxn ang="0">
                  <a:pos x="27" y="527"/>
                </a:cxn>
                <a:cxn ang="0">
                  <a:pos x="0" y="537"/>
                </a:cxn>
                <a:cxn ang="0">
                  <a:pos x="3" y="599"/>
                </a:cxn>
                <a:cxn ang="0">
                  <a:pos x="37" y="596"/>
                </a:cxn>
                <a:cxn ang="0">
                  <a:pos x="34" y="717"/>
                </a:cxn>
                <a:cxn ang="0">
                  <a:pos x="65" y="717"/>
                </a:cxn>
                <a:cxn ang="0">
                  <a:pos x="80" y="737"/>
                </a:cxn>
                <a:cxn ang="0">
                  <a:pos x="103" y="747"/>
                </a:cxn>
                <a:cxn ang="0">
                  <a:pos x="131" y="720"/>
                </a:cxn>
                <a:cxn ang="0">
                  <a:pos x="162" y="716"/>
                </a:cxn>
                <a:cxn ang="0">
                  <a:pos x="185" y="699"/>
                </a:cxn>
                <a:cxn ang="0">
                  <a:pos x="210" y="686"/>
                </a:cxn>
                <a:cxn ang="0">
                  <a:pos x="218" y="627"/>
                </a:cxn>
                <a:cxn ang="0">
                  <a:pos x="242" y="617"/>
                </a:cxn>
                <a:cxn ang="0">
                  <a:pos x="245" y="537"/>
                </a:cxn>
                <a:cxn ang="0">
                  <a:pos x="259" y="527"/>
                </a:cxn>
                <a:cxn ang="0">
                  <a:pos x="258" y="417"/>
                </a:cxn>
                <a:cxn ang="0">
                  <a:pos x="292" y="397"/>
                </a:cxn>
                <a:cxn ang="0">
                  <a:pos x="309" y="377"/>
                </a:cxn>
                <a:cxn ang="0">
                  <a:pos x="309" y="289"/>
                </a:cxn>
                <a:cxn ang="0">
                  <a:pos x="333" y="272"/>
                </a:cxn>
                <a:cxn ang="0">
                  <a:pos x="338" y="203"/>
                </a:cxn>
                <a:cxn ang="0">
                  <a:pos x="358" y="203"/>
                </a:cxn>
                <a:cxn ang="0">
                  <a:pos x="362" y="90"/>
                </a:cxn>
                <a:cxn ang="0">
                  <a:pos x="333" y="75"/>
                </a:cxn>
                <a:cxn ang="0">
                  <a:pos x="331" y="20"/>
                </a:cxn>
                <a:cxn ang="0">
                  <a:pos x="302" y="0"/>
                </a:cxn>
                <a:cxn ang="0">
                  <a:pos x="275" y="10"/>
                </a:cxn>
              </a:cxnLst>
              <a:rect l="0" t="0" r="r" b="b"/>
              <a:pathLst>
                <a:path w="362" h="747">
                  <a:moveTo>
                    <a:pt x="275" y="10"/>
                  </a:moveTo>
                  <a:lnTo>
                    <a:pt x="273" y="75"/>
                  </a:lnTo>
                  <a:lnTo>
                    <a:pt x="255" y="83"/>
                  </a:lnTo>
                  <a:lnTo>
                    <a:pt x="250" y="132"/>
                  </a:lnTo>
                  <a:lnTo>
                    <a:pt x="220" y="132"/>
                  </a:lnTo>
                  <a:lnTo>
                    <a:pt x="210" y="148"/>
                  </a:lnTo>
                  <a:lnTo>
                    <a:pt x="203" y="177"/>
                  </a:lnTo>
                  <a:lnTo>
                    <a:pt x="176" y="197"/>
                  </a:lnTo>
                  <a:lnTo>
                    <a:pt x="167" y="224"/>
                  </a:lnTo>
                  <a:lnTo>
                    <a:pt x="149" y="220"/>
                  </a:lnTo>
                  <a:lnTo>
                    <a:pt x="145" y="191"/>
                  </a:lnTo>
                  <a:lnTo>
                    <a:pt x="116" y="193"/>
                  </a:lnTo>
                  <a:lnTo>
                    <a:pt x="110" y="215"/>
                  </a:lnTo>
                  <a:lnTo>
                    <a:pt x="80" y="225"/>
                  </a:lnTo>
                  <a:lnTo>
                    <a:pt x="72" y="265"/>
                  </a:lnTo>
                  <a:lnTo>
                    <a:pt x="54" y="270"/>
                  </a:lnTo>
                  <a:lnTo>
                    <a:pt x="62" y="401"/>
                  </a:lnTo>
                  <a:lnTo>
                    <a:pt x="76" y="403"/>
                  </a:lnTo>
                  <a:lnTo>
                    <a:pt x="80" y="438"/>
                  </a:lnTo>
                  <a:lnTo>
                    <a:pt x="65" y="455"/>
                  </a:lnTo>
                  <a:lnTo>
                    <a:pt x="54" y="496"/>
                  </a:lnTo>
                  <a:lnTo>
                    <a:pt x="31" y="506"/>
                  </a:lnTo>
                  <a:lnTo>
                    <a:pt x="27" y="527"/>
                  </a:lnTo>
                  <a:lnTo>
                    <a:pt x="0" y="537"/>
                  </a:lnTo>
                  <a:lnTo>
                    <a:pt x="3" y="599"/>
                  </a:lnTo>
                  <a:lnTo>
                    <a:pt x="37" y="596"/>
                  </a:lnTo>
                  <a:lnTo>
                    <a:pt x="34" y="717"/>
                  </a:lnTo>
                  <a:lnTo>
                    <a:pt x="65" y="717"/>
                  </a:lnTo>
                  <a:lnTo>
                    <a:pt x="80" y="737"/>
                  </a:lnTo>
                  <a:lnTo>
                    <a:pt x="103" y="747"/>
                  </a:lnTo>
                  <a:lnTo>
                    <a:pt x="131" y="720"/>
                  </a:lnTo>
                  <a:lnTo>
                    <a:pt x="162" y="716"/>
                  </a:lnTo>
                  <a:lnTo>
                    <a:pt x="185" y="699"/>
                  </a:lnTo>
                  <a:lnTo>
                    <a:pt x="210" y="686"/>
                  </a:lnTo>
                  <a:lnTo>
                    <a:pt x="218" y="627"/>
                  </a:lnTo>
                  <a:lnTo>
                    <a:pt x="242" y="617"/>
                  </a:lnTo>
                  <a:lnTo>
                    <a:pt x="245" y="537"/>
                  </a:lnTo>
                  <a:lnTo>
                    <a:pt x="259" y="527"/>
                  </a:lnTo>
                  <a:lnTo>
                    <a:pt x="258" y="417"/>
                  </a:lnTo>
                  <a:lnTo>
                    <a:pt x="292" y="397"/>
                  </a:lnTo>
                  <a:lnTo>
                    <a:pt x="309" y="377"/>
                  </a:lnTo>
                  <a:lnTo>
                    <a:pt x="309" y="289"/>
                  </a:lnTo>
                  <a:lnTo>
                    <a:pt x="333" y="272"/>
                  </a:lnTo>
                  <a:lnTo>
                    <a:pt x="338" y="203"/>
                  </a:lnTo>
                  <a:lnTo>
                    <a:pt x="358" y="203"/>
                  </a:lnTo>
                  <a:lnTo>
                    <a:pt x="362" y="90"/>
                  </a:lnTo>
                  <a:lnTo>
                    <a:pt x="333" y="75"/>
                  </a:lnTo>
                  <a:lnTo>
                    <a:pt x="331" y="20"/>
                  </a:lnTo>
                  <a:lnTo>
                    <a:pt x="302" y="0"/>
                  </a:lnTo>
                  <a:lnTo>
                    <a:pt x="275" y="1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 59"/>
            <p:cNvSpPr>
              <a:spLocks noChangeAspect="1"/>
            </p:cNvSpPr>
            <p:nvPr/>
          </p:nvSpPr>
          <p:spPr bwMode="auto">
            <a:xfrm>
              <a:off x="913871" y="3996107"/>
              <a:ext cx="253187" cy="390490"/>
            </a:xfrm>
            <a:custGeom>
              <a:avLst/>
              <a:gdLst/>
              <a:ahLst/>
              <a:cxnLst>
                <a:cxn ang="0">
                  <a:pos x="0" y="497"/>
                </a:cxn>
                <a:cxn ang="0">
                  <a:pos x="86" y="428"/>
                </a:cxn>
                <a:cxn ang="0">
                  <a:pos x="113" y="393"/>
                </a:cxn>
                <a:cxn ang="0">
                  <a:pos x="150" y="358"/>
                </a:cxn>
                <a:cxn ang="0">
                  <a:pos x="199" y="321"/>
                </a:cxn>
                <a:cxn ang="0">
                  <a:pos x="230" y="270"/>
                </a:cxn>
                <a:cxn ang="0">
                  <a:pos x="251" y="181"/>
                </a:cxn>
                <a:cxn ang="0">
                  <a:pos x="265" y="159"/>
                </a:cxn>
                <a:cxn ang="0">
                  <a:pos x="290" y="139"/>
                </a:cxn>
                <a:cxn ang="0">
                  <a:pos x="299" y="80"/>
                </a:cxn>
                <a:cxn ang="0">
                  <a:pos x="289" y="1"/>
                </a:cxn>
                <a:cxn ang="0">
                  <a:pos x="289" y="1"/>
                </a:cxn>
                <a:cxn ang="0">
                  <a:pos x="309" y="0"/>
                </a:cxn>
                <a:cxn ang="0">
                  <a:pos x="317" y="29"/>
                </a:cxn>
                <a:cxn ang="0">
                  <a:pos x="330" y="55"/>
                </a:cxn>
                <a:cxn ang="0">
                  <a:pos x="352" y="98"/>
                </a:cxn>
                <a:cxn ang="0">
                  <a:pos x="352" y="124"/>
                </a:cxn>
                <a:cxn ang="0">
                  <a:pos x="332" y="134"/>
                </a:cxn>
                <a:cxn ang="0">
                  <a:pos x="342" y="142"/>
                </a:cxn>
                <a:cxn ang="0">
                  <a:pos x="352" y="172"/>
                </a:cxn>
                <a:cxn ang="0">
                  <a:pos x="368" y="193"/>
                </a:cxn>
                <a:cxn ang="0">
                  <a:pos x="364" y="217"/>
                </a:cxn>
                <a:cxn ang="0">
                  <a:pos x="342" y="231"/>
                </a:cxn>
                <a:cxn ang="0">
                  <a:pos x="345" y="256"/>
                </a:cxn>
                <a:cxn ang="0">
                  <a:pos x="379" y="300"/>
                </a:cxn>
                <a:cxn ang="0">
                  <a:pos x="403" y="349"/>
                </a:cxn>
                <a:cxn ang="0">
                  <a:pos x="382" y="379"/>
                </a:cxn>
                <a:cxn ang="0">
                  <a:pos x="362" y="438"/>
                </a:cxn>
                <a:cxn ang="0">
                  <a:pos x="396" y="491"/>
                </a:cxn>
                <a:cxn ang="0">
                  <a:pos x="417" y="556"/>
                </a:cxn>
                <a:cxn ang="0">
                  <a:pos x="433" y="584"/>
                </a:cxn>
                <a:cxn ang="0">
                  <a:pos x="290" y="602"/>
                </a:cxn>
                <a:cxn ang="0">
                  <a:pos x="217" y="608"/>
                </a:cxn>
                <a:cxn ang="0">
                  <a:pos x="192" y="630"/>
                </a:cxn>
                <a:cxn ang="0">
                  <a:pos x="192" y="654"/>
                </a:cxn>
                <a:cxn ang="0">
                  <a:pos x="127" y="659"/>
                </a:cxn>
                <a:cxn ang="0">
                  <a:pos x="118" y="610"/>
                </a:cxn>
                <a:cxn ang="0">
                  <a:pos x="142" y="565"/>
                </a:cxn>
                <a:cxn ang="0">
                  <a:pos x="121" y="537"/>
                </a:cxn>
                <a:cxn ang="0">
                  <a:pos x="73" y="520"/>
                </a:cxn>
                <a:cxn ang="0">
                  <a:pos x="0" y="497"/>
                </a:cxn>
              </a:cxnLst>
              <a:rect l="0" t="0" r="r" b="b"/>
              <a:pathLst>
                <a:path w="433" h="659">
                  <a:moveTo>
                    <a:pt x="0" y="497"/>
                  </a:moveTo>
                  <a:lnTo>
                    <a:pt x="86" y="428"/>
                  </a:lnTo>
                  <a:lnTo>
                    <a:pt x="113" y="393"/>
                  </a:lnTo>
                  <a:lnTo>
                    <a:pt x="150" y="358"/>
                  </a:lnTo>
                  <a:lnTo>
                    <a:pt x="199" y="321"/>
                  </a:lnTo>
                  <a:lnTo>
                    <a:pt x="230" y="270"/>
                  </a:lnTo>
                  <a:lnTo>
                    <a:pt x="251" y="181"/>
                  </a:lnTo>
                  <a:lnTo>
                    <a:pt x="265" y="159"/>
                  </a:lnTo>
                  <a:lnTo>
                    <a:pt x="290" y="139"/>
                  </a:lnTo>
                  <a:lnTo>
                    <a:pt x="299" y="80"/>
                  </a:lnTo>
                  <a:lnTo>
                    <a:pt x="289" y="1"/>
                  </a:lnTo>
                  <a:lnTo>
                    <a:pt x="289" y="1"/>
                  </a:lnTo>
                  <a:lnTo>
                    <a:pt x="309" y="0"/>
                  </a:lnTo>
                  <a:lnTo>
                    <a:pt x="317" y="29"/>
                  </a:lnTo>
                  <a:lnTo>
                    <a:pt x="330" y="55"/>
                  </a:lnTo>
                  <a:lnTo>
                    <a:pt x="352" y="98"/>
                  </a:lnTo>
                  <a:lnTo>
                    <a:pt x="352" y="124"/>
                  </a:lnTo>
                  <a:lnTo>
                    <a:pt x="332" y="134"/>
                  </a:lnTo>
                  <a:lnTo>
                    <a:pt x="342" y="142"/>
                  </a:lnTo>
                  <a:lnTo>
                    <a:pt x="352" y="172"/>
                  </a:lnTo>
                  <a:lnTo>
                    <a:pt x="368" y="193"/>
                  </a:lnTo>
                  <a:lnTo>
                    <a:pt x="364" y="217"/>
                  </a:lnTo>
                  <a:lnTo>
                    <a:pt x="342" y="231"/>
                  </a:lnTo>
                  <a:lnTo>
                    <a:pt x="345" y="256"/>
                  </a:lnTo>
                  <a:lnTo>
                    <a:pt x="379" y="300"/>
                  </a:lnTo>
                  <a:lnTo>
                    <a:pt x="403" y="349"/>
                  </a:lnTo>
                  <a:lnTo>
                    <a:pt x="382" y="379"/>
                  </a:lnTo>
                  <a:lnTo>
                    <a:pt x="362" y="438"/>
                  </a:lnTo>
                  <a:lnTo>
                    <a:pt x="396" y="491"/>
                  </a:lnTo>
                  <a:lnTo>
                    <a:pt x="417" y="556"/>
                  </a:lnTo>
                  <a:lnTo>
                    <a:pt x="433" y="584"/>
                  </a:lnTo>
                  <a:lnTo>
                    <a:pt x="290" y="602"/>
                  </a:lnTo>
                  <a:lnTo>
                    <a:pt x="217" y="608"/>
                  </a:lnTo>
                  <a:lnTo>
                    <a:pt x="192" y="630"/>
                  </a:lnTo>
                  <a:lnTo>
                    <a:pt x="192" y="654"/>
                  </a:lnTo>
                  <a:lnTo>
                    <a:pt x="127" y="659"/>
                  </a:lnTo>
                  <a:lnTo>
                    <a:pt x="118" y="610"/>
                  </a:lnTo>
                  <a:lnTo>
                    <a:pt x="142" y="565"/>
                  </a:lnTo>
                  <a:lnTo>
                    <a:pt x="121" y="537"/>
                  </a:lnTo>
                  <a:lnTo>
                    <a:pt x="73" y="520"/>
                  </a:lnTo>
                  <a:lnTo>
                    <a:pt x="0" y="49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 60"/>
            <p:cNvSpPr>
              <a:spLocks noChangeAspect="1"/>
            </p:cNvSpPr>
            <p:nvPr/>
          </p:nvSpPr>
          <p:spPr bwMode="auto">
            <a:xfrm>
              <a:off x="7176099" y="4017077"/>
              <a:ext cx="307693" cy="461489"/>
            </a:xfrm>
            <a:custGeom>
              <a:avLst/>
              <a:gdLst/>
              <a:ahLst/>
              <a:cxnLst>
                <a:cxn ang="0">
                  <a:pos x="74" y="300"/>
                </a:cxn>
                <a:cxn ang="0">
                  <a:pos x="83" y="199"/>
                </a:cxn>
                <a:cxn ang="0">
                  <a:pos x="126" y="238"/>
                </a:cxn>
                <a:cxn ang="0">
                  <a:pos x="135" y="171"/>
                </a:cxn>
                <a:cxn ang="0">
                  <a:pos x="181" y="151"/>
                </a:cxn>
                <a:cxn ang="0">
                  <a:pos x="185" y="99"/>
                </a:cxn>
                <a:cxn ang="0">
                  <a:pos x="232" y="59"/>
                </a:cxn>
                <a:cxn ang="0">
                  <a:pos x="288" y="55"/>
                </a:cxn>
                <a:cxn ang="0">
                  <a:pos x="304" y="17"/>
                </a:cxn>
                <a:cxn ang="0">
                  <a:pos x="335" y="0"/>
                </a:cxn>
                <a:cxn ang="0">
                  <a:pos x="359" y="17"/>
                </a:cxn>
                <a:cxn ang="0">
                  <a:pos x="324" y="59"/>
                </a:cxn>
                <a:cxn ang="0">
                  <a:pos x="304" y="135"/>
                </a:cxn>
                <a:cxn ang="0">
                  <a:pos x="273" y="155"/>
                </a:cxn>
                <a:cxn ang="0">
                  <a:pos x="312" y="210"/>
                </a:cxn>
                <a:cxn ang="0">
                  <a:pos x="300" y="265"/>
                </a:cxn>
                <a:cxn ang="0">
                  <a:pos x="383" y="269"/>
                </a:cxn>
                <a:cxn ang="0">
                  <a:pos x="387" y="300"/>
                </a:cxn>
                <a:cxn ang="0">
                  <a:pos x="453" y="333"/>
                </a:cxn>
                <a:cxn ang="0">
                  <a:pos x="525" y="357"/>
                </a:cxn>
                <a:cxn ang="0">
                  <a:pos x="525" y="447"/>
                </a:cxn>
                <a:cxn ang="0">
                  <a:pos x="510" y="502"/>
                </a:cxn>
                <a:cxn ang="0">
                  <a:pos x="517" y="546"/>
                </a:cxn>
                <a:cxn ang="0">
                  <a:pos x="438" y="574"/>
                </a:cxn>
                <a:cxn ang="0">
                  <a:pos x="418" y="605"/>
                </a:cxn>
                <a:cxn ang="0">
                  <a:pos x="442" y="629"/>
                </a:cxn>
                <a:cxn ang="0">
                  <a:pos x="418" y="644"/>
                </a:cxn>
                <a:cxn ang="0">
                  <a:pos x="431" y="736"/>
                </a:cxn>
                <a:cxn ang="0">
                  <a:pos x="431" y="775"/>
                </a:cxn>
                <a:cxn ang="0">
                  <a:pos x="383" y="779"/>
                </a:cxn>
                <a:cxn ang="0">
                  <a:pos x="343" y="751"/>
                </a:cxn>
                <a:cxn ang="0">
                  <a:pos x="264" y="744"/>
                </a:cxn>
                <a:cxn ang="0">
                  <a:pos x="225" y="692"/>
                </a:cxn>
                <a:cxn ang="0">
                  <a:pos x="177" y="661"/>
                </a:cxn>
                <a:cxn ang="0">
                  <a:pos x="142" y="629"/>
                </a:cxn>
                <a:cxn ang="0">
                  <a:pos x="67" y="633"/>
                </a:cxn>
                <a:cxn ang="0">
                  <a:pos x="0" y="593"/>
                </a:cxn>
                <a:cxn ang="0">
                  <a:pos x="35" y="541"/>
                </a:cxn>
                <a:cxn ang="0">
                  <a:pos x="43" y="514"/>
                </a:cxn>
                <a:cxn ang="0">
                  <a:pos x="87" y="510"/>
                </a:cxn>
                <a:cxn ang="0">
                  <a:pos x="74" y="300"/>
                </a:cxn>
              </a:cxnLst>
              <a:rect l="0" t="0" r="r" b="b"/>
              <a:pathLst>
                <a:path w="525" h="779">
                  <a:moveTo>
                    <a:pt x="74" y="300"/>
                  </a:moveTo>
                  <a:lnTo>
                    <a:pt x="83" y="199"/>
                  </a:lnTo>
                  <a:lnTo>
                    <a:pt x="126" y="238"/>
                  </a:lnTo>
                  <a:lnTo>
                    <a:pt x="135" y="171"/>
                  </a:lnTo>
                  <a:lnTo>
                    <a:pt x="181" y="151"/>
                  </a:lnTo>
                  <a:lnTo>
                    <a:pt x="185" y="99"/>
                  </a:lnTo>
                  <a:lnTo>
                    <a:pt x="232" y="59"/>
                  </a:lnTo>
                  <a:lnTo>
                    <a:pt x="288" y="55"/>
                  </a:lnTo>
                  <a:lnTo>
                    <a:pt x="304" y="17"/>
                  </a:lnTo>
                  <a:lnTo>
                    <a:pt x="335" y="0"/>
                  </a:lnTo>
                  <a:lnTo>
                    <a:pt x="359" y="17"/>
                  </a:lnTo>
                  <a:lnTo>
                    <a:pt x="324" y="59"/>
                  </a:lnTo>
                  <a:lnTo>
                    <a:pt x="304" y="135"/>
                  </a:lnTo>
                  <a:lnTo>
                    <a:pt x="273" y="155"/>
                  </a:lnTo>
                  <a:lnTo>
                    <a:pt x="312" y="210"/>
                  </a:lnTo>
                  <a:lnTo>
                    <a:pt x="300" y="265"/>
                  </a:lnTo>
                  <a:lnTo>
                    <a:pt x="383" y="269"/>
                  </a:lnTo>
                  <a:lnTo>
                    <a:pt x="387" y="300"/>
                  </a:lnTo>
                  <a:lnTo>
                    <a:pt x="453" y="333"/>
                  </a:lnTo>
                  <a:lnTo>
                    <a:pt x="525" y="357"/>
                  </a:lnTo>
                  <a:lnTo>
                    <a:pt x="525" y="447"/>
                  </a:lnTo>
                  <a:lnTo>
                    <a:pt x="510" y="502"/>
                  </a:lnTo>
                  <a:lnTo>
                    <a:pt x="517" y="546"/>
                  </a:lnTo>
                  <a:lnTo>
                    <a:pt x="438" y="574"/>
                  </a:lnTo>
                  <a:lnTo>
                    <a:pt x="418" y="605"/>
                  </a:lnTo>
                  <a:lnTo>
                    <a:pt x="442" y="629"/>
                  </a:lnTo>
                  <a:lnTo>
                    <a:pt x="418" y="644"/>
                  </a:lnTo>
                  <a:lnTo>
                    <a:pt x="431" y="736"/>
                  </a:lnTo>
                  <a:lnTo>
                    <a:pt x="431" y="775"/>
                  </a:lnTo>
                  <a:lnTo>
                    <a:pt x="383" y="779"/>
                  </a:lnTo>
                  <a:lnTo>
                    <a:pt x="343" y="751"/>
                  </a:lnTo>
                  <a:lnTo>
                    <a:pt x="264" y="744"/>
                  </a:lnTo>
                  <a:lnTo>
                    <a:pt x="225" y="692"/>
                  </a:lnTo>
                  <a:lnTo>
                    <a:pt x="177" y="661"/>
                  </a:lnTo>
                  <a:lnTo>
                    <a:pt x="142" y="629"/>
                  </a:lnTo>
                  <a:lnTo>
                    <a:pt x="67" y="633"/>
                  </a:lnTo>
                  <a:lnTo>
                    <a:pt x="0" y="593"/>
                  </a:lnTo>
                  <a:lnTo>
                    <a:pt x="35" y="541"/>
                  </a:lnTo>
                  <a:lnTo>
                    <a:pt x="43" y="514"/>
                  </a:lnTo>
                  <a:lnTo>
                    <a:pt x="87" y="510"/>
                  </a:lnTo>
                  <a:lnTo>
                    <a:pt x="74" y="30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 61"/>
            <p:cNvSpPr>
              <a:spLocks noChangeAspect="1"/>
            </p:cNvSpPr>
            <p:nvPr/>
          </p:nvSpPr>
          <p:spPr bwMode="auto">
            <a:xfrm>
              <a:off x="1975851" y="2627616"/>
              <a:ext cx="982858" cy="504087"/>
            </a:xfrm>
            <a:custGeom>
              <a:avLst/>
              <a:gdLst/>
              <a:ahLst/>
              <a:cxnLst>
                <a:cxn ang="0">
                  <a:pos x="1633" y="246"/>
                </a:cxn>
                <a:cxn ang="0">
                  <a:pos x="1536" y="182"/>
                </a:cxn>
                <a:cxn ang="0">
                  <a:pos x="1421" y="49"/>
                </a:cxn>
                <a:cxn ang="0">
                  <a:pos x="1289" y="75"/>
                </a:cxn>
                <a:cxn ang="0">
                  <a:pos x="1237" y="33"/>
                </a:cxn>
                <a:cxn ang="0">
                  <a:pos x="1111" y="15"/>
                </a:cxn>
                <a:cxn ang="0">
                  <a:pos x="930" y="18"/>
                </a:cxn>
                <a:cxn ang="0">
                  <a:pos x="840" y="11"/>
                </a:cxn>
                <a:cxn ang="0">
                  <a:pos x="797" y="101"/>
                </a:cxn>
                <a:cxn ang="0">
                  <a:pos x="780" y="113"/>
                </a:cxn>
                <a:cxn ang="0">
                  <a:pos x="757" y="124"/>
                </a:cxn>
                <a:cxn ang="0">
                  <a:pos x="752" y="124"/>
                </a:cxn>
                <a:cxn ang="0">
                  <a:pos x="750" y="126"/>
                </a:cxn>
                <a:cxn ang="0">
                  <a:pos x="753" y="144"/>
                </a:cxn>
                <a:cxn ang="0">
                  <a:pos x="767" y="175"/>
                </a:cxn>
                <a:cxn ang="0">
                  <a:pos x="745" y="212"/>
                </a:cxn>
                <a:cxn ang="0">
                  <a:pos x="620" y="146"/>
                </a:cxn>
                <a:cxn ang="0">
                  <a:pos x="519" y="139"/>
                </a:cxn>
                <a:cxn ang="0">
                  <a:pos x="408" y="37"/>
                </a:cxn>
                <a:cxn ang="0">
                  <a:pos x="269" y="22"/>
                </a:cxn>
                <a:cxn ang="0">
                  <a:pos x="188" y="75"/>
                </a:cxn>
                <a:cxn ang="0">
                  <a:pos x="64" y="105"/>
                </a:cxn>
                <a:cxn ang="0">
                  <a:pos x="23" y="234"/>
                </a:cxn>
                <a:cxn ang="0">
                  <a:pos x="79" y="329"/>
                </a:cxn>
                <a:cxn ang="0">
                  <a:pos x="19" y="458"/>
                </a:cxn>
                <a:cxn ang="0">
                  <a:pos x="137" y="462"/>
                </a:cxn>
                <a:cxn ang="0">
                  <a:pos x="185" y="454"/>
                </a:cxn>
                <a:cxn ang="0">
                  <a:pos x="185" y="541"/>
                </a:cxn>
                <a:cxn ang="0">
                  <a:pos x="98" y="565"/>
                </a:cxn>
                <a:cxn ang="0">
                  <a:pos x="58" y="604"/>
                </a:cxn>
                <a:cxn ang="0">
                  <a:pos x="82" y="679"/>
                </a:cxn>
                <a:cxn ang="0">
                  <a:pos x="172" y="759"/>
                </a:cxn>
                <a:cxn ang="0">
                  <a:pos x="239" y="722"/>
                </a:cxn>
                <a:cxn ang="0">
                  <a:pos x="296" y="767"/>
                </a:cxn>
                <a:cxn ang="0">
                  <a:pos x="333" y="813"/>
                </a:cxn>
                <a:cxn ang="0">
                  <a:pos x="408" y="597"/>
                </a:cxn>
                <a:cxn ang="0">
                  <a:pos x="551" y="509"/>
                </a:cxn>
                <a:cxn ang="0">
                  <a:pos x="638" y="458"/>
                </a:cxn>
                <a:cxn ang="0">
                  <a:pos x="665" y="561"/>
                </a:cxn>
                <a:cxn ang="0">
                  <a:pos x="677" y="639"/>
                </a:cxn>
                <a:cxn ang="0">
                  <a:pos x="748" y="661"/>
                </a:cxn>
                <a:cxn ang="0">
                  <a:pos x="851" y="691"/>
                </a:cxn>
                <a:cxn ang="0">
                  <a:pos x="870" y="801"/>
                </a:cxn>
                <a:cxn ang="0">
                  <a:pos x="957" y="851"/>
                </a:cxn>
                <a:cxn ang="0">
                  <a:pos x="1119" y="774"/>
                </a:cxn>
                <a:cxn ang="0">
                  <a:pos x="1096" y="714"/>
                </a:cxn>
                <a:cxn ang="0">
                  <a:pos x="1021" y="688"/>
                </a:cxn>
                <a:cxn ang="0">
                  <a:pos x="1037" y="629"/>
                </a:cxn>
                <a:cxn ang="0">
                  <a:pos x="1070" y="590"/>
                </a:cxn>
                <a:cxn ang="0">
                  <a:pos x="1130" y="597"/>
                </a:cxn>
                <a:cxn ang="0">
                  <a:pos x="1222" y="612"/>
                </a:cxn>
                <a:cxn ang="0">
                  <a:pos x="1380" y="601"/>
                </a:cxn>
                <a:cxn ang="0">
                  <a:pos x="1449" y="617"/>
                </a:cxn>
                <a:cxn ang="0">
                  <a:pos x="1500" y="531"/>
                </a:cxn>
                <a:cxn ang="0">
                  <a:pos x="1576" y="444"/>
                </a:cxn>
                <a:cxn ang="0">
                  <a:pos x="1635" y="411"/>
                </a:cxn>
                <a:cxn ang="0">
                  <a:pos x="1675" y="356"/>
                </a:cxn>
              </a:cxnLst>
              <a:rect l="0" t="0" r="r" b="b"/>
              <a:pathLst>
                <a:path w="1675" h="851">
                  <a:moveTo>
                    <a:pt x="1675" y="356"/>
                  </a:moveTo>
                  <a:lnTo>
                    <a:pt x="1633" y="246"/>
                  </a:lnTo>
                  <a:lnTo>
                    <a:pt x="1562" y="216"/>
                  </a:lnTo>
                  <a:lnTo>
                    <a:pt x="1536" y="182"/>
                  </a:lnTo>
                  <a:lnTo>
                    <a:pt x="1490" y="178"/>
                  </a:lnTo>
                  <a:lnTo>
                    <a:pt x="1421" y="49"/>
                  </a:lnTo>
                  <a:lnTo>
                    <a:pt x="1361" y="49"/>
                  </a:lnTo>
                  <a:lnTo>
                    <a:pt x="1289" y="75"/>
                  </a:lnTo>
                  <a:lnTo>
                    <a:pt x="1240" y="71"/>
                  </a:lnTo>
                  <a:lnTo>
                    <a:pt x="1237" y="33"/>
                  </a:lnTo>
                  <a:lnTo>
                    <a:pt x="1199" y="0"/>
                  </a:lnTo>
                  <a:lnTo>
                    <a:pt x="1111" y="15"/>
                  </a:lnTo>
                  <a:lnTo>
                    <a:pt x="1043" y="30"/>
                  </a:lnTo>
                  <a:lnTo>
                    <a:pt x="930" y="18"/>
                  </a:lnTo>
                  <a:lnTo>
                    <a:pt x="870" y="3"/>
                  </a:lnTo>
                  <a:lnTo>
                    <a:pt x="840" y="11"/>
                  </a:lnTo>
                  <a:lnTo>
                    <a:pt x="851" y="75"/>
                  </a:lnTo>
                  <a:lnTo>
                    <a:pt x="797" y="101"/>
                  </a:lnTo>
                  <a:lnTo>
                    <a:pt x="797" y="101"/>
                  </a:lnTo>
                  <a:lnTo>
                    <a:pt x="780" y="113"/>
                  </a:lnTo>
                  <a:lnTo>
                    <a:pt x="765" y="121"/>
                  </a:lnTo>
                  <a:lnTo>
                    <a:pt x="757" y="124"/>
                  </a:lnTo>
                  <a:lnTo>
                    <a:pt x="752" y="124"/>
                  </a:lnTo>
                  <a:lnTo>
                    <a:pt x="752" y="124"/>
                  </a:lnTo>
                  <a:lnTo>
                    <a:pt x="751" y="125"/>
                  </a:lnTo>
                  <a:lnTo>
                    <a:pt x="750" y="126"/>
                  </a:lnTo>
                  <a:lnTo>
                    <a:pt x="751" y="134"/>
                  </a:lnTo>
                  <a:lnTo>
                    <a:pt x="753" y="144"/>
                  </a:lnTo>
                  <a:lnTo>
                    <a:pt x="757" y="154"/>
                  </a:lnTo>
                  <a:lnTo>
                    <a:pt x="767" y="175"/>
                  </a:lnTo>
                  <a:lnTo>
                    <a:pt x="771" y="185"/>
                  </a:lnTo>
                  <a:lnTo>
                    <a:pt x="745" y="212"/>
                  </a:lnTo>
                  <a:lnTo>
                    <a:pt x="703" y="197"/>
                  </a:lnTo>
                  <a:lnTo>
                    <a:pt x="620" y="146"/>
                  </a:lnTo>
                  <a:lnTo>
                    <a:pt x="560" y="154"/>
                  </a:lnTo>
                  <a:lnTo>
                    <a:pt x="519" y="139"/>
                  </a:lnTo>
                  <a:lnTo>
                    <a:pt x="522" y="109"/>
                  </a:lnTo>
                  <a:lnTo>
                    <a:pt x="408" y="37"/>
                  </a:lnTo>
                  <a:lnTo>
                    <a:pt x="337" y="33"/>
                  </a:lnTo>
                  <a:lnTo>
                    <a:pt x="269" y="22"/>
                  </a:lnTo>
                  <a:lnTo>
                    <a:pt x="208" y="37"/>
                  </a:lnTo>
                  <a:lnTo>
                    <a:pt x="188" y="75"/>
                  </a:lnTo>
                  <a:lnTo>
                    <a:pt x="139" y="18"/>
                  </a:lnTo>
                  <a:lnTo>
                    <a:pt x="64" y="105"/>
                  </a:lnTo>
                  <a:lnTo>
                    <a:pt x="0" y="182"/>
                  </a:lnTo>
                  <a:lnTo>
                    <a:pt x="23" y="234"/>
                  </a:lnTo>
                  <a:lnTo>
                    <a:pt x="75" y="268"/>
                  </a:lnTo>
                  <a:lnTo>
                    <a:pt x="79" y="329"/>
                  </a:lnTo>
                  <a:lnTo>
                    <a:pt x="38" y="374"/>
                  </a:lnTo>
                  <a:lnTo>
                    <a:pt x="19" y="458"/>
                  </a:lnTo>
                  <a:lnTo>
                    <a:pt x="78" y="442"/>
                  </a:lnTo>
                  <a:lnTo>
                    <a:pt x="137" y="462"/>
                  </a:lnTo>
                  <a:lnTo>
                    <a:pt x="153" y="438"/>
                  </a:lnTo>
                  <a:lnTo>
                    <a:pt x="185" y="454"/>
                  </a:lnTo>
                  <a:lnTo>
                    <a:pt x="173" y="513"/>
                  </a:lnTo>
                  <a:lnTo>
                    <a:pt x="185" y="541"/>
                  </a:lnTo>
                  <a:lnTo>
                    <a:pt x="122" y="541"/>
                  </a:lnTo>
                  <a:lnTo>
                    <a:pt x="98" y="565"/>
                  </a:lnTo>
                  <a:lnTo>
                    <a:pt x="94" y="600"/>
                  </a:lnTo>
                  <a:lnTo>
                    <a:pt x="58" y="604"/>
                  </a:lnTo>
                  <a:lnTo>
                    <a:pt x="67" y="636"/>
                  </a:lnTo>
                  <a:lnTo>
                    <a:pt x="82" y="679"/>
                  </a:lnTo>
                  <a:lnTo>
                    <a:pt x="153" y="679"/>
                  </a:lnTo>
                  <a:lnTo>
                    <a:pt x="172" y="759"/>
                  </a:lnTo>
                  <a:lnTo>
                    <a:pt x="183" y="717"/>
                  </a:lnTo>
                  <a:lnTo>
                    <a:pt x="239" y="722"/>
                  </a:lnTo>
                  <a:lnTo>
                    <a:pt x="252" y="784"/>
                  </a:lnTo>
                  <a:lnTo>
                    <a:pt x="296" y="767"/>
                  </a:lnTo>
                  <a:lnTo>
                    <a:pt x="333" y="782"/>
                  </a:lnTo>
                  <a:lnTo>
                    <a:pt x="333" y="813"/>
                  </a:lnTo>
                  <a:lnTo>
                    <a:pt x="374" y="826"/>
                  </a:lnTo>
                  <a:lnTo>
                    <a:pt x="408" y="597"/>
                  </a:lnTo>
                  <a:lnTo>
                    <a:pt x="507" y="521"/>
                  </a:lnTo>
                  <a:lnTo>
                    <a:pt x="551" y="509"/>
                  </a:lnTo>
                  <a:lnTo>
                    <a:pt x="551" y="458"/>
                  </a:lnTo>
                  <a:lnTo>
                    <a:pt x="638" y="458"/>
                  </a:lnTo>
                  <a:lnTo>
                    <a:pt x="638" y="529"/>
                  </a:lnTo>
                  <a:lnTo>
                    <a:pt x="665" y="561"/>
                  </a:lnTo>
                  <a:lnTo>
                    <a:pt x="645" y="585"/>
                  </a:lnTo>
                  <a:lnTo>
                    <a:pt x="677" y="639"/>
                  </a:lnTo>
                  <a:lnTo>
                    <a:pt x="692" y="676"/>
                  </a:lnTo>
                  <a:lnTo>
                    <a:pt x="748" y="661"/>
                  </a:lnTo>
                  <a:lnTo>
                    <a:pt x="801" y="669"/>
                  </a:lnTo>
                  <a:lnTo>
                    <a:pt x="851" y="691"/>
                  </a:lnTo>
                  <a:lnTo>
                    <a:pt x="855" y="759"/>
                  </a:lnTo>
                  <a:lnTo>
                    <a:pt x="870" y="801"/>
                  </a:lnTo>
                  <a:lnTo>
                    <a:pt x="932" y="833"/>
                  </a:lnTo>
                  <a:lnTo>
                    <a:pt x="957" y="851"/>
                  </a:lnTo>
                  <a:lnTo>
                    <a:pt x="1009" y="813"/>
                  </a:lnTo>
                  <a:lnTo>
                    <a:pt x="1119" y="774"/>
                  </a:lnTo>
                  <a:lnTo>
                    <a:pt x="1134" y="748"/>
                  </a:lnTo>
                  <a:lnTo>
                    <a:pt x="1096" y="714"/>
                  </a:lnTo>
                  <a:lnTo>
                    <a:pt x="1058" y="722"/>
                  </a:lnTo>
                  <a:lnTo>
                    <a:pt x="1021" y="688"/>
                  </a:lnTo>
                  <a:lnTo>
                    <a:pt x="1043" y="658"/>
                  </a:lnTo>
                  <a:lnTo>
                    <a:pt x="1037" y="629"/>
                  </a:lnTo>
                  <a:lnTo>
                    <a:pt x="1036" y="616"/>
                  </a:lnTo>
                  <a:lnTo>
                    <a:pt x="1070" y="590"/>
                  </a:lnTo>
                  <a:lnTo>
                    <a:pt x="1111" y="631"/>
                  </a:lnTo>
                  <a:lnTo>
                    <a:pt x="1130" y="597"/>
                  </a:lnTo>
                  <a:lnTo>
                    <a:pt x="1188" y="582"/>
                  </a:lnTo>
                  <a:lnTo>
                    <a:pt x="1222" y="612"/>
                  </a:lnTo>
                  <a:lnTo>
                    <a:pt x="1320" y="597"/>
                  </a:lnTo>
                  <a:lnTo>
                    <a:pt x="1380" y="601"/>
                  </a:lnTo>
                  <a:lnTo>
                    <a:pt x="1434" y="641"/>
                  </a:lnTo>
                  <a:lnTo>
                    <a:pt x="1449" y="617"/>
                  </a:lnTo>
                  <a:lnTo>
                    <a:pt x="1453" y="555"/>
                  </a:lnTo>
                  <a:lnTo>
                    <a:pt x="1500" y="531"/>
                  </a:lnTo>
                  <a:lnTo>
                    <a:pt x="1556" y="546"/>
                  </a:lnTo>
                  <a:lnTo>
                    <a:pt x="1576" y="444"/>
                  </a:lnTo>
                  <a:lnTo>
                    <a:pt x="1600" y="420"/>
                  </a:lnTo>
                  <a:lnTo>
                    <a:pt x="1635" y="411"/>
                  </a:lnTo>
                  <a:lnTo>
                    <a:pt x="1647" y="376"/>
                  </a:lnTo>
                  <a:lnTo>
                    <a:pt x="1675" y="35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62"/>
            <p:cNvSpPr>
              <a:spLocks noChangeAspect="1"/>
            </p:cNvSpPr>
            <p:nvPr/>
          </p:nvSpPr>
          <p:spPr bwMode="auto">
            <a:xfrm>
              <a:off x="2536731" y="2971957"/>
              <a:ext cx="279561" cy="211220"/>
            </a:xfrm>
            <a:custGeom>
              <a:avLst/>
              <a:gdLst/>
              <a:ahLst/>
              <a:cxnLst>
                <a:cxn ang="0">
                  <a:pos x="370" y="103"/>
                </a:cxn>
                <a:cxn ang="0">
                  <a:pos x="405" y="118"/>
                </a:cxn>
                <a:cxn ang="0">
                  <a:pos x="402" y="245"/>
                </a:cxn>
                <a:cxn ang="0">
                  <a:pos x="366" y="260"/>
                </a:cxn>
                <a:cxn ang="0">
                  <a:pos x="350" y="289"/>
                </a:cxn>
                <a:cxn ang="0">
                  <a:pos x="271" y="304"/>
                </a:cxn>
                <a:cxn ang="0">
                  <a:pos x="275" y="332"/>
                </a:cxn>
                <a:cxn ang="0">
                  <a:pos x="255" y="356"/>
                </a:cxn>
                <a:cxn ang="0">
                  <a:pos x="212" y="243"/>
                </a:cxn>
                <a:cxn ang="0">
                  <a:pos x="158" y="280"/>
                </a:cxn>
                <a:cxn ang="0">
                  <a:pos x="113" y="288"/>
                </a:cxn>
                <a:cxn ang="0">
                  <a:pos x="0" y="269"/>
                </a:cxn>
                <a:cxn ang="0">
                  <a:pos x="52" y="231"/>
                </a:cxn>
                <a:cxn ang="0">
                  <a:pos x="162" y="192"/>
                </a:cxn>
                <a:cxn ang="0">
                  <a:pos x="177" y="166"/>
                </a:cxn>
                <a:cxn ang="0">
                  <a:pos x="139" y="132"/>
                </a:cxn>
                <a:cxn ang="0">
                  <a:pos x="101" y="140"/>
                </a:cxn>
                <a:cxn ang="0">
                  <a:pos x="64" y="106"/>
                </a:cxn>
                <a:cxn ang="0">
                  <a:pos x="86" y="76"/>
                </a:cxn>
                <a:cxn ang="0">
                  <a:pos x="79" y="34"/>
                </a:cxn>
                <a:cxn ang="0">
                  <a:pos x="113" y="8"/>
                </a:cxn>
                <a:cxn ang="0">
                  <a:pos x="154" y="49"/>
                </a:cxn>
                <a:cxn ang="0">
                  <a:pos x="173" y="15"/>
                </a:cxn>
                <a:cxn ang="0">
                  <a:pos x="231" y="0"/>
                </a:cxn>
                <a:cxn ang="0">
                  <a:pos x="265" y="30"/>
                </a:cxn>
                <a:cxn ang="0">
                  <a:pos x="363" y="15"/>
                </a:cxn>
                <a:cxn ang="0">
                  <a:pos x="423" y="19"/>
                </a:cxn>
                <a:cxn ang="0">
                  <a:pos x="477" y="59"/>
                </a:cxn>
                <a:cxn ang="0">
                  <a:pos x="370" y="103"/>
                </a:cxn>
              </a:cxnLst>
              <a:rect l="0" t="0" r="r" b="b"/>
              <a:pathLst>
                <a:path w="477" h="356">
                  <a:moveTo>
                    <a:pt x="370" y="103"/>
                  </a:moveTo>
                  <a:lnTo>
                    <a:pt x="405" y="118"/>
                  </a:lnTo>
                  <a:lnTo>
                    <a:pt x="402" y="245"/>
                  </a:lnTo>
                  <a:lnTo>
                    <a:pt x="366" y="260"/>
                  </a:lnTo>
                  <a:lnTo>
                    <a:pt x="350" y="289"/>
                  </a:lnTo>
                  <a:lnTo>
                    <a:pt x="271" y="304"/>
                  </a:lnTo>
                  <a:lnTo>
                    <a:pt x="275" y="332"/>
                  </a:lnTo>
                  <a:lnTo>
                    <a:pt x="255" y="356"/>
                  </a:lnTo>
                  <a:lnTo>
                    <a:pt x="212" y="243"/>
                  </a:lnTo>
                  <a:lnTo>
                    <a:pt x="158" y="280"/>
                  </a:lnTo>
                  <a:lnTo>
                    <a:pt x="113" y="288"/>
                  </a:lnTo>
                  <a:lnTo>
                    <a:pt x="0" y="269"/>
                  </a:lnTo>
                  <a:lnTo>
                    <a:pt x="52" y="231"/>
                  </a:lnTo>
                  <a:lnTo>
                    <a:pt x="162" y="192"/>
                  </a:lnTo>
                  <a:lnTo>
                    <a:pt x="177" y="166"/>
                  </a:lnTo>
                  <a:lnTo>
                    <a:pt x="139" y="132"/>
                  </a:lnTo>
                  <a:lnTo>
                    <a:pt x="101" y="140"/>
                  </a:lnTo>
                  <a:lnTo>
                    <a:pt x="64" y="106"/>
                  </a:lnTo>
                  <a:lnTo>
                    <a:pt x="86" y="76"/>
                  </a:lnTo>
                  <a:lnTo>
                    <a:pt x="79" y="34"/>
                  </a:lnTo>
                  <a:lnTo>
                    <a:pt x="113" y="8"/>
                  </a:lnTo>
                  <a:lnTo>
                    <a:pt x="154" y="49"/>
                  </a:lnTo>
                  <a:lnTo>
                    <a:pt x="173" y="15"/>
                  </a:lnTo>
                  <a:lnTo>
                    <a:pt x="231" y="0"/>
                  </a:lnTo>
                  <a:lnTo>
                    <a:pt x="265" y="30"/>
                  </a:lnTo>
                  <a:lnTo>
                    <a:pt x="363" y="15"/>
                  </a:lnTo>
                  <a:lnTo>
                    <a:pt x="423" y="19"/>
                  </a:lnTo>
                  <a:lnTo>
                    <a:pt x="477" y="59"/>
                  </a:lnTo>
                  <a:lnTo>
                    <a:pt x="370" y="10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eform 63"/>
            <p:cNvSpPr>
              <a:spLocks noChangeAspect="1"/>
            </p:cNvSpPr>
            <p:nvPr/>
          </p:nvSpPr>
          <p:spPr bwMode="auto">
            <a:xfrm>
              <a:off x="2536731" y="2971957"/>
              <a:ext cx="279561" cy="211220"/>
            </a:xfrm>
            <a:custGeom>
              <a:avLst/>
              <a:gdLst/>
              <a:ahLst/>
              <a:cxnLst>
                <a:cxn ang="0">
                  <a:pos x="370" y="103"/>
                </a:cxn>
                <a:cxn ang="0">
                  <a:pos x="405" y="118"/>
                </a:cxn>
                <a:cxn ang="0">
                  <a:pos x="402" y="245"/>
                </a:cxn>
                <a:cxn ang="0">
                  <a:pos x="366" y="260"/>
                </a:cxn>
                <a:cxn ang="0">
                  <a:pos x="350" y="289"/>
                </a:cxn>
                <a:cxn ang="0">
                  <a:pos x="271" y="304"/>
                </a:cxn>
                <a:cxn ang="0">
                  <a:pos x="275" y="332"/>
                </a:cxn>
                <a:cxn ang="0">
                  <a:pos x="255" y="356"/>
                </a:cxn>
                <a:cxn ang="0">
                  <a:pos x="212" y="243"/>
                </a:cxn>
                <a:cxn ang="0">
                  <a:pos x="158" y="280"/>
                </a:cxn>
                <a:cxn ang="0">
                  <a:pos x="113" y="288"/>
                </a:cxn>
                <a:cxn ang="0">
                  <a:pos x="0" y="269"/>
                </a:cxn>
                <a:cxn ang="0">
                  <a:pos x="52" y="231"/>
                </a:cxn>
                <a:cxn ang="0">
                  <a:pos x="162" y="192"/>
                </a:cxn>
                <a:cxn ang="0">
                  <a:pos x="177" y="166"/>
                </a:cxn>
                <a:cxn ang="0">
                  <a:pos x="139" y="132"/>
                </a:cxn>
                <a:cxn ang="0">
                  <a:pos x="101" y="140"/>
                </a:cxn>
                <a:cxn ang="0">
                  <a:pos x="64" y="106"/>
                </a:cxn>
                <a:cxn ang="0">
                  <a:pos x="86" y="76"/>
                </a:cxn>
                <a:cxn ang="0">
                  <a:pos x="79" y="34"/>
                </a:cxn>
                <a:cxn ang="0">
                  <a:pos x="113" y="8"/>
                </a:cxn>
                <a:cxn ang="0">
                  <a:pos x="154" y="49"/>
                </a:cxn>
                <a:cxn ang="0">
                  <a:pos x="173" y="15"/>
                </a:cxn>
                <a:cxn ang="0">
                  <a:pos x="231" y="0"/>
                </a:cxn>
                <a:cxn ang="0">
                  <a:pos x="265" y="30"/>
                </a:cxn>
                <a:cxn ang="0">
                  <a:pos x="363" y="15"/>
                </a:cxn>
                <a:cxn ang="0">
                  <a:pos x="423" y="19"/>
                </a:cxn>
                <a:cxn ang="0">
                  <a:pos x="477" y="59"/>
                </a:cxn>
              </a:cxnLst>
              <a:rect l="0" t="0" r="r" b="b"/>
              <a:pathLst>
                <a:path w="477" h="356">
                  <a:moveTo>
                    <a:pt x="370" y="103"/>
                  </a:moveTo>
                  <a:lnTo>
                    <a:pt x="405" y="118"/>
                  </a:lnTo>
                  <a:lnTo>
                    <a:pt x="402" y="245"/>
                  </a:lnTo>
                  <a:lnTo>
                    <a:pt x="366" y="260"/>
                  </a:lnTo>
                  <a:lnTo>
                    <a:pt x="350" y="289"/>
                  </a:lnTo>
                  <a:lnTo>
                    <a:pt x="271" y="304"/>
                  </a:lnTo>
                  <a:lnTo>
                    <a:pt x="275" y="332"/>
                  </a:lnTo>
                  <a:lnTo>
                    <a:pt x="255" y="356"/>
                  </a:lnTo>
                  <a:lnTo>
                    <a:pt x="212" y="243"/>
                  </a:lnTo>
                  <a:lnTo>
                    <a:pt x="158" y="280"/>
                  </a:lnTo>
                  <a:lnTo>
                    <a:pt x="113" y="288"/>
                  </a:lnTo>
                  <a:lnTo>
                    <a:pt x="0" y="269"/>
                  </a:lnTo>
                  <a:lnTo>
                    <a:pt x="52" y="231"/>
                  </a:lnTo>
                  <a:lnTo>
                    <a:pt x="162" y="192"/>
                  </a:lnTo>
                  <a:lnTo>
                    <a:pt x="177" y="166"/>
                  </a:lnTo>
                  <a:lnTo>
                    <a:pt x="139" y="132"/>
                  </a:lnTo>
                  <a:lnTo>
                    <a:pt x="101" y="140"/>
                  </a:lnTo>
                  <a:lnTo>
                    <a:pt x="64" y="106"/>
                  </a:lnTo>
                  <a:lnTo>
                    <a:pt x="86" y="76"/>
                  </a:lnTo>
                  <a:lnTo>
                    <a:pt x="79" y="34"/>
                  </a:lnTo>
                  <a:lnTo>
                    <a:pt x="113" y="8"/>
                  </a:lnTo>
                  <a:lnTo>
                    <a:pt x="154" y="49"/>
                  </a:lnTo>
                  <a:lnTo>
                    <a:pt x="173" y="15"/>
                  </a:lnTo>
                  <a:lnTo>
                    <a:pt x="231" y="0"/>
                  </a:lnTo>
                  <a:lnTo>
                    <a:pt x="265" y="30"/>
                  </a:lnTo>
                  <a:lnTo>
                    <a:pt x="363" y="15"/>
                  </a:lnTo>
                  <a:lnTo>
                    <a:pt x="423" y="19"/>
                  </a:lnTo>
                  <a:lnTo>
                    <a:pt x="477" y="59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Freeform 64"/>
            <p:cNvSpPr>
              <a:spLocks noChangeAspect="1"/>
            </p:cNvSpPr>
            <p:nvPr/>
          </p:nvSpPr>
          <p:spPr bwMode="auto">
            <a:xfrm>
              <a:off x="1713872" y="2961307"/>
              <a:ext cx="161758" cy="120697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98" y="0"/>
                </a:cxn>
                <a:cxn ang="0">
                  <a:pos x="154" y="30"/>
                </a:cxn>
                <a:cxn ang="0">
                  <a:pos x="192" y="30"/>
                </a:cxn>
                <a:cxn ang="0">
                  <a:pos x="233" y="68"/>
                </a:cxn>
                <a:cxn ang="0">
                  <a:pos x="278" y="121"/>
                </a:cxn>
                <a:cxn ang="0">
                  <a:pos x="248" y="177"/>
                </a:cxn>
                <a:cxn ang="0">
                  <a:pos x="200" y="201"/>
                </a:cxn>
                <a:cxn ang="0">
                  <a:pos x="141" y="206"/>
                </a:cxn>
                <a:cxn ang="0">
                  <a:pos x="131" y="160"/>
                </a:cxn>
                <a:cxn ang="0">
                  <a:pos x="108" y="120"/>
                </a:cxn>
                <a:cxn ang="0">
                  <a:pos x="45" y="101"/>
                </a:cxn>
                <a:cxn ang="0">
                  <a:pos x="0" y="57"/>
                </a:cxn>
              </a:cxnLst>
              <a:rect l="0" t="0" r="r" b="b"/>
              <a:pathLst>
                <a:path w="278" h="206">
                  <a:moveTo>
                    <a:pt x="0" y="57"/>
                  </a:moveTo>
                  <a:lnTo>
                    <a:pt x="98" y="0"/>
                  </a:lnTo>
                  <a:lnTo>
                    <a:pt x="154" y="30"/>
                  </a:lnTo>
                  <a:lnTo>
                    <a:pt x="192" y="30"/>
                  </a:lnTo>
                  <a:lnTo>
                    <a:pt x="233" y="68"/>
                  </a:lnTo>
                  <a:lnTo>
                    <a:pt x="278" y="121"/>
                  </a:lnTo>
                  <a:lnTo>
                    <a:pt x="248" y="177"/>
                  </a:lnTo>
                  <a:lnTo>
                    <a:pt x="200" y="201"/>
                  </a:lnTo>
                  <a:lnTo>
                    <a:pt x="141" y="206"/>
                  </a:lnTo>
                  <a:lnTo>
                    <a:pt x="131" y="160"/>
                  </a:lnTo>
                  <a:lnTo>
                    <a:pt x="108" y="120"/>
                  </a:lnTo>
                  <a:lnTo>
                    <a:pt x="45" y="101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Freeform 65"/>
            <p:cNvSpPr>
              <a:spLocks noChangeAspect="1"/>
            </p:cNvSpPr>
            <p:nvPr/>
          </p:nvSpPr>
          <p:spPr bwMode="auto">
            <a:xfrm>
              <a:off x="1065080" y="1985082"/>
              <a:ext cx="31648" cy="15975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24"/>
                </a:cxn>
                <a:cxn ang="0">
                  <a:pos x="38" y="28"/>
                </a:cxn>
                <a:cxn ang="0">
                  <a:pos x="55" y="0"/>
                </a:cxn>
                <a:cxn ang="0">
                  <a:pos x="20" y="0"/>
                </a:cxn>
              </a:cxnLst>
              <a:rect l="0" t="0" r="r" b="b"/>
              <a:pathLst>
                <a:path w="55" h="28">
                  <a:moveTo>
                    <a:pt x="20" y="0"/>
                  </a:moveTo>
                  <a:lnTo>
                    <a:pt x="0" y="24"/>
                  </a:lnTo>
                  <a:lnTo>
                    <a:pt x="38" y="28"/>
                  </a:lnTo>
                  <a:lnTo>
                    <a:pt x="55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eform 66"/>
            <p:cNvSpPr>
              <a:spLocks noChangeAspect="1"/>
            </p:cNvSpPr>
            <p:nvPr/>
          </p:nvSpPr>
          <p:spPr bwMode="auto">
            <a:xfrm>
              <a:off x="1121344" y="1960232"/>
              <a:ext cx="26374" cy="603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42"/>
                </a:cxn>
                <a:cxn ang="0">
                  <a:pos x="28" y="51"/>
                </a:cxn>
                <a:cxn ang="0">
                  <a:pos x="35" y="103"/>
                </a:cxn>
                <a:cxn ang="0">
                  <a:pos x="46" y="66"/>
                </a:cxn>
                <a:cxn ang="0">
                  <a:pos x="46" y="35"/>
                </a:cxn>
                <a:cxn ang="0">
                  <a:pos x="43" y="0"/>
                </a:cxn>
                <a:cxn ang="0">
                  <a:pos x="0" y="0"/>
                </a:cxn>
              </a:cxnLst>
              <a:rect l="0" t="0" r="r" b="b"/>
              <a:pathLst>
                <a:path w="46" h="103">
                  <a:moveTo>
                    <a:pt x="0" y="0"/>
                  </a:moveTo>
                  <a:lnTo>
                    <a:pt x="4" y="42"/>
                  </a:lnTo>
                  <a:lnTo>
                    <a:pt x="28" y="51"/>
                  </a:lnTo>
                  <a:lnTo>
                    <a:pt x="35" y="103"/>
                  </a:lnTo>
                  <a:lnTo>
                    <a:pt x="46" y="66"/>
                  </a:lnTo>
                  <a:lnTo>
                    <a:pt x="46" y="35"/>
                  </a:lnTo>
                  <a:lnTo>
                    <a:pt x="4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 67"/>
            <p:cNvSpPr>
              <a:spLocks noChangeAspect="1"/>
            </p:cNvSpPr>
            <p:nvPr/>
          </p:nvSpPr>
          <p:spPr bwMode="auto">
            <a:xfrm>
              <a:off x="1163542" y="1963782"/>
              <a:ext cx="21099" cy="1952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0" y="32"/>
                </a:cxn>
                <a:cxn ang="0">
                  <a:pos x="36" y="0"/>
                </a:cxn>
                <a:cxn ang="0">
                  <a:pos x="0" y="8"/>
                </a:cxn>
              </a:cxnLst>
              <a:rect l="0" t="0" r="r" b="b"/>
              <a:pathLst>
                <a:path w="36" h="32">
                  <a:moveTo>
                    <a:pt x="0" y="8"/>
                  </a:moveTo>
                  <a:lnTo>
                    <a:pt x="20" y="32"/>
                  </a:lnTo>
                  <a:lnTo>
                    <a:pt x="36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Freeform 68"/>
            <p:cNvSpPr>
              <a:spLocks noChangeAspect="1"/>
            </p:cNvSpPr>
            <p:nvPr/>
          </p:nvSpPr>
          <p:spPr bwMode="auto">
            <a:xfrm>
              <a:off x="3387721" y="4104379"/>
              <a:ext cx="133627" cy="257369"/>
            </a:xfrm>
            <a:custGeom>
              <a:avLst/>
              <a:gdLst/>
              <a:ahLst/>
              <a:cxnLst>
                <a:cxn ang="0">
                  <a:pos x="144" y="146"/>
                </a:cxn>
                <a:cxn ang="0">
                  <a:pos x="78" y="109"/>
                </a:cxn>
                <a:cxn ang="0">
                  <a:pos x="40" y="0"/>
                </a:cxn>
                <a:cxn ang="0">
                  <a:pos x="0" y="39"/>
                </a:cxn>
                <a:cxn ang="0">
                  <a:pos x="5" y="114"/>
                </a:cxn>
                <a:cxn ang="0">
                  <a:pos x="28" y="289"/>
                </a:cxn>
                <a:cxn ang="0">
                  <a:pos x="83" y="367"/>
                </a:cxn>
                <a:cxn ang="0">
                  <a:pos x="128" y="422"/>
                </a:cxn>
                <a:cxn ang="0">
                  <a:pos x="224" y="435"/>
                </a:cxn>
                <a:cxn ang="0">
                  <a:pos x="227" y="402"/>
                </a:cxn>
                <a:cxn ang="0">
                  <a:pos x="215" y="246"/>
                </a:cxn>
                <a:cxn ang="0">
                  <a:pos x="144" y="146"/>
                </a:cxn>
              </a:cxnLst>
              <a:rect l="0" t="0" r="r" b="b"/>
              <a:pathLst>
                <a:path w="227" h="435">
                  <a:moveTo>
                    <a:pt x="144" y="146"/>
                  </a:moveTo>
                  <a:lnTo>
                    <a:pt x="78" y="109"/>
                  </a:lnTo>
                  <a:lnTo>
                    <a:pt x="40" y="0"/>
                  </a:lnTo>
                  <a:lnTo>
                    <a:pt x="0" y="39"/>
                  </a:lnTo>
                  <a:lnTo>
                    <a:pt x="5" y="114"/>
                  </a:lnTo>
                  <a:lnTo>
                    <a:pt x="28" y="289"/>
                  </a:lnTo>
                  <a:lnTo>
                    <a:pt x="83" y="367"/>
                  </a:lnTo>
                  <a:lnTo>
                    <a:pt x="128" y="422"/>
                  </a:lnTo>
                  <a:lnTo>
                    <a:pt x="224" y="435"/>
                  </a:lnTo>
                  <a:lnTo>
                    <a:pt x="227" y="402"/>
                  </a:lnTo>
                  <a:lnTo>
                    <a:pt x="215" y="246"/>
                  </a:lnTo>
                  <a:lnTo>
                    <a:pt x="144" y="14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Freeform 69"/>
            <p:cNvSpPr>
              <a:spLocks noChangeAspect="1"/>
            </p:cNvSpPr>
            <p:nvPr/>
          </p:nvSpPr>
          <p:spPr bwMode="auto">
            <a:xfrm>
              <a:off x="3387721" y="4104379"/>
              <a:ext cx="133627" cy="257369"/>
            </a:xfrm>
            <a:custGeom>
              <a:avLst/>
              <a:gdLst/>
              <a:ahLst/>
              <a:cxnLst>
                <a:cxn ang="0">
                  <a:pos x="144" y="146"/>
                </a:cxn>
                <a:cxn ang="0">
                  <a:pos x="78" y="109"/>
                </a:cxn>
                <a:cxn ang="0">
                  <a:pos x="40" y="0"/>
                </a:cxn>
                <a:cxn ang="0">
                  <a:pos x="0" y="39"/>
                </a:cxn>
                <a:cxn ang="0">
                  <a:pos x="5" y="114"/>
                </a:cxn>
                <a:cxn ang="0">
                  <a:pos x="28" y="289"/>
                </a:cxn>
                <a:cxn ang="0">
                  <a:pos x="83" y="367"/>
                </a:cxn>
                <a:cxn ang="0">
                  <a:pos x="128" y="422"/>
                </a:cxn>
                <a:cxn ang="0">
                  <a:pos x="224" y="435"/>
                </a:cxn>
                <a:cxn ang="0">
                  <a:pos x="227" y="402"/>
                </a:cxn>
                <a:cxn ang="0">
                  <a:pos x="215" y="246"/>
                </a:cxn>
                <a:cxn ang="0">
                  <a:pos x="144" y="146"/>
                </a:cxn>
              </a:cxnLst>
              <a:rect l="0" t="0" r="r" b="b"/>
              <a:pathLst>
                <a:path w="227" h="435">
                  <a:moveTo>
                    <a:pt x="144" y="146"/>
                  </a:moveTo>
                  <a:lnTo>
                    <a:pt x="78" y="109"/>
                  </a:lnTo>
                  <a:lnTo>
                    <a:pt x="40" y="0"/>
                  </a:lnTo>
                  <a:lnTo>
                    <a:pt x="0" y="39"/>
                  </a:lnTo>
                  <a:lnTo>
                    <a:pt x="5" y="114"/>
                  </a:lnTo>
                  <a:lnTo>
                    <a:pt x="28" y="289"/>
                  </a:lnTo>
                  <a:lnTo>
                    <a:pt x="83" y="367"/>
                  </a:lnTo>
                  <a:lnTo>
                    <a:pt x="128" y="422"/>
                  </a:lnTo>
                  <a:lnTo>
                    <a:pt x="224" y="435"/>
                  </a:lnTo>
                  <a:lnTo>
                    <a:pt x="227" y="402"/>
                  </a:lnTo>
                  <a:lnTo>
                    <a:pt x="215" y="246"/>
                  </a:lnTo>
                  <a:lnTo>
                    <a:pt x="144" y="146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Freeform 70"/>
            <p:cNvSpPr>
              <a:spLocks noChangeAspect="1"/>
            </p:cNvSpPr>
            <p:nvPr/>
          </p:nvSpPr>
          <p:spPr bwMode="auto">
            <a:xfrm>
              <a:off x="1254971" y="4968783"/>
              <a:ext cx="254945" cy="294643"/>
            </a:xfrm>
            <a:custGeom>
              <a:avLst/>
              <a:gdLst/>
              <a:ahLst/>
              <a:cxnLst>
                <a:cxn ang="0">
                  <a:pos x="148" y="7"/>
                </a:cxn>
                <a:cxn ang="0">
                  <a:pos x="268" y="14"/>
                </a:cxn>
                <a:cxn ang="0">
                  <a:pos x="286" y="83"/>
                </a:cxn>
                <a:cxn ang="0">
                  <a:pos x="291" y="118"/>
                </a:cxn>
                <a:cxn ang="0">
                  <a:pos x="316" y="131"/>
                </a:cxn>
                <a:cxn ang="0">
                  <a:pos x="326" y="169"/>
                </a:cxn>
                <a:cxn ang="0">
                  <a:pos x="354" y="170"/>
                </a:cxn>
                <a:cxn ang="0">
                  <a:pos x="368" y="220"/>
                </a:cxn>
                <a:cxn ang="0">
                  <a:pos x="388" y="224"/>
                </a:cxn>
                <a:cxn ang="0">
                  <a:pos x="433" y="244"/>
                </a:cxn>
                <a:cxn ang="0">
                  <a:pos x="420" y="272"/>
                </a:cxn>
                <a:cxn ang="0">
                  <a:pos x="393" y="293"/>
                </a:cxn>
                <a:cxn ang="0">
                  <a:pos x="368" y="321"/>
                </a:cxn>
                <a:cxn ang="0">
                  <a:pos x="332" y="338"/>
                </a:cxn>
                <a:cxn ang="0">
                  <a:pos x="320" y="383"/>
                </a:cxn>
                <a:cxn ang="0">
                  <a:pos x="291" y="390"/>
                </a:cxn>
                <a:cxn ang="0">
                  <a:pos x="272" y="420"/>
                </a:cxn>
                <a:cxn ang="0">
                  <a:pos x="245" y="447"/>
                </a:cxn>
                <a:cxn ang="0">
                  <a:pos x="202" y="447"/>
                </a:cxn>
                <a:cxn ang="0">
                  <a:pos x="172" y="430"/>
                </a:cxn>
                <a:cxn ang="0">
                  <a:pos x="147" y="430"/>
                </a:cxn>
                <a:cxn ang="0">
                  <a:pos x="129" y="452"/>
                </a:cxn>
                <a:cxn ang="0">
                  <a:pos x="119" y="483"/>
                </a:cxn>
                <a:cxn ang="0">
                  <a:pos x="93" y="499"/>
                </a:cxn>
                <a:cxn ang="0">
                  <a:pos x="31" y="485"/>
                </a:cxn>
                <a:cxn ang="0">
                  <a:pos x="20" y="437"/>
                </a:cxn>
                <a:cxn ang="0">
                  <a:pos x="3" y="416"/>
                </a:cxn>
                <a:cxn ang="0">
                  <a:pos x="0" y="252"/>
                </a:cxn>
                <a:cxn ang="0">
                  <a:pos x="24" y="243"/>
                </a:cxn>
                <a:cxn ang="0">
                  <a:pos x="46" y="226"/>
                </a:cxn>
                <a:cxn ang="0">
                  <a:pos x="49" y="64"/>
                </a:cxn>
                <a:cxn ang="0">
                  <a:pos x="73" y="22"/>
                </a:cxn>
                <a:cxn ang="0">
                  <a:pos x="124" y="0"/>
                </a:cxn>
                <a:cxn ang="0">
                  <a:pos x="148" y="7"/>
                </a:cxn>
              </a:cxnLst>
              <a:rect l="0" t="0" r="r" b="b"/>
              <a:pathLst>
                <a:path w="433" h="499">
                  <a:moveTo>
                    <a:pt x="148" y="7"/>
                  </a:moveTo>
                  <a:lnTo>
                    <a:pt x="268" y="14"/>
                  </a:lnTo>
                  <a:lnTo>
                    <a:pt x="286" y="83"/>
                  </a:lnTo>
                  <a:lnTo>
                    <a:pt x="291" y="118"/>
                  </a:lnTo>
                  <a:lnTo>
                    <a:pt x="316" y="131"/>
                  </a:lnTo>
                  <a:lnTo>
                    <a:pt x="326" y="169"/>
                  </a:lnTo>
                  <a:lnTo>
                    <a:pt x="354" y="170"/>
                  </a:lnTo>
                  <a:lnTo>
                    <a:pt x="368" y="220"/>
                  </a:lnTo>
                  <a:lnTo>
                    <a:pt x="388" y="224"/>
                  </a:lnTo>
                  <a:lnTo>
                    <a:pt x="433" y="244"/>
                  </a:lnTo>
                  <a:lnTo>
                    <a:pt x="420" y="272"/>
                  </a:lnTo>
                  <a:lnTo>
                    <a:pt x="393" y="293"/>
                  </a:lnTo>
                  <a:lnTo>
                    <a:pt x="368" y="321"/>
                  </a:lnTo>
                  <a:lnTo>
                    <a:pt x="332" y="338"/>
                  </a:lnTo>
                  <a:lnTo>
                    <a:pt x="320" y="383"/>
                  </a:lnTo>
                  <a:lnTo>
                    <a:pt x="291" y="390"/>
                  </a:lnTo>
                  <a:lnTo>
                    <a:pt x="272" y="420"/>
                  </a:lnTo>
                  <a:lnTo>
                    <a:pt x="245" y="447"/>
                  </a:lnTo>
                  <a:lnTo>
                    <a:pt x="202" y="447"/>
                  </a:lnTo>
                  <a:lnTo>
                    <a:pt x="172" y="430"/>
                  </a:lnTo>
                  <a:lnTo>
                    <a:pt x="147" y="430"/>
                  </a:lnTo>
                  <a:lnTo>
                    <a:pt x="129" y="452"/>
                  </a:lnTo>
                  <a:lnTo>
                    <a:pt x="119" y="483"/>
                  </a:lnTo>
                  <a:lnTo>
                    <a:pt x="93" y="499"/>
                  </a:lnTo>
                  <a:lnTo>
                    <a:pt x="31" y="485"/>
                  </a:lnTo>
                  <a:lnTo>
                    <a:pt x="20" y="437"/>
                  </a:lnTo>
                  <a:lnTo>
                    <a:pt x="3" y="416"/>
                  </a:lnTo>
                  <a:lnTo>
                    <a:pt x="0" y="252"/>
                  </a:lnTo>
                  <a:lnTo>
                    <a:pt x="24" y="243"/>
                  </a:lnTo>
                  <a:lnTo>
                    <a:pt x="46" y="226"/>
                  </a:lnTo>
                  <a:lnTo>
                    <a:pt x="49" y="64"/>
                  </a:lnTo>
                  <a:lnTo>
                    <a:pt x="73" y="22"/>
                  </a:lnTo>
                  <a:lnTo>
                    <a:pt x="124" y="0"/>
                  </a:lnTo>
                  <a:lnTo>
                    <a:pt x="148" y="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Freeform 71"/>
            <p:cNvSpPr>
              <a:spLocks noChangeAspect="1"/>
            </p:cNvSpPr>
            <p:nvPr/>
          </p:nvSpPr>
          <p:spPr bwMode="auto">
            <a:xfrm>
              <a:off x="3704205" y="4734488"/>
              <a:ext cx="1063738" cy="919427"/>
            </a:xfrm>
            <a:custGeom>
              <a:avLst/>
              <a:gdLst/>
              <a:ahLst/>
              <a:cxnLst>
                <a:cxn ang="0">
                  <a:pos x="937" y="103"/>
                </a:cxn>
                <a:cxn ang="0">
                  <a:pos x="815" y="158"/>
                </a:cxn>
                <a:cxn ang="0">
                  <a:pos x="802" y="233"/>
                </a:cxn>
                <a:cxn ang="0">
                  <a:pos x="727" y="206"/>
                </a:cxn>
                <a:cxn ang="0">
                  <a:pos x="629" y="190"/>
                </a:cxn>
                <a:cxn ang="0">
                  <a:pos x="582" y="265"/>
                </a:cxn>
                <a:cxn ang="0">
                  <a:pos x="517" y="320"/>
                </a:cxn>
                <a:cxn ang="0">
                  <a:pos x="495" y="355"/>
                </a:cxn>
                <a:cxn ang="0">
                  <a:pos x="458" y="399"/>
                </a:cxn>
                <a:cxn ang="0">
                  <a:pos x="328" y="510"/>
                </a:cxn>
                <a:cxn ang="0">
                  <a:pos x="96" y="628"/>
                </a:cxn>
                <a:cxn ang="0">
                  <a:pos x="28" y="782"/>
                </a:cxn>
                <a:cxn ang="0">
                  <a:pos x="52" y="837"/>
                </a:cxn>
                <a:cxn ang="0">
                  <a:pos x="0" y="854"/>
                </a:cxn>
                <a:cxn ang="0">
                  <a:pos x="52" y="988"/>
                </a:cxn>
                <a:cxn ang="0">
                  <a:pos x="52" y="1091"/>
                </a:cxn>
                <a:cxn ang="0">
                  <a:pos x="79" y="1193"/>
                </a:cxn>
                <a:cxn ang="0">
                  <a:pos x="35" y="1233"/>
                </a:cxn>
                <a:cxn ang="0">
                  <a:pos x="111" y="1343"/>
                </a:cxn>
                <a:cxn ang="0">
                  <a:pos x="166" y="1327"/>
                </a:cxn>
                <a:cxn ang="0">
                  <a:pos x="261" y="1305"/>
                </a:cxn>
                <a:cxn ang="0">
                  <a:pos x="451" y="1237"/>
                </a:cxn>
                <a:cxn ang="0">
                  <a:pos x="644" y="1185"/>
                </a:cxn>
                <a:cxn ang="0">
                  <a:pos x="731" y="1154"/>
                </a:cxn>
                <a:cxn ang="0">
                  <a:pos x="775" y="1170"/>
                </a:cxn>
                <a:cxn ang="0">
                  <a:pos x="878" y="1209"/>
                </a:cxn>
                <a:cxn ang="0">
                  <a:pos x="917" y="1323"/>
                </a:cxn>
                <a:cxn ang="0">
                  <a:pos x="981" y="1296"/>
                </a:cxn>
                <a:cxn ang="0">
                  <a:pos x="1044" y="1209"/>
                </a:cxn>
                <a:cxn ang="0">
                  <a:pos x="1032" y="1292"/>
                </a:cxn>
                <a:cxn ang="0">
                  <a:pos x="1036" y="1336"/>
                </a:cxn>
                <a:cxn ang="0">
                  <a:pos x="1064" y="1284"/>
                </a:cxn>
                <a:cxn ang="0">
                  <a:pos x="1071" y="1336"/>
                </a:cxn>
                <a:cxn ang="0">
                  <a:pos x="1103" y="1399"/>
                </a:cxn>
                <a:cxn ang="0">
                  <a:pos x="1130" y="1489"/>
                </a:cxn>
                <a:cxn ang="0">
                  <a:pos x="1344" y="1553"/>
                </a:cxn>
                <a:cxn ang="0">
                  <a:pos x="1553" y="1458"/>
                </a:cxn>
                <a:cxn ang="0">
                  <a:pos x="1649" y="1312"/>
                </a:cxn>
                <a:cxn ang="0">
                  <a:pos x="1763" y="1158"/>
                </a:cxn>
                <a:cxn ang="0">
                  <a:pos x="1787" y="999"/>
                </a:cxn>
                <a:cxn ang="0">
                  <a:pos x="1811" y="795"/>
                </a:cxn>
                <a:cxn ang="0">
                  <a:pos x="1728" y="632"/>
                </a:cxn>
                <a:cxn ang="0">
                  <a:pos x="1652" y="521"/>
                </a:cxn>
                <a:cxn ang="0">
                  <a:pos x="1557" y="368"/>
                </a:cxn>
                <a:cxn ang="0">
                  <a:pos x="1470" y="190"/>
                </a:cxn>
                <a:cxn ang="0">
                  <a:pos x="1463" y="55"/>
                </a:cxn>
                <a:cxn ang="0">
                  <a:pos x="1384" y="55"/>
                </a:cxn>
                <a:cxn ang="0">
                  <a:pos x="1360" y="280"/>
                </a:cxn>
                <a:cxn ang="0">
                  <a:pos x="1316" y="359"/>
                </a:cxn>
                <a:cxn ang="0">
                  <a:pos x="1213" y="316"/>
                </a:cxn>
                <a:cxn ang="0">
                  <a:pos x="1115" y="256"/>
                </a:cxn>
                <a:cxn ang="0">
                  <a:pos x="1099" y="193"/>
                </a:cxn>
                <a:cxn ang="0">
                  <a:pos x="1139" y="142"/>
                </a:cxn>
                <a:cxn ang="0">
                  <a:pos x="1095" y="75"/>
                </a:cxn>
                <a:cxn ang="0">
                  <a:pos x="968" y="35"/>
                </a:cxn>
                <a:cxn ang="0">
                  <a:pos x="894" y="48"/>
                </a:cxn>
              </a:cxnLst>
              <a:rect l="0" t="0" r="r" b="b"/>
              <a:pathLst>
                <a:path w="1814" h="1553">
                  <a:moveTo>
                    <a:pt x="926" y="63"/>
                  </a:moveTo>
                  <a:lnTo>
                    <a:pt x="937" y="103"/>
                  </a:lnTo>
                  <a:lnTo>
                    <a:pt x="850" y="114"/>
                  </a:lnTo>
                  <a:lnTo>
                    <a:pt x="815" y="158"/>
                  </a:lnTo>
                  <a:lnTo>
                    <a:pt x="810" y="186"/>
                  </a:lnTo>
                  <a:lnTo>
                    <a:pt x="802" y="233"/>
                  </a:lnTo>
                  <a:lnTo>
                    <a:pt x="747" y="245"/>
                  </a:lnTo>
                  <a:lnTo>
                    <a:pt x="727" y="206"/>
                  </a:lnTo>
                  <a:lnTo>
                    <a:pt x="700" y="173"/>
                  </a:lnTo>
                  <a:lnTo>
                    <a:pt x="629" y="190"/>
                  </a:lnTo>
                  <a:lnTo>
                    <a:pt x="617" y="233"/>
                  </a:lnTo>
                  <a:lnTo>
                    <a:pt x="582" y="265"/>
                  </a:lnTo>
                  <a:lnTo>
                    <a:pt x="541" y="284"/>
                  </a:lnTo>
                  <a:lnTo>
                    <a:pt x="517" y="320"/>
                  </a:lnTo>
                  <a:lnTo>
                    <a:pt x="517" y="355"/>
                  </a:lnTo>
                  <a:lnTo>
                    <a:pt x="495" y="355"/>
                  </a:lnTo>
                  <a:lnTo>
                    <a:pt x="471" y="320"/>
                  </a:lnTo>
                  <a:lnTo>
                    <a:pt x="458" y="399"/>
                  </a:lnTo>
                  <a:lnTo>
                    <a:pt x="392" y="482"/>
                  </a:lnTo>
                  <a:lnTo>
                    <a:pt x="328" y="510"/>
                  </a:lnTo>
                  <a:lnTo>
                    <a:pt x="166" y="557"/>
                  </a:lnTo>
                  <a:lnTo>
                    <a:pt x="96" y="628"/>
                  </a:lnTo>
                  <a:lnTo>
                    <a:pt x="17" y="637"/>
                  </a:lnTo>
                  <a:lnTo>
                    <a:pt x="28" y="782"/>
                  </a:lnTo>
                  <a:lnTo>
                    <a:pt x="59" y="806"/>
                  </a:lnTo>
                  <a:lnTo>
                    <a:pt x="52" y="837"/>
                  </a:lnTo>
                  <a:lnTo>
                    <a:pt x="4" y="806"/>
                  </a:lnTo>
                  <a:lnTo>
                    <a:pt x="0" y="854"/>
                  </a:lnTo>
                  <a:lnTo>
                    <a:pt x="24" y="937"/>
                  </a:lnTo>
                  <a:lnTo>
                    <a:pt x="52" y="988"/>
                  </a:lnTo>
                  <a:lnTo>
                    <a:pt x="52" y="1047"/>
                  </a:lnTo>
                  <a:lnTo>
                    <a:pt x="52" y="1091"/>
                  </a:lnTo>
                  <a:lnTo>
                    <a:pt x="76" y="1102"/>
                  </a:lnTo>
                  <a:lnTo>
                    <a:pt x="79" y="1193"/>
                  </a:lnTo>
                  <a:lnTo>
                    <a:pt x="52" y="1198"/>
                  </a:lnTo>
                  <a:lnTo>
                    <a:pt x="35" y="1233"/>
                  </a:lnTo>
                  <a:lnTo>
                    <a:pt x="17" y="1261"/>
                  </a:lnTo>
                  <a:lnTo>
                    <a:pt x="111" y="1343"/>
                  </a:lnTo>
                  <a:lnTo>
                    <a:pt x="151" y="1351"/>
                  </a:lnTo>
                  <a:lnTo>
                    <a:pt x="166" y="1327"/>
                  </a:lnTo>
                  <a:lnTo>
                    <a:pt x="186" y="1296"/>
                  </a:lnTo>
                  <a:lnTo>
                    <a:pt x="261" y="1305"/>
                  </a:lnTo>
                  <a:lnTo>
                    <a:pt x="420" y="1281"/>
                  </a:lnTo>
                  <a:lnTo>
                    <a:pt x="451" y="1237"/>
                  </a:lnTo>
                  <a:lnTo>
                    <a:pt x="499" y="1202"/>
                  </a:lnTo>
                  <a:lnTo>
                    <a:pt x="644" y="1185"/>
                  </a:lnTo>
                  <a:lnTo>
                    <a:pt x="672" y="1158"/>
                  </a:lnTo>
                  <a:lnTo>
                    <a:pt x="731" y="1154"/>
                  </a:lnTo>
                  <a:lnTo>
                    <a:pt x="771" y="1146"/>
                  </a:lnTo>
                  <a:lnTo>
                    <a:pt x="775" y="1170"/>
                  </a:lnTo>
                  <a:lnTo>
                    <a:pt x="843" y="1174"/>
                  </a:lnTo>
                  <a:lnTo>
                    <a:pt x="878" y="1209"/>
                  </a:lnTo>
                  <a:lnTo>
                    <a:pt x="913" y="1264"/>
                  </a:lnTo>
                  <a:lnTo>
                    <a:pt x="917" y="1323"/>
                  </a:lnTo>
                  <a:lnTo>
                    <a:pt x="944" y="1320"/>
                  </a:lnTo>
                  <a:lnTo>
                    <a:pt x="981" y="1296"/>
                  </a:lnTo>
                  <a:lnTo>
                    <a:pt x="1016" y="1257"/>
                  </a:lnTo>
                  <a:lnTo>
                    <a:pt x="1044" y="1209"/>
                  </a:lnTo>
                  <a:lnTo>
                    <a:pt x="1047" y="1248"/>
                  </a:lnTo>
                  <a:lnTo>
                    <a:pt x="1032" y="1292"/>
                  </a:lnTo>
                  <a:lnTo>
                    <a:pt x="1005" y="1327"/>
                  </a:lnTo>
                  <a:lnTo>
                    <a:pt x="1036" y="1336"/>
                  </a:lnTo>
                  <a:lnTo>
                    <a:pt x="1047" y="1305"/>
                  </a:lnTo>
                  <a:lnTo>
                    <a:pt x="1064" y="1284"/>
                  </a:lnTo>
                  <a:lnTo>
                    <a:pt x="1064" y="1305"/>
                  </a:lnTo>
                  <a:lnTo>
                    <a:pt x="1071" y="1336"/>
                  </a:lnTo>
                  <a:lnTo>
                    <a:pt x="1099" y="1364"/>
                  </a:lnTo>
                  <a:lnTo>
                    <a:pt x="1103" y="1399"/>
                  </a:lnTo>
                  <a:lnTo>
                    <a:pt x="1087" y="1446"/>
                  </a:lnTo>
                  <a:lnTo>
                    <a:pt x="1130" y="1489"/>
                  </a:lnTo>
                  <a:lnTo>
                    <a:pt x="1229" y="1529"/>
                  </a:lnTo>
                  <a:lnTo>
                    <a:pt x="1344" y="1553"/>
                  </a:lnTo>
                  <a:lnTo>
                    <a:pt x="1423" y="1522"/>
                  </a:lnTo>
                  <a:lnTo>
                    <a:pt x="1553" y="1458"/>
                  </a:lnTo>
                  <a:lnTo>
                    <a:pt x="1588" y="1360"/>
                  </a:lnTo>
                  <a:lnTo>
                    <a:pt x="1649" y="1312"/>
                  </a:lnTo>
                  <a:lnTo>
                    <a:pt x="1688" y="1229"/>
                  </a:lnTo>
                  <a:lnTo>
                    <a:pt x="1763" y="1158"/>
                  </a:lnTo>
                  <a:lnTo>
                    <a:pt x="1787" y="1126"/>
                  </a:lnTo>
                  <a:lnTo>
                    <a:pt x="1787" y="999"/>
                  </a:lnTo>
                  <a:lnTo>
                    <a:pt x="1814" y="834"/>
                  </a:lnTo>
                  <a:lnTo>
                    <a:pt x="1811" y="795"/>
                  </a:lnTo>
                  <a:lnTo>
                    <a:pt x="1755" y="719"/>
                  </a:lnTo>
                  <a:lnTo>
                    <a:pt x="1728" y="632"/>
                  </a:lnTo>
                  <a:lnTo>
                    <a:pt x="1668" y="604"/>
                  </a:lnTo>
                  <a:lnTo>
                    <a:pt x="1652" y="521"/>
                  </a:lnTo>
                  <a:lnTo>
                    <a:pt x="1561" y="475"/>
                  </a:lnTo>
                  <a:lnTo>
                    <a:pt x="1557" y="368"/>
                  </a:lnTo>
                  <a:lnTo>
                    <a:pt x="1526" y="252"/>
                  </a:lnTo>
                  <a:lnTo>
                    <a:pt x="1470" y="190"/>
                  </a:lnTo>
                  <a:lnTo>
                    <a:pt x="1439" y="103"/>
                  </a:lnTo>
                  <a:lnTo>
                    <a:pt x="1463" y="55"/>
                  </a:lnTo>
                  <a:lnTo>
                    <a:pt x="1415" y="0"/>
                  </a:lnTo>
                  <a:lnTo>
                    <a:pt x="1384" y="55"/>
                  </a:lnTo>
                  <a:lnTo>
                    <a:pt x="1356" y="90"/>
                  </a:lnTo>
                  <a:lnTo>
                    <a:pt x="1360" y="280"/>
                  </a:lnTo>
                  <a:lnTo>
                    <a:pt x="1332" y="328"/>
                  </a:lnTo>
                  <a:lnTo>
                    <a:pt x="1316" y="359"/>
                  </a:lnTo>
                  <a:lnTo>
                    <a:pt x="1261" y="359"/>
                  </a:lnTo>
                  <a:lnTo>
                    <a:pt x="1213" y="316"/>
                  </a:lnTo>
                  <a:lnTo>
                    <a:pt x="1154" y="292"/>
                  </a:lnTo>
                  <a:lnTo>
                    <a:pt x="1115" y="256"/>
                  </a:lnTo>
                  <a:lnTo>
                    <a:pt x="1079" y="241"/>
                  </a:lnTo>
                  <a:lnTo>
                    <a:pt x="1099" y="193"/>
                  </a:lnTo>
                  <a:lnTo>
                    <a:pt x="1111" y="154"/>
                  </a:lnTo>
                  <a:lnTo>
                    <a:pt x="1139" y="142"/>
                  </a:lnTo>
                  <a:lnTo>
                    <a:pt x="1158" y="87"/>
                  </a:lnTo>
                  <a:lnTo>
                    <a:pt x="1095" y="75"/>
                  </a:lnTo>
                  <a:lnTo>
                    <a:pt x="1036" y="71"/>
                  </a:lnTo>
                  <a:lnTo>
                    <a:pt x="968" y="35"/>
                  </a:lnTo>
                  <a:lnTo>
                    <a:pt x="898" y="28"/>
                  </a:lnTo>
                  <a:lnTo>
                    <a:pt x="894" y="48"/>
                  </a:lnTo>
                  <a:lnTo>
                    <a:pt x="926" y="6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Freeform 72"/>
            <p:cNvSpPr>
              <a:spLocks noChangeAspect="1"/>
            </p:cNvSpPr>
            <p:nvPr/>
          </p:nvSpPr>
          <p:spPr bwMode="auto">
            <a:xfrm>
              <a:off x="5228602" y="5511919"/>
              <a:ext cx="121319" cy="244944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17" y="52"/>
                </a:cxn>
                <a:cxn ang="0">
                  <a:pos x="41" y="107"/>
                </a:cxn>
                <a:cxn ang="0">
                  <a:pos x="64" y="150"/>
                </a:cxn>
                <a:cxn ang="0">
                  <a:pos x="44" y="210"/>
                </a:cxn>
                <a:cxn ang="0">
                  <a:pos x="0" y="261"/>
                </a:cxn>
                <a:cxn ang="0">
                  <a:pos x="4" y="296"/>
                </a:cxn>
                <a:cxn ang="0">
                  <a:pos x="20" y="396"/>
                </a:cxn>
                <a:cxn ang="0">
                  <a:pos x="64" y="414"/>
                </a:cxn>
                <a:cxn ang="0">
                  <a:pos x="76" y="348"/>
                </a:cxn>
                <a:cxn ang="0">
                  <a:pos x="120" y="304"/>
                </a:cxn>
                <a:cxn ang="0">
                  <a:pos x="190" y="265"/>
                </a:cxn>
                <a:cxn ang="0">
                  <a:pos x="206" y="214"/>
                </a:cxn>
                <a:cxn ang="0">
                  <a:pos x="202" y="173"/>
                </a:cxn>
                <a:cxn ang="0">
                  <a:pos x="127" y="173"/>
                </a:cxn>
                <a:cxn ang="0">
                  <a:pos x="123" y="114"/>
                </a:cxn>
                <a:cxn ang="0">
                  <a:pos x="100" y="114"/>
                </a:cxn>
                <a:cxn ang="0">
                  <a:pos x="72" y="103"/>
                </a:cxn>
                <a:cxn ang="0">
                  <a:pos x="76" y="43"/>
                </a:cxn>
                <a:cxn ang="0">
                  <a:pos x="59" y="8"/>
                </a:cxn>
                <a:cxn ang="0">
                  <a:pos x="17" y="0"/>
                </a:cxn>
              </a:cxnLst>
              <a:rect l="0" t="0" r="r" b="b"/>
              <a:pathLst>
                <a:path w="206" h="414">
                  <a:moveTo>
                    <a:pt x="17" y="0"/>
                  </a:moveTo>
                  <a:lnTo>
                    <a:pt x="17" y="52"/>
                  </a:lnTo>
                  <a:lnTo>
                    <a:pt x="41" y="107"/>
                  </a:lnTo>
                  <a:lnTo>
                    <a:pt x="64" y="150"/>
                  </a:lnTo>
                  <a:lnTo>
                    <a:pt x="44" y="210"/>
                  </a:lnTo>
                  <a:lnTo>
                    <a:pt x="0" y="261"/>
                  </a:lnTo>
                  <a:lnTo>
                    <a:pt x="4" y="296"/>
                  </a:lnTo>
                  <a:lnTo>
                    <a:pt x="20" y="396"/>
                  </a:lnTo>
                  <a:lnTo>
                    <a:pt x="64" y="414"/>
                  </a:lnTo>
                  <a:lnTo>
                    <a:pt x="76" y="348"/>
                  </a:lnTo>
                  <a:lnTo>
                    <a:pt x="120" y="304"/>
                  </a:lnTo>
                  <a:lnTo>
                    <a:pt x="190" y="265"/>
                  </a:lnTo>
                  <a:lnTo>
                    <a:pt x="206" y="214"/>
                  </a:lnTo>
                  <a:lnTo>
                    <a:pt x="202" y="173"/>
                  </a:lnTo>
                  <a:lnTo>
                    <a:pt x="127" y="173"/>
                  </a:lnTo>
                  <a:lnTo>
                    <a:pt x="123" y="114"/>
                  </a:lnTo>
                  <a:lnTo>
                    <a:pt x="100" y="114"/>
                  </a:lnTo>
                  <a:lnTo>
                    <a:pt x="72" y="103"/>
                  </a:lnTo>
                  <a:lnTo>
                    <a:pt x="76" y="43"/>
                  </a:lnTo>
                  <a:lnTo>
                    <a:pt x="59" y="8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Freeform 73"/>
            <p:cNvSpPr>
              <a:spLocks noChangeAspect="1"/>
            </p:cNvSpPr>
            <p:nvPr/>
          </p:nvSpPr>
          <p:spPr bwMode="auto">
            <a:xfrm>
              <a:off x="4980690" y="5712489"/>
              <a:ext cx="232088" cy="236069"/>
            </a:xfrm>
            <a:custGeom>
              <a:avLst/>
              <a:gdLst/>
              <a:ahLst/>
              <a:cxnLst>
                <a:cxn ang="0">
                  <a:pos x="309" y="4"/>
                </a:cxn>
                <a:cxn ang="0">
                  <a:pos x="302" y="67"/>
                </a:cxn>
                <a:cxn ang="0">
                  <a:pos x="238" y="98"/>
                </a:cxn>
                <a:cxn ang="0">
                  <a:pos x="191" y="162"/>
                </a:cxn>
                <a:cxn ang="0">
                  <a:pos x="76" y="214"/>
                </a:cxn>
                <a:cxn ang="0">
                  <a:pos x="0" y="284"/>
                </a:cxn>
                <a:cxn ang="0">
                  <a:pos x="17" y="332"/>
                </a:cxn>
                <a:cxn ang="0">
                  <a:pos x="84" y="398"/>
                </a:cxn>
                <a:cxn ang="0">
                  <a:pos x="171" y="324"/>
                </a:cxn>
                <a:cxn ang="0">
                  <a:pos x="199" y="257"/>
                </a:cxn>
                <a:cxn ang="0">
                  <a:pos x="261" y="209"/>
                </a:cxn>
                <a:cxn ang="0">
                  <a:pos x="298" y="209"/>
                </a:cxn>
                <a:cxn ang="0">
                  <a:pos x="317" y="154"/>
                </a:cxn>
                <a:cxn ang="0">
                  <a:pos x="357" y="107"/>
                </a:cxn>
                <a:cxn ang="0">
                  <a:pos x="396" y="67"/>
                </a:cxn>
                <a:cxn ang="0">
                  <a:pos x="381" y="15"/>
                </a:cxn>
                <a:cxn ang="0">
                  <a:pos x="357" y="43"/>
                </a:cxn>
                <a:cxn ang="0">
                  <a:pos x="353" y="0"/>
                </a:cxn>
                <a:cxn ang="0">
                  <a:pos x="309" y="4"/>
                </a:cxn>
              </a:cxnLst>
              <a:rect l="0" t="0" r="r" b="b"/>
              <a:pathLst>
                <a:path w="396" h="398">
                  <a:moveTo>
                    <a:pt x="309" y="4"/>
                  </a:moveTo>
                  <a:lnTo>
                    <a:pt x="302" y="67"/>
                  </a:lnTo>
                  <a:lnTo>
                    <a:pt x="238" y="98"/>
                  </a:lnTo>
                  <a:lnTo>
                    <a:pt x="191" y="162"/>
                  </a:lnTo>
                  <a:lnTo>
                    <a:pt x="76" y="214"/>
                  </a:lnTo>
                  <a:lnTo>
                    <a:pt x="0" y="284"/>
                  </a:lnTo>
                  <a:lnTo>
                    <a:pt x="17" y="332"/>
                  </a:lnTo>
                  <a:lnTo>
                    <a:pt x="84" y="398"/>
                  </a:lnTo>
                  <a:lnTo>
                    <a:pt x="171" y="324"/>
                  </a:lnTo>
                  <a:lnTo>
                    <a:pt x="199" y="257"/>
                  </a:lnTo>
                  <a:lnTo>
                    <a:pt x="261" y="209"/>
                  </a:lnTo>
                  <a:lnTo>
                    <a:pt x="298" y="209"/>
                  </a:lnTo>
                  <a:lnTo>
                    <a:pt x="317" y="154"/>
                  </a:lnTo>
                  <a:lnTo>
                    <a:pt x="357" y="107"/>
                  </a:lnTo>
                  <a:lnTo>
                    <a:pt x="396" y="67"/>
                  </a:lnTo>
                  <a:lnTo>
                    <a:pt x="381" y="15"/>
                  </a:lnTo>
                  <a:lnTo>
                    <a:pt x="357" y="43"/>
                  </a:lnTo>
                  <a:lnTo>
                    <a:pt x="353" y="0"/>
                  </a:lnTo>
                  <a:lnTo>
                    <a:pt x="309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 74"/>
            <p:cNvSpPr>
              <a:spLocks noChangeAspect="1"/>
            </p:cNvSpPr>
            <p:nvPr/>
          </p:nvSpPr>
          <p:spPr bwMode="auto">
            <a:xfrm>
              <a:off x="4316074" y="2906284"/>
              <a:ext cx="128352" cy="165071"/>
            </a:xfrm>
            <a:custGeom>
              <a:avLst/>
              <a:gdLst/>
              <a:ahLst/>
              <a:cxnLst>
                <a:cxn ang="0">
                  <a:pos x="35" y="22"/>
                </a:cxn>
                <a:cxn ang="0">
                  <a:pos x="47" y="83"/>
                </a:cxn>
                <a:cxn ang="0">
                  <a:pos x="51" y="134"/>
                </a:cxn>
                <a:cxn ang="0">
                  <a:pos x="23" y="184"/>
                </a:cxn>
                <a:cxn ang="0">
                  <a:pos x="0" y="228"/>
                </a:cxn>
                <a:cxn ang="0">
                  <a:pos x="27" y="252"/>
                </a:cxn>
                <a:cxn ang="0">
                  <a:pos x="79" y="232"/>
                </a:cxn>
                <a:cxn ang="0">
                  <a:pos x="130" y="245"/>
                </a:cxn>
                <a:cxn ang="0">
                  <a:pos x="130" y="245"/>
                </a:cxn>
                <a:cxn ang="0">
                  <a:pos x="141" y="265"/>
                </a:cxn>
                <a:cxn ang="0">
                  <a:pos x="150" y="276"/>
                </a:cxn>
                <a:cxn ang="0">
                  <a:pos x="153" y="277"/>
                </a:cxn>
                <a:cxn ang="0">
                  <a:pos x="154" y="277"/>
                </a:cxn>
                <a:cxn ang="0">
                  <a:pos x="154" y="276"/>
                </a:cxn>
                <a:cxn ang="0">
                  <a:pos x="154" y="276"/>
                </a:cxn>
                <a:cxn ang="0">
                  <a:pos x="155" y="270"/>
                </a:cxn>
                <a:cxn ang="0">
                  <a:pos x="159" y="261"/>
                </a:cxn>
                <a:cxn ang="0">
                  <a:pos x="169" y="238"/>
                </a:cxn>
                <a:cxn ang="0">
                  <a:pos x="185" y="208"/>
                </a:cxn>
                <a:cxn ang="0">
                  <a:pos x="217" y="193"/>
                </a:cxn>
                <a:cxn ang="0">
                  <a:pos x="209" y="134"/>
                </a:cxn>
                <a:cxn ang="0">
                  <a:pos x="161" y="118"/>
                </a:cxn>
                <a:cxn ang="0">
                  <a:pos x="95" y="94"/>
                </a:cxn>
                <a:cxn ang="0">
                  <a:pos x="75" y="42"/>
                </a:cxn>
                <a:cxn ang="0">
                  <a:pos x="55" y="0"/>
                </a:cxn>
                <a:cxn ang="0">
                  <a:pos x="35" y="22"/>
                </a:cxn>
              </a:cxnLst>
              <a:rect l="0" t="0" r="r" b="b"/>
              <a:pathLst>
                <a:path w="217" h="277">
                  <a:moveTo>
                    <a:pt x="35" y="22"/>
                  </a:moveTo>
                  <a:lnTo>
                    <a:pt x="47" y="83"/>
                  </a:lnTo>
                  <a:lnTo>
                    <a:pt x="51" y="134"/>
                  </a:lnTo>
                  <a:lnTo>
                    <a:pt x="23" y="184"/>
                  </a:lnTo>
                  <a:lnTo>
                    <a:pt x="0" y="228"/>
                  </a:lnTo>
                  <a:lnTo>
                    <a:pt x="27" y="252"/>
                  </a:lnTo>
                  <a:lnTo>
                    <a:pt x="79" y="232"/>
                  </a:lnTo>
                  <a:lnTo>
                    <a:pt x="130" y="245"/>
                  </a:lnTo>
                  <a:lnTo>
                    <a:pt x="130" y="245"/>
                  </a:lnTo>
                  <a:lnTo>
                    <a:pt x="141" y="265"/>
                  </a:lnTo>
                  <a:lnTo>
                    <a:pt x="150" y="276"/>
                  </a:lnTo>
                  <a:lnTo>
                    <a:pt x="153" y="277"/>
                  </a:lnTo>
                  <a:lnTo>
                    <a:pt x="154" y="277"/>
                  </a:lnTo>
                  <a:lnTo>
                    <a:pt x="154" y="276"/>
                  </a:lnTo>
                  <a:lnTo>
                    <a:pt x="154" y="276"/>
                  </a:lnTo>
                  <a:lnTo>
                    <a:pt x="155" y="270"/>
                  </a:lnTo>
                  <a:lnTo>
                    <a:pt x="159" y="261"/>
                  </a:lnTo>
                  <a:lnTo>
                    <a:pt x="169" y="238"/>
                  </a:lnTo>
                  <a:lnTo>
                    <a:pt x="185" y="208"/>
                  </a:lnTo>
                  <a:lnTo>
                    <a:pt x="217" y="193"/>
                  </a:lnTo>
                  <a:lnTo>
                    <a:pt x="209" y="134"/>
                  </a:lnTo>
                  <a:lnTo>
                    <a:pt x="161" y="118"/>
                  </a:lnTo>
                  <a:lnTo>
                    <a:pt x="95" y="94"/>
                  </a:lnTo>
                  <a:lnTo>
                    <a:pt x="75" y="42"/>
                  </a:lnTo>
                  <a:lnTo>
                    <a:pt x="55" y="0"/>
                  </a:lnTo>
                  <a:lnTo>
                    <a:pt x="35" y="2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eform 75"/>
            <p:cNvSpPr>
              <a:spLocks noChangeAspect="1"/>
            </p:cNvSpPr>
            <p:nvPr/>
          </p:nvSpPr>
          <p:spPr bwMode="auto">
            <a:xfrm>
              <a:off x="4163106" y="3087329"/>
              <a:ext cx="249671" cy="264468"/>
            </a:xfrm>
            <a:custGeom>
              <a:avLst/>
              <a:gdLst/>
              <a:ahLst/>
              <a:cxnLst>
                <a:cxn ang="0">
                  <a:pos x="317" y="0"/>
                </a:cxn>
                <a:cxn ang="0">
                  <a:pos x="361" y="0"/>
                </a:cxn>
                <a:cxn ang="0">
                  <a:pos x="376" y="75"/>
                </a:cxn>
                <a:cxn ang="0">
                  <a:pos x="392" y="106"/>
                </a:cxn>
                <a:cxn ang="0">
                  <a:pos x="427" y="141"/>
                </a:cxn>
                <a:cxn ang="0">
                  <a:pos x="372" y="189"/>
                </a:cxn>
                <a:cxn ang="0">
                  <a:pos x="396" y="272"/>
                </a:cxn>
                <a:cxn ang="0">
                  <a:pos x="385" y="324"/>
                </a:cxn>
                <a:cxn ang="0">
                  <a:pos x="361" y="351"/>
                </a:cxn>
                <a:cxn ang="0">
                  <a:pos x="337" y="359"/>
                </a:cxn>
                <a:cxn ang="0">
                  <a:pos x="321" y="399"/>
                </a:cxn>
                <a:cxn ang="0">
                  <a:pos x="289" y="362"/>
                </a:cxn>
                <a:cxn ang="0">
                  <a:pos x="274" y="383"/>
                </a:cxn>
                <a:cxn ang="0">
                  <a:pos x="214" y="386"/>
                </a:cxn>
                <a:cxn ang="0">
                  <a:pos x="203" y="359"/>
                </a:cxn>
                <a:cxn ang="0">
                  <a:pos x="179" y="367"/>
                </a:cxn>
                <a:cxn ang="0">
                  <a:pos x="179" y="438"/>
                </a:cxn>
                <a:cxn ang="0">
                  <a:pos x="147" y="419"/>
                </a:cxn>
                <a:cxn ang="0">
                  <a:pos x="127" y="390"/>
                </a:cxn>
                <a:cxn ang="0">
                  <a:pos x="116" y="438"/>
                </a:cxn>
                <a:cxn ang="0">
                  <a:pos x="88" y="447"/>
                </a:cxn>
                <a:cxn ang="0">
                  <a:pos x="61" y="410"/>
                </a:cxn>
                <a:cxn ang="0">
                  <a:pos x="24" y="406"/>
                </a:cxn>
                <a:cxn ang="0">
                  <a:pos x="0" y="386"/>
                </a:cxn>
                <a:cxn ang="0">
                  <a:pos x="37" y="351"/>
                </a:cxn>
                <a:cxn ang="0">
                  <a:pos x="76" y="327"/>
                </a:cxn>
                <a:cxn ang="0">
                  <a:pos x="103" y="303"/>
                </a:cxn>
                <a:cxn ang="0">
                  <a:pos x="175" y="312"/>
                </a:cxn>
                <a:cxn ang="0">
                  <a:pos x="179" y="265"/>
                </a:cxn>
                <a:cxn ang="0">
                  <a:pos x="195" y="224"/>
                </a:cxn>
                <a:cxn ang="0">
                  <a:pos x="218" y="237"/>
                </a:cxn>
                <a:cxn ang="0">
                  <a:pos x="282" y="228"/>
                </a:cxn>
                <a:cxn ang="0">
                  <a:pos x="289" y="193"/>
                </a:cxn>
                <a:cxn ang="0">
                  <a:pos x="289" y="138"/>
                </a:cxn>
                <a:cxn ang="0">
                  <a:pos x="309" y="106"/>
                </a:cxn>
                <a:cxn ang="0">
                  <a:pos x="293" y="31"/>
                </a:cxn>
                <a:cxn ang="0">
                  <a:pos x="317" y="0"/>
                </a:cxn>
              </a:cxnLst>
              <a:rect l="0" t="0" r="r" b="b"/>
              <a:pathLst>
                <a:path w="427" h="447">
                  <a:moveTo>
                    <a:pt x="317" y="0"/>
                  </a:moveTo>
                  <a:lnTo>
                    <a:pt x="361" y="0"/>
                  </a:lnTo>
                  <a:lnTo>
                    <a:pt x="376" y="75"/>
                  </a:lnTo>
                  <a:lnTo>
                    <a:pt x="392" y="106"/>
                  </a:lnTo>
                  <a:lnTo>
                    <a:pt x="427" y="141"/>
                  </a:lnTo>
                  <a:lnTo>
                    <a:pt x="372" y="189"/>
                  </a:lnTo>
                  <a:lnTo>
                    <a:pt x="396" y="272"/>
                  </a:lnTo>
                  <a:lnTo>
                    <a:pt x="385" y="324"/>
                  </a:lnTo>
                  <a:lnTo>
                    <a:pt x="361" y="351"/>
                  </a:lnTo>
                  <a:lnTo>
                    <a:pt x="337" y="359"/>
                  </a:lnTo>
                  <a:lnTo>
                    <a:pt x="321" y="399"/>
                  </a:lnTo>
                  <a:lnTo>
                    <a:pt x="289" y="362"/>
                  </a:lnTo>
                  <a:lnTo>
                    <a:pt x="274" y="383"/>
                  </a:lnTo>
                  <a:lnTo>
                    <a:pt x="214" y="386"/>
                  </a:lnTo>
                  <a:lnTo>
                    <a:pt x="203" y="359"/>
                  </a:lnTo>
                  <a:lnTo>
                    <a:pt x="179" y="367"/>
                  </a:lnTo>
                  <a:lnTo>
                    <a:pt x="179" y="438"/>
                  </a:lnTo>
                  <a:lnTo>
                    <a:pt x="147" y="419"/>
                  </a:lnTo>
                  <a:lnTo>
                    <a:pt x="127" y="390"/>
                  </a:lnTo>
                  <a:lnTo>
                    <a:pt x="116" y="438"/>
                  </a:lnTo>
                  <a:lnTo>
                    <a:pt x="88" y="447"/>
                  </a:lnTo>
                  <a:lnTo>
                    <a:pt x="61" y="410"/>
                  </a:lnTo>
                  <a:lnTo>
                    <a:pt x="24" y="406"/>
                  </a:lnTo>
                  <a:lnTo>
                    <a:pt x="0" y="386"/>
                  </a:lnTo>
                  <a:lnTo>
                    <a:pt x="37" y="351"/>
                  </a:lnTo>
                  <a:lnTo>
                    <a:pt x="76" y="327"/>
                  </a:lnTo>
                  <a:lnTo>
                    <a:pt x="103" y="303"/>
                  </a:lnTo>
                  <a:lnTo>
                    <a:pt x="175" y="312"/>
                  </a:lnTo>
                  <a:lnTo>
                    <a:pt x="179" y="265"/>
                  </a:lnTo>
                  <a:lnTo>
                    <a:pt x="195" y="224"/>
                  </a:lnTo>
                  <a:lnTo>
                    <a:pt x="218" y="237"/>
                  </a:lnTo>
                  <a:lnTo>
                    <a:pt x="282" y="228"/>
                  </a:lnTo>
                  <a:lnTo>
                    <a:pt x="289" y="193"/>
                  </a:lnTo>
                  <a:lnTo>
                    <a:pt x="289" y="138"/>
                  </a:lnTo>
                  <a:lnTo>
                    <a:pt x="309" y="106"/>
                  </a:lnTo>
                  <a:lnTo>
                    <a:pt x="293" y="31"/>
                  </a:lnTo>
                  <a:lnTo>
                    <a:pt x="317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 76"/>
            <p:cNvSpPr>
              <a:spLocks noChangeAspect="1"/>
            </p:cNvSpPr>
            <p:nvPr/>
          </p:nvSpPr>
          <p:spPr bwMode="auto">
            <a:xfrm>
              <a:off x="4189480" y="3362448"/>
              <a:ext cx="29890" cy="28399"/>
            </a:xfrm>
            <a:custGeom>
              <a:avLst/>
              <a:gdLst/>
              <a:ahLst/>
              <a:cxnLst>
                <a:cxn ang="0">
                  <a:pos x="4" y="17"/>
                </a:cxn>
                <a:cxn ang="0">
                  <a:pos x="0" y="48"/>
                </a:cxn>
                <a:cxn ang="0">
                  <a:pos x="28" y="48"/>
                </a:cxn>
                <a:cxn ang="0">
                  <a:pos x="52" y="17"/>
                </a:cxn>
                <a:cxn ang="0">
                  <a:pos x="24" y="0"/>
                </a:cxn>
                <a:cxn ang="0">
                  <a:pos x="4" y="4"/>
                </a:cxn>
                <a:cxn ang="0">
                  <a:pos x="4" y="17"/>
                </a:cxn>
              </a:cxnLst>
              <a:rect l="0" t="0" r="r" b="b"/>
              <a:pathLst>
                <a:path w="52" h="48">
                  <a:moveTo>
                    <a:pt x="4" y="17"/>
                  </a:moveTo>
                  <a:lnTo>
                    <a:pt x="0" y="48"/>
                  </a:lnTo>
                  <a:lnTo>
                    <a:pt x="28" y="48"/>
                  </a:lnTo>
                  <a:lnTo>
                    <a:pt x="52" y="17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1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77"/>
            <p:cNvSpPr>
              <a:spLocks noChangeAspect="1"/>
            </p:cNvSpPr>
            <p:nvPr/>
          </p:nvSpPr>
          <p:spPr bwMode="auto">
            <a:xfrm>
              <a:off x="4189480" y="3362448"/>
              <a:ext cx="29890" cy="28399"/>
            </a:xfrm>
            <a:custGeom>
              <a:avLst/>
              <a:gdLst/>
              <a:ahLst/>
              <a:cxnLst>
                <a:cxn ang="0">
                  <a:pos x="4" y="17"/>
                </a:cxn>
                <a:cxn ang="0">
                  <a:pos x="0" y="48"/>
                </a:cxn>
                <a:cxn ang="0">
                  <a:pos x="28" y="48"/>
                </a:cxn>
                <a:cxn ang="0">
                  <a:pos x="52" y="17"/>
                </a:cxn>
                <a:cxn ang="0">
                  <a:pos x="24" y="0"/>
                </a:cxn>
                <a:cxn ang="0">
                  <a:pos x="4" y="4"/>
                </a:cxn>
              </a:cxnLst>
              <a:rect l="0" t="0" r="r" b="b"/>
              <a:pathLst>
                <a:path w="52" h="48">
                  <a:moveTo>
                    <a:pt x="4" y="17"/>
                  </a:moveTo>
                  <a:lnTo>
                    <a:pt x="0" y="48"/>
                  </a:lnTo>
                  <a:lnTo>
                    <a:pt x="28" y="48"/>
                  </a:lnTo>
                  <a:lnTo>
                    <a:pt x="52" y="17"/>
                  </a:lnTo>
                  <a:lnTo>
                    <a:pt x="24" y="0"/>
                  </a:lnTo>
                  <a:lnTo>
                    <a:pt x="4" y="4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Freeform 78"/>
            <p:cNvSpPr>
              <a:spLocks noChangeAspect="1"/>
            </p:cNvSpPr>
            <p:nvPr/>
          </p:nvSpPr>
          <p:spPr bwMode="auto">
            <a:xfrm>
              <a:off x="4103326" y="3339373"/>
              <a:ext cx="63297" cy="97623"/>
            </a:xfrm>
            <a:custGeom>
              <a:avLst/>
              <a:gdLst/>
              <a:ahLst/>
              <a:cxnLst>
                <a:cxn ang="0">
                  <a:pos x="46" y="16"/>
                </a:cxn>
                <a:cxn ang="0">
                  <a:pos x="27" y="48"/>
                </a:cxn>
                <a:cxn ang="0">
                  <a:pos x="0" y="63"/>
                </a:cxn>
                <a:cxn ang="0">
                  <a:pos x="22" y="111"/>
                </a:cxn>
                <a:cxn ang="0">
                  <a:pos x="46" y="87"/>
                </a:cxn>
                <a:cxn ang="0">
                  <a:pos x="66" y="95"/>
                </a:cxn>
                <a:cxn ang="0">
                  <a:pos x="59" y="127"/>
                </a:cxn>
                <a:cxn ang="0">
                  <a:pos x="78" y="166"/>
                </a:cxn>
                <a:cxn ang="0">
                  <a:pos x="106" y="146"/>
                </a:cxn>
                <a:cxn ang="0">
                  <a:pos x="106" y="98"/>
                </a:cxn>
                <a:cxn ang="0">
                  <a:pos x="98" y="24"/>
                </a:cxn>
                <a:cxn ang="0">
                  <a:pos x="83" y="0"/>
                </a:cxn>
                <a:cxn ang="0">
                  <a:pos x="46" y="16"/>
                </a:cxn>
              </a:cxnLst>
              <a:rect l="0" t="0" r="r" b="b"/>
              <a:pathLst>
                <a:path w="106" h="166">
                  <a:moveTo>
                    <a:pt x="46" y="16"/>
                  </a:moveTo>
                  <a:lnTo>
                    <a:pt x="27" y="48"/>
                  </a:lnTo>
                  <a:lnTo>
                    <a:pt x="0" y="63"/>
                  </a:lnTo>
                  <a:lnTo>
                    <a:pt x="22" y="111"/>
                  </a:lnTo>
                  <a:lnTo>
                    <a:pt x="46" y="87"/>
                  </a:lnTo>
                  <a:lnTo>
                    <a:pt x="66" y="95"/>
                  </a:lnTo>
                  <a:lnTo>
                    <a:pt x="59" y="127"/>
                  </a:lnTo>
                  <a:lnTo>
                    <a:pt x="78" y="166"/>
                  </a:lnTo>
                  <a:lnTo>
                    <a:pt x="106" y="146"/>
                  </a:lnTo>
                  <a:lnTo>
                    <a:pt x="106" y="98"/>
                  </a:lnTo>
                  <a:lnTo>
                    <a:pt x="98" y="24"/>
                  </a:lnTo>
                  <a:lnTo>
                    <a:pt x="83" y="0"/>
                  </a:lnTo>
                  <a:lnTo>
                    <a:pt x="46" y="1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Freeform 79"/>
            <p:cNvSpPr>
              <a:spLocks noChangeAspect="1"/>
            </p:cNvSpPr>
            <p:nvPr/>
          </p:nvSpPr>
          <p:spPr bwMode="auto">
            <a:xfrm>
              <a:off x="5080910" y="5052206"/>
              <a:ext cx="66813" cy="55024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0" y="17"/>
                </a:cxn>
                <a:cxn ang="0">
                  <a:pos x="24" y="44"/>
                </a:cxn>
                <a:cxn ang="0">
                  <a:pos x="59" y="72"/>
                </a:cxn>
                <a:cxn ang="0">
                  <a:pos x="103" y="91"/>
                </a:cxn>
                <a:cxn ang="0">
                  <a:pos x="114" y="63"/>
                </a:cxn>
                <a:cxn ang="0">
                  <a:pos x="83" y="17"/>
                </a:cxn>
                <a:cxn ang="0">
                  <a:pos x="35" y="0"/>
                </a:cxn>
              </a:cxnLst>
              <a:rect l="0" t="0" r="r" b="b"/>
              <a:pathLst>
                <a:path w="114" h="91">
                  <a:moveTo>
                    <a:pt x="35" y="0"/>
                  </a:moveTo>
                  <a:lnTo>
                    <a:pt x="0" y="17"/>
                  </a:lnTo>
                  <a:lnTo>
                    <a:pt x="24" y="44"/>
                  </a:lnTo>
                  <a:lnTo>
                    <a:pt x="59" y="72"/>
                  </a:lnTo>
                  <a:lnTo>
                    <a:pt x="103" y="91"/>
                  </a:lnTo>
                  <a:lnTo>
                    <a:pt x="114" y="63"/>
                  </a:lnTo>
                  <a:lnTo>
                    <a:pt x="83" y="17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Freeform 80"/>
            <p:cNvSpPr>
              <a:spLocks noChangeAspect="1"/>
            </p:cNvSpPr>
            <p:nvPr/>
          </p:nvSpPr>
          <p:spPr bwMode="auto">
            <a:xfrm>
              <a:off x="968377" y="1449045"/>
              <a:ext cx="304176" cy="182820"/>
            </a:xfrm>
            <a:custGeom>
              <a:avLst/>
              <a:gdLst/>
              <a:ahLst/>
              <a:cxnLst>
                <a:cxn ang="0">
                  <a:pos x="204" y="8"/>
                </a:cxn>
                <a:cxn ang="0">
                  <a:pos x="189" y="71"/>
                </a:cxn>
                <a:cxn ang="0">
                  <a:pos x="134" y="32"/>
                </a:cxn>
                <a:cxn ang="0">
                  <a:pos x="86" y="63"/>
                </a:cxn>
                <a:cxn ang="0">
                  <a:pos x="63" y="8"/>
                </a:cxn>
                <a:cxn ang="0">
                  <a:pos x="0" y="56"/>
                </a:cxn>
                <a:cxn ang="0">
                  <a:pos x="15" y="87"/>
                </a:cxn>
                <a:cxn ang="0">
                  <a:pos x="24" y="142"/>
                </a:cxn>
                <a:cxn ang="0">
                  <a:pos x="94" y="150"/>
                </a:cxn>
                <a:cxn ang="0">
                  <a:pos x="134" y="111"/>
                </a:cxn>
                <a:cxn ang="0">
                  <a:pos x="166" y="118"/>
                </a:cxn>
                <a:cxn ang="0">
                  <a:pos x="149" y="166"/>
                </a:cxn>
                <a:cxn ang="0">
                  <a:pos x="142" y="205"/>
                </a:cxn>
                <a:cxn ang="0">
                  <a:pos x="182" y="236"/>
                </a:cxn>
                <a:cxn ang="0">
                  <a:pos x="213" y="293"/>
                </a:cxn>
                <a:cxn ang="0">
                  <a:pos x="261" y="308"/>
                </a:cxn>
                <a:cxn ang="0">
                  <a:pos x="276" y="229"/>
                </a:cxn>
                <a:cxn ang="0">
                  <a:pos x="339" y="159"/>
                </a:cxn>
                <a:cxn ang="0">
                  <a:pos x="379" y="181"/>
                </a:cxn>
                <a:cxn ang="0">
                  <a:pos x="379" y="236"/>
                </a:cxn>
                <a:cxn ang="0">
                  <a:pos x="458" y="229"/>
                </a:cxn>
                <a:cxn ang="0">
                  <a:pos x="489" y="245"/>
                </a:cxn>
                <a:cxn ang="0">
                  <a:pos x="521" y="190"/>
                </a:cxn>
                <a:cxn ang="0">
                  <a:pos x="339" y="94"/>
                </a:cxn>
                <a:cxn ang="0">
                  <a:pos x="284" y="0"/>
                </a:cxn>
                <a:cxn ang="0">
                  <a:pos x="204" y="8"/>
                </a:cxn>
              </a:cxnLst>
              <a:rect l="0" t="0" r="r" b="b"/>
              <a:pathLst>
                <a:path w="521" h="308">
                  <a:moveTo>
                    <a:pt x="204" y="8"/>
                  </a:moveTo>
                  <a:lnTo>
                    <a:pt x="189" y="71"/>
                  </a:lnTo>
                  <a:lnTo>
                    <a:pt x="134" y="32"/>
                  </a:lnTo>
                  <a:lnTo>
                    <a:pt x="86" y="63"/>
                  </a:lnTo>
                  <a:lnTo>
                    <a:pt x="63" y="8"/>
                  </a:lnTo>
                  <a:lnTo>
                    <a:pt x="0" y="56"/>
                  </a:lnTo>
                  <a:lnTo>
                    <a:pt x="15" y="87"/>
                  </a:lnTo>
                  <a:lnTo>
                    <a:pt x="24" y="142"/>
                  </a:lnTo>
                  <a:lnTo>
                    <a:pt x="94" y="150"/>
                  </a:lnTo>
                  <a:lnTo>
                    <a:pt x="134" y="111"/>
                  </a:lnTo>
                  <a:lnTo>
                    <a:pt x="166" y="118"/>
                  </a:lnTo>
                  <a:lnTo>
                    <a:pt x="149" y="166"/>
                  </a:lnTo>
                  <a:lnTo>
                    <a:pt x="142" y="205"/>
                  </a:lnTo>
                  <a:lnTo>
                    <a:pt x="182" y="236"/>
                  </a:lnTo>
                  <a:lnTo>
                    <a:pt x="213" y="293"/>
                  </a:lnTo>
                  <a:lnTo>
                    <a:pt x="261" y="308"/>
                  </a:lnTo>
                  <a:lnTo>
                    <a:pt x="276" y="229"/>
                  </a:lnTo>
                  <a:lnTo>
                    <a:pt x="339" y="159"/>
                  </a:lnTo>
                  <a:lnTo>
                    <a:pt x="379" y="181"/>
                  </a:lnTo>
                  <a:lnTo>
                    <a:pt x="379" y="236"/>
                  </a:lnTo>
                  <a:lnTo>
                    <a:pt x="458" y="229"/>
                  </a:lnTo>
                  <a:lnTo>
                    <a:pt x="489" y="245"/>
                  </a:lnTo>
                  <a:lnTo>
                    <a:pt x="521" y="190"/>
                  </a:lnTo>
                  <a:lnTo>
                    <a:pt x="339" y="94"/>
                  </a:lnTo>
                  <a:lnTo>
                    <a:pt x="284" y="0"/>
                  </a:lnTo>
                  <a:lnTo>
                    <a:pt x="204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 81"/>
            <p:cNvSpPr>
              <a:spLocks noChangeAspect="1"/>
            </p:cNvSpPr>
            <p:nvPr/>
          </p:nvSpPr>
          <p:spPr bwMode="auto">
            <a:xfrm>
              <a:off x="1172333" y="1425971"/>
              <a:ext cx="170550" cy="7099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5" y="87"/>
                </a:cxn>
                <a:cxn ang="0">
                  <a:pos x="134" y="119"/>
                </a:cxn>
                <a:cxn ang="0">
                  <a:pos x="221" y="87"/>
                </a:cxn>
                <a:cxn ang="0">
                  <a:pos x="292" y="16"/>
                </a:cxn>
                <a:cxn ang="0">
                  <a:pos x="165" y="16"/>
                </a:cxn>
                <a:cxn ang="0">
                  <a:pos x="94" y="0"/>
                </a:cxn>
                <a:cxn ang="0">
                  <a:pos x="0" y="8"/>
                </a:cxn>
              </a:cxnLst>
              <a:rect l="0" t="0" r="r" b="b"/>
              <a:pathLst>
                <a:path w="292" h="119">
                  <a:moveTo>
                    <a:pt x="0" y="8"/>
                  </a:moveTo>
                  <a:lnTo>
                    <a:pt x="15" y="87"/>
                  </a:lnTo>
                  <a:lnTo>
                    <a:pt x="134" y="119"/>
                  </a:lnTo>
                  <a:lnTo>
                    <a:pt x="221" y="87"/>
                  </a:lnTo>
                  <a:lnTo>
                    <a:pt x="292" y="16"/>
                  </a:lnTo>
                  <a:lnTo>
                    <a:pt x="165" y="16"/>
                  </a:lnTo>
                  <a:lnTo>
                    <a:pt x="94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 82"/>
            <p:cNvSpPr>
              <a:spLocks noChangeAspect="1"/>
            </p:cNvSpPr>
            <p:nvPr/>
          </p:nvSpPr>
          <p:spPr bwMode="auto">
            <a:xfrm>
              <a:off x="6919396" y="3830707"/>
              <a:ext cx="49231" cy="88748"/>
            </a:xfrm>
            <a:custGeom>
              <a:avLst/>
              <a:gdLst/>
              <a:ahLst/>
              <a:cxnLst>
                <a:cxn ang="0">
                  <a:pos x="5" y="40"/>
                </a:cxn>
                <a:cxn ang="0">
                  <a:pos x="29" y="33"/>
                </a:cxn>
                <a:cxn ang="0">
                  <a:pos x="84" y="0"/>
                </a:cxn>
                <a:cxn ang="0">
                  <a:pos x="75" y="62"/>
                </a:cxn>
                <a:cxn ang="0">
                  <a:pos x="84" y="127"/>
                </a:cxn>
                <a:cxn ang="0">
                  <a:pos x="53" y="147"/>
                </a:cxn>
                <a:cxn ang="0">
                  <a:pos x="25" y="151"/>
                </a:cxn>
                <a:cxn ang="0">
                  <a:pos x="0" y="144"/>
                </a:cxn>
                <a:cxn ang="0">
                  <a:pos x="0" y="100"/>
                </a:cxn>
                <a:cxn ang="0">
                  <a:pos x="5" y="40"/>
                </a:cxn>
              </a:cxnLst>
              <a:rect l="0" t="0" r="r" b="b"/>
              <a:pathLst>
                <a:path w="84" h="151">
                  <a:moveTo>
                    <a:pt x="5" y="40"/>
                  </a:moveTo>
                  <a:lnTo>
                    <a:pt x="29" y="33"/>
                  </a:lnTo>
                  <a:lnTo>
                    <a:pt x="84" y="0"/>
                  </a:lnTo>
                  <a:lnTo>
                    <a:pt x="75" y="62"/>
                  </a:lnTo>
                  <a:lnTo>
                    <a:pt x="84" y="127"/>
                  </a:lnTo>
                  <a:lnTo>
                    <a:pt x="53" y="147"/>
                  </a:lnTo>
                  <a:lnTo>
                    <a:pt x="25" y="151"/>
                  </a:lnTo>
                  <a:lnTo>
                    <a:pt x="0" y="144"/>
                  </a:lnTo>
                  <a:lnTo>
                    <a:pt x="0" y="100"/>
                  </a:lnTo>
                  <a:lnTo>
                    <a:pt x="5" y="4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Freeform 83"/>
            <p:cNvSpPr>
              <a:spLocks noChangeAspect="1"/>
            </p:cNvSpPr>
            <p:nvPr/>
          </p:nvSpPr>
          <p:spPr bwMode="auto">
            <a:xfrm>
              <a:off x="7002033" y="4066776"/>
              <a:ext cx="87912" cy="55024"/>
            </a:xfrm>
            <a:custGeom>
              <a:avLst/>
              <a:gdLst/>
              <a:ahLst/>
              <a:cxnLst>
                <a:cxn ang="0">
                  <a:pos x="103" y="4"/>
                </a:cxn>
                <a:cxn ang="0">
                  <a:pos x="5" y="0"/>
                </a:cxn>
                <a:cxn ang="0">
                  <a:pos x="0" y="36"/>
                </a:cxn>
                <a:cxn ang="0">
                  <a:pos x="24" y="72"/>
                </a:cxn>
                <a:cxn ang="0">
                  <a:pos x="111" y="95"/>
                </a:cxn>
                <a:cxn ang="0">
                  <a:pos x="150" y="75"/>
                </a:cxn>
                <a:cxn ang="0">
                  <a:pos x="147" y="33"/>
                </a:cxn>
                <a:cxn ang="0">
                  <a:pos x="103" y="4"/>
                </a:cxn>
              </a:cxnLst>
              <a:rect l="0" t="0" r="r" b="b"/>
              <a:pathLst>
                <a:path w="150" h="95">
                  <a:moveTo>
                    <a:pt x="103" y="4"/>
                  </a:moveTo>
                  <a:lnTo>
                    <a:pt x="5" y="0"/>
                  </a:lnTo>
                  <a:lnTo>
                    <a:pt x="0" y="36"/>
                  </a:lnTo>
                  <a:lnTo>
                    <a:pt x="24" y="72"/>
                  </a:lnTo>
                  <a:lnTo>
                    <a:pt x="111" y="95"/>
                  </a:lnTo>
                  <a:lnTo>
                    <a:pt x="150" y="75"/>
                  </a:lnTo>
                  <a:lnTo>
                    <a:pt x="147" y="33"/>
                  </a:lnTo>
                  <a:lnTo>
                    <a:pt x="103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 84"/>
            <p:cNvSpPr>
              <a:spLocks noChangeAspect="1"/>
            </p:cNvSpPr>
            <p:nvPr/>
          </p:nvSpPr>
          <p:spPr bwMode="auto">
            <a:xfrm>
              <a:off x="7336100" y="4017077"/>
              <a:ext cx="351649" cy="358541"/>
            </a:xfrm>
            <a:custGeom>
              <a:avLst/>
              <a:gdLst/>
              <a:ahLst/>
              <a:cxnLst>
                <a:cxn ang="0">
                  <a:pos x="86" y="17"/>
                </a:cxn>
                <a:cxn ang="0">
                  <a:pos x="51" y="59"/>
                </a:cxn>
                <a:cxn ang="0">
                  <a:pos x="31" y="135"/>
                </a:cxn>
                <a:cxn ang="0">
                  <a:pos x="0" y="155"/>
                </a:cxn>
                <a:cxn ang="0">
                  <a:pos x="39" y="210"/>
                </a:cxn>
                <a:cxn ang="0">
                  <a:pos x="27" y="265"/>
                </a:cxn>
                <a:cxn ang="0">
                  <a:pos x="110" y="269"/>
                </a:cxn>
                <a:cxn ang="0">
                  <a:pos x="114" y="300"/>
                </a:cxn>
                <a:cxn ang="0">
                  <a:pos x="180" y="333"/>
                </a:cxn>
                <a:cxn ang="0">
                  <a:pos x="252" y="357"/>
                </a:cxn>
                <a:cxn ang="0">
                  <a:pos x="252" y="447"/>
                </a:cxn>
                <a:cxn ang="0">
                  <a:pos x="237" y="502"/>
                </a:cxn>
                <a:cxn ang="0">
                  <a:pos x="244" y="546"/>
                </a:cxn>
                <a:cxn ang="0">
                  <a:pos x="272" y="558"/>
                </a:cxn>
                <a:cxn ang="0">
                  <a:pos x="296" y="589"/>
                </a:cxn>
                <a:cxn ang="0">
                  <a:pos x="331" y="607"/>
                </a:cxn>
                <a:cxn ang="0">
                  <a:pos x="379" y="602"/>
                </a:cxn>
                <a:cxn ang="0">
                  <a:pos x="418" y="569"/>
                </a:cxn>
                <a:cxn ang="0">
                  <a:pos x="416" y="536"/>
                </a:cxn>
                <a:cxn ang="0">
                  <a:pos x="385" y="516"/>
                </a:cxn>
                <a:cxn ang="0">
                  <a:pos x="380" y="489"/>
                </a:cxn>
                <a:cxn ang="0">
                  <a:pos x="389" y="447"/>
                </a:cxn>
                <a:cxn ang="0">
                  <a:pos x="408" y="440"/>
                </a:cxn>
                <a:cxn ang="0">
                  <a:pos x="448" y="475"/>
                </a:cxn>
                <a:cxn ang="0">
                  <a:pos x="473" y="457"/>
                </a:cxn>
                <a:cxn ang="0">
                  <a:pos x="552" y="453"/>
                </a:cxn>
                <a:cxn ang="0">
                  <a:pos x="566" y="421"/>
                </a:cxn>
                <a:cxn ang="0">
                  <a:pos x="565" y="389"/>
                </a:cxn>
                <a:cxn ang="0">
                  <a:pos x="545" y="362"/>
                </a:cxn>
                <a:cxn ang="0">
                  <a:pos x="547" y="317"/>
                </a:cxn>
                <a:cxn ang="0">
                  <a:pos x="572" y="292"/>
                </a:cxn>
                <a:cxn ang="0">
                  <a:pos x="582" y="268"/>
                </a:cxn>
                <a:cxn ang="0">
                  <a:pos x="600" y="248"/>
                </a:cxn>
                <a:cxn ang="0">
                  <a:pos x="599" y="202"/>
                </a:cxn>
                <a:cxn ang="0">
                  <a:pos x="580" y="192"/>
                </a:cxn>
                <a:cxn ang="0">
                  <a:pos x="565" y="148"/>
                </a:cxn>
                <a:cxn ang="0">
                  <a:pos x="542" y="125"/>
                </a:cxn>
                <a:cxn ang="0">
                  <a:pos x="556" y="109"/>
                </a:cxn>
                <a:cxn ang="0">
                  <a:pos x="556" y="87"/>
                </a:cxn>
                <a:cxn ang="0">
                  <a:pos x="486" y="86"/>
                </a:cxn>
                <a:cxn ang="0">
                  <a:pos x="434" y="93"/>
                </a:cxn>
                <a:cxn ang="0">
                  <a:pos x="404" y="117"/>
                </a:cxn>
                <a:cxn ang="0">
                  <a:pos x="366" y="111"/>
                </a:cxn>
                <a:cxn ang="0">
                  <a:pos x="270" y="106"/>
                </a:cxn>
                <a:cxn ang="0">
                  <a:pos x="260" y="78"/>
                </a:cxn>
                <a:cxn ang="0">
                  <a:pos x="234" y="69"/>
                </a:cxn>
                <a:cxn ang="0">
                  <a:pos x="194" y="55"/>
                </a:cxn>
                <a:cxn ang="0">
                  <a:pos x="185" y="28"/>
                </a:cxn>
                <a:cxn ang="0">
                  <a:pos x="152" y="18"/>
                </a:cxn>
                <a:cxn ang="0">
                  <a:pos x="152" y="0"/>
                </a:cxn>
                <a:cxn ang="0">
                  <a:pos x="138" y="18"/>
                </a:cxn>
                <a:cxn ang="0">
                  <a:pos x="86" y="17"/>
                </a:cxn>
              </a:cxnLst>
              <a:rect l="0" t="0" r="r" b="b"/>
              <a:pathLst>
                <a:path w="600" h="607">
                  <a:moveTo>
                    <a:pt x="86" y="17"/>
                  </a:moveTo>
                  <a:lnTo>
                    <a:pt x="51" y="59"/>
                  </a:lnTo>
                  <a:lnTo>
                    <a:pt x="31" y="135"/>
                  </a:lnTo>
                  <a:lnTo>
                    <a:pt x="0" y="155"/>
                  </a:lnTo>
                  <a:lnTo>
                    <a:pt x="39" y="210"/>
                  </a:lnTo>
                  <a:lnTo>
                    <a:pt x="27" y="265"/>
                  </a:lnTo>
                  <a:lnTo>
                    <a:pt x="110" y="269"/>
                  </a:lnTo>
                  <a:lnTo>
                    <a:pt x="114" y="300"/>
                  </a:lnTo>
                  <a:lnTo>
                    <a:pt x="180" y="333"/>
                  </a:lnTo>
                  <a:lnTo>
                    <a:pt x="252" y="357"/>
                  </a:lnTo>
                  <a:lnTo>
                    <a:pt x="252" y="447"/>
                  </a:lnTo>
                  <a:lnTo>
                    <a:pt x="237" y="502"/>
                  </a:lnTo>
                  <a:lnTo>
                    <a:pt x="244" y="546"/>
                  </a:lnTo>
                  <a:lnTo>
                    <a:pt x="272" y="558"/>
                  </a:lnTo>
                  <a:lnTo>
                    <a:pt x="296" y="589"/>
                  </a:lnTo>
                  <a:lnTo>
                    <a:pt x="331" y="607"/>
                  </a:lnTo>
                  <a:lnTo>
                    <a:pt x="379" y="602"/>
                  </a:lnTo>
                  <a:lnTo>
                    <a:pt x="418" y="569"/>
                  </a:lnTo>
                  <a:lnTo>
                    <a:pt x="416" y="536"/>
                  </a:lnTo>
                  <a:lnTo>
                    <a:pt x="385" y="516"/>
                  </a:lnTo>
                  <a:lnTo>
                    <a:pt x="380" y="489"/>
                  </a:lnTo>
                  <a:lnTo>
                    <a:pt x="389" y="447"/>
                  </a:lnTo>
                  <a:lnTo>
                    <a:pt x="408" y="440"/>
                  </a:lnTo>
                  <a:lnTo>
                    <a:pt x="448" y="475"/>
                  </a:lnTo>
                  <a:lnTo>
                    <a:pt x="473" y="457"/>
                  </a:lnTo>
                  <a:lnTo>
                    <a:pt x="552" y="453"/>
                  </a:lnTo>
                  <a:lnTo>
                    <a:pt x="566" y="421"/>
                  </a:lnTo>
                  <a:lnTo>
                    <a:pt x="565" y="389"/>
                  </a:lnTo>
                  <a:lnTo>
                    <a:pt x="545" y="362"/>
                  </a:lnTo>
                  <a:lnTo>
                    <a:pt x="547" y="317"/>
                  </a:lnTo>
                  <a:lnTo>
                    <a:pt x="572" y="292"/>
                  </a:lnTo>
                  <a:lnTo>
                    <a:pt x="582" y="268"/>
                  </a:lnTo>
                  <a:lnTo>
                    <a:pt x="600" y="248"/>
                  </a:lnTo>
                  <a:lnTo>
                    <a:pt x="599" y="202"/>
                  </a:lnTo>
                  <a:lnTo>
                    <a:pt x="580" y="192"/>
                  </a:lnTo>
                  <a:lnTo>
                    <a:pt x="565" y="148"/>
                  </a:lnTo>
                  <a:lnTo>
                    <a:pt x="542" y="125"/>
                  </a:lnTo>
                  <a:lnTo>
                    <a:pt x="556" y="109"/>
                  </a:lnTo>
                  <a:lnTo>
                    <a:pt x="556" y="87"/>
                  </a:lnTo>
                  <a:lnTo>
                    <a:pt x="486" y="86"/>
                  </a:lnTo>
                  <a:lnTo>
                    <a:pt x="434" y="93"/>
                  </a:lnTo>
                  <a:lnTo>
                    <a:pt x="404" y="117"/>
                  </a:lnTo>
                  <a:lnTo>
                    <a:pt x="366" y="111"/>
                  </a:lnTo>
                  <a:lnTo>
                    <a:pt x="270" y="106"/>
                  </a:lnTo>
                  <a:lnTo>
                    <a:pt x="260" y="78"/>
                  </a:lnTo>
                  <a:lnTo>
                    <a:pt x="234" y="69"/>
                  </a:lnTo>
                  <a:lnTo>
                    <a:pt x="194" y="55"/>
                  </a:lnTo>
                  <a:lnTo>
                    <a:pt x="185" y="28"/>
                  </a:lnTo>
                  <a:lnTo>
                    <a:pt x="152" y="18"/>
                  </a:lnTo>
                  <a:lnTo>
                    <a:pt x="152" y="0"/>
                  </a:lnTo>
                  <a:lnTo>
                    <a:pt x="138" y="18"/>
                  </a:lnTo>
                  <a:lnTo>
                    <a:pt x="86" y="1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 85"/>
            <p:cNvSpPr>
              <a:spLocks noChangeAspect="1"/>
            </p:cNvSpPr>
            <p:nvPr/>
          </p:nvSpPr>
          <p:spPr bwMode="auto">
            <a:xfrm>
              <a:off x="7566430" y="6166549"/>
              <a:ext cx="63297" cy="67448"/>
            </a:xfrm>
            <a:custGeom>
              <a:avLst/>
              <a:gdLst/>
              <a:ahLst/>
              <a:cxnLst>
                <a:cxn ang="0">
                  <a:pos x="98" y="13"/>
                </a:cxn>
                <a:cxn ang="0">
                  <a:pos x="67" y="114"/>
                </a:cxn>
                <a:cxn ang="0">
                  <a:pos x="0" y="74"/>
                </a:cxn>
                <a:cxn ang="0">
                  <a:pos x="16" y="18"/>
                </a:cxn>
                <a:cxn ang="0">
                  <a:pos x="47" y="0"/>
                </a:cxn>
                <a:cxn ang="0">
                  <a:pos x="106" y="15"/>
                </a:cxn>
                <a:cxn ang="0">
                  <a:pos x="98" y="13"/>
                </a:cxn>
              </a:cxnLst>
              <a:rect l="0" t="0" r="r" b="b"/>
              <a:pathLst>
                <a:path w="106" h="114">
                  <a:moveTo>
                    <a:pt x="98" y="13"/>
                  </a:moveTo>
                  <a:lnTo>
                    <a:pt x="67" y="114"/>
                  </a:lnTo>
                  <a:lnTo>
                    <a:pt x="0" y="74"/>
                  </a:lnTo>
                  <a:lnTo>
                    <a:pt x="16" y="18"/>
                  </a:lnTo>
                  <a:lnTo>
                    <a:pt x="47" y="0"/>
                  </a:lnTo>
                  <a:lnTo>
                    <a:pt x="106" y="15"/>
                  </a:lnTo>
                  <a:lnTo>
                    <a:pt x="98" y="1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 86"/>
            <p:cNvSpPr>
              <a:spLocks noChangeAspect="1"/>
            </p:cNvSpPr>
            <p:nvPr/>
          </p:nvSpPr>
          <p:spPr bwMode="auto">
            <a:xfrm>
              <a:off x="7768628" y="5346519"/>
              <a:ext cx="142418" cy="161521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76" y="22"/>
                </a:cxn>
                <a:cxn ang="0">
                  <a:pos x="120" y="41"/>
                </a:cxn>
                <a:cxn ang="0">
                  <a:pos x="217" y="132"/>
                </a:cxn>
                <a:cxn ang="0">
                  <a:pos x="238" y="167"/>
                </a:cxn>
                <a:cxn ang="0">
                  <a:pos x="244" y="203"/>
                </a:cxn>
                <a:cxn ang="0">
                  <a:pos x="217" y="221"/>
                </a:cxn>
                <a:cxn ang="0">
                  <a:pos x="204" y="235"/>
                </a:cxn>
                <a:cxn ang="0">
                  <a:pos x="201" y="252"/>
                </a:cxn>
                <a:cxn ang="0">
                  <a:pos x="163" y="259"/>
                </a:cxn>
                <a:cxn ang="0">
                  <a:pos x="155" y="272"/>
                </a:cxn>
                <a:cxn ang="0">
                  <a:pos x="135" y="262"/>
                </a:cxn>
                <a:cxn ang="0">
                  <a:pos x="90" y="245"/>
                </a:cxn>
                <a:cxn ang="0">
                  <a:pos x="55" y="227"/>
                </a:cxn>
                <a:cxn ang="0">
                  <a:pos x="39" y="246"/>
                </a:cxn>
                <a:cxn ang="0">
                  <a:pos x="18" y="252"/>
                </a:cxn>
                <a:cxn ang="0">
                  <a:pos x="5" y="200"/>
                </a:cxn>
                <a:cxn ang="0">
                  <a:pos x="0" y="125"/>
                </a:cxn>
                <a:cxn ang="0">
                  <a:pos x="7" y="76"/>
                </a:cxn>
                <a:cxn ang="0">
                  <a:pos x="32" y="33"/>
                </a:cxn>
                <a:cxn ang="0">
                  <a:pos x="56" y="0"/>
                </a:cxn>
              </a:cxnLst>
              <a:rect l="0" t="0" r="r" b="b"/>
              <a:pathLst>
                <a:path w="244" h="272">
                  <a:moveTo>
                    <a:pt x="56" y="0"/>
                  </a:moveTo>
                  <a:lnTo>
                    <a:pt x="76" y="22"/>
                  </a:lnTo>
                  <a:lnTo>
                    <a:pt x="120" y="41"/>
                  </a:lnTo>
                  <a:lnTo>
                    <a:pt x="217" y="132"/>
                  </a:lnTo>
                  <a:lnTo>
                    <a:pt x="238" y="167"/>
                  </a:lnTo>
                  <a:lnTo>
                    <a:pt x="244" y="203"/>
                  </a:lnTo>
                  <a:lnTo>
                    <a:pt x="217" y="221"/>
                  </a:lnTo>
                  <a:lnTo>
                    <a:pt x="204" y="235"/>
                  </a:lnTo>
                  <a:lnTo>
                    <a:pt x="201" y="252"/>
                  </a:lnTo>
                  <a:lnTo>
                    <a:pt x="163" y="259"/>
                  </a:lnTo>
                  <a:lnTo>
                    <a:pt x="155" y="272"/>
                  </a:lnTo>
                  <a:lnTo>
                    <a:pt x="135" y="262"/>
                  </a:lnTo>
                  <a:lnTo>
                    <a:pt x="90" y="245"/>
                  </a:lnTo>
                  <a:lnTo>
                    <a:pt x="55" y="227"/>
                  </a:lnTo>
                  <a:lnTo>
                    <a:pt x="39" y="246"/>
                  </a:lnTo>
                  <a:lnTo>
                    <a:pt x="18" y="252"/>
                  </a:lnTo>
                  <a:lnTo>
                    <a:pt x="5" y="200"/>
                  </a:lnTo>
                  <a:lnTo>
                    <a:pt x="0" y="125"/>
                  </a:lnTo>
                  <a:lnTo>
                    <a:pt x="7" y="76"/>
                  </a:lnTo>
                  <a:lnTo>
                    <a:pt x="32" y="33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 87"/>
            <p:cNvSpPr>
              <a:spLocks noChangeAspect="1"/>
            </p:cNvSpPr>
            <p:nvPr/>
          </p:nvSpPr>
          <p:spPr bwMode="auto">
            <a:xfrm>
              <a:off x="7439836" y="4707535"/>
              <a:ext cx="328792" cy="413565"/>
            </a:xfrm>
            <a:custGeom>
              <a:avLst/>
              <a:gdLst/>
              <a:ahLst/>
              <a:cxnLst>
                <a:cxn ang="0">
                  <a:pos x="516" y="537"/>
                </a:cxn>
                <a:cxn ang="0">
                  <a:pos x="539" y="532"/>
                </a:cxn>
                <a:cxn ang="0">
                  <a:pos x="558" y="505"/>
                </a:cxn>
                <a:cxn ang="0">
                  <a:pos x="562" y="444"/>
                </a:cxn>
                <a:cxn ang="0">
                  <a:pos x="545" y="433"/>
                </a:cxn>
                <a:cxn ang="0">
                  <a:pos x="539" y="398"/>
                </a:cxn>
                <a:cxn ang="0">
                  <a:pos x="514" y="393"/>
                </a:cxn>
                <a:cxn ang="0">
                  <a:pos x="510" y="358"/>
                </a:cxn>
                <a:cxn ang="0">
                  <a:pos x="446" y="360"/>
                </a:cxn>
                <a:cxn ang="0">
                  <a:pos x="432" y="344"/>
                </a:cxn>
                <a:cxn ang="0">
                  <a:pos x="419" y="338"/>
                </a:cxn>
                <a:cxn ang="0">
                  <a:pos x="417" y="275"/>
                </a:cxn>
                <a:cxn ang="0">
                  <a:pos x="441" y="257"/>
                </a:cxn>
                <a:cxn ang="0">
                  <a:pos x="417" y="254"/>
                </a:cxn>
                <a:cxn ang="0">
                  <a:pos x="411" y="208"/>
                </a:cxn>
                <a:cxn ang="0">
                  <a:pos x="386" y="202"/>
                </a:cxn>
                <a:cxn ang="0">
                  <a:pos x="339" y="196"/>
                </a:cxn>
                <a:cxn ang="0">
                  <a:pos x="334" y="168"/>
                </a:cxn>
                <a:cxn ang="0">
                  <a:pos x="303" y="161"/>
                </a:cxn>
                <a:cxn ang="0">
                  <a:pos x="294" y="151"/>
                </a:cxn>
                <a:cxn ang="0">
                  <a:pos x="224" y="148"/>
                </a:cxn>
                <a:cxn ang="0">
                  <a:pos x="214" y="134"/>
                </a:cxn>
                <a:cxn ang="0">
                  <a:pos x="198" y="99"/>
                </a:cxn>
                <a:cxn ang="0">
                  <a:pos x="190" y="6"/>
                </a:cxn>
                <a:cxn ang="0">
                  <a:pos x="131" y="0"/>
                </a:cxn>
                <a:cxn ang="0">
                  <a:pos x="125" y="34"/>
                </a:cxn>
                <a:cxn ang="0">
                  <a:pos x="101" y="30"/>
                </a:cxn>
                <a:cxn ang="0">
                  <a:pos x="90" y="51"/>
                </a:cxn>
                <a:cxn ang="0">
                  <a:pos x="73" y="65"/>
                </a:cxn>
                <a:cxn ang="0">
                  <a:pos x="46" y="78"/>
                </a:cxn>
                <a:cxn ang="0">
                  <a:pos x="12" y="73"/>
                </a:cxn>
                <a:cxn ang="0">
                  <a:pos x="47" y="128"/>
                </a:cxn>
                <a:cxn ang="0">
                  <a:pos x="42" y="175"/>
                </a:cxn>
                <a:cxn ang="0">
                  <a:pos x="19" y="193"/>
                </a:cxn>
                <a:cxn ang="0">
                  <a:pos x="22" y="255"/>
                </a:cxn>
                <a:cxn ang="0">
                  <a:pos x="14" y="334"/>
                </a:cxn>
                <a:cxn ang="0">
                  <a:pos x="29" y="362"/>
                </a:cxn>
                <a:cxn ang="0">
                  <a:pos x="14" y="368"/>
                </a:cxn>
                <a:cxn ang="0">
                  <a:pos x="0" y="406"/>
                </a:cxn>
                <a:cxn ang="0">
                  <a:pos x="26" y="429"/>
                </a:cxn>
                <a:cxn ang="0">
                  <a:pos x="29" y="477"/>
                </a:cxn>
                <a:cxn ang="0">
                  <a:pos x="73" y="516"/>
                </a:cxn>
                <a:cxn ang="0">
                  <a:pos x="73" y="615"/>
                </a:cxn>
                <a:cxn ang="0">
                  <a:pos x="108" y="678"/>
                </a:cxn>
                <a:cxn ang="0">
                  <a:pos x="140" y="698"/>
                </a:cxn>
                <a:cxn ang="0">
                  <a:pos x="169" y="639"/>
                </a:cxn>
                <a:cxn ang="0">
                  <a:pos x="211" y="674"/>
                </a:cxn>
                <a:cxn ang="0">
                  <a:pos x="267" y="694"/>
                </a:cxn>
                <a:cxn ang="0">
                  <a:pos x="322" y="650"/>
                </a:cxn>
                <a:cxn ang="0">
                  <a:pos x="338" y="571"/>
                </a:cxn>
                <a:cxn ang="0">
                  <a:pos x="353" y="532"/>
                </a:cxn>
                <a:cxn ang="0">
                  <a:pos x="405" y="512"/>
                </a:cxn>
                <a:cxn ang="0">
                  <a:pos x="441" y="485"/>
                </a:cxn>
                <a:cxn ang="0">
                  <a:pos x="496" y="505"/>
                </a:cxn>
                <a:cxn ang="0">
                  <a:pos x="516" y="537"/>
                </a:cxn>
              </a:cxnLst>
              <a:rect l="0" t="0" r="r" b="b"/>
              <a:pathLst>
                <a:path w="562" h="698">
                  <a:moveTo>
                    <a:pt x="516" y="537"/>
                  </a:moveTo>
                  <a:lnTo>
                    <a:pt x="539" y="532"/>
                  </a:lnTo>
                  <a:lnTo>
                    <a:pt x="558" y="505"/>
                  </a:lnTo>
                  <a:lnTo>
                    <a:pt x="562" y="444"/>
                  </a:lnTo>
                  <a:lnTo>
                    <a:pt x="545" y="433"/>
                  </a:lnTo>
                  <a:lnTo>
                    <a:pt x="539" y="398"/>
                  </a:lnTo>
                  <a:lnTo>
                    <a:pt x="514" y="393"/>
                  </a:lnTo>
                  <a:lnTo>
                    <a:pt x="510" y="358"/>
                  </a:lnTo>
                  <a:lnTo>
                    <a:pt x="446" y="360"/>
                  </a:lnTo>
                  <a:lnTo>
                    <a:pt x="432" y="344"/>
                  </a:lnTo>
                  <a:lnTo>
                    <a:pt x="419" y="338"/>
                  </a:lnTo>
                  <a:lnTo>
                    <a:pt x="417" y="275"/>
                  </a:lnTo>
                  <a:lnTo>
                    <a:pt x="441" y="257"/>
                  </a:lnTo>
                  <a:lnTo>
                    <a:pt x="417" y="254"/>
                  </a:lnTo>
                  <a:lnTo>
                    <a:pt x="411" y="208"/>
                  </a:lnTo>
                  <a:lnTo>
                    <a:pt x="386" y="202"/>
                  </a:lnTo>
                  <a:lnTo>
                    <a:pt x="339" y="196"/>
                  </a:lnTo>
                  <a:lnTo>
                    <a:pt x="334" y="168"/>
                  </a:lnTo>
                  <a:lnTo>
                    <a:pt x="303" y="161"/>
                  </a:lnTo>
                  <a:lnTo>
                    <a:pt x="294" y="151"/>
                  </a:lnTo>
                  <a:lnTo>
                    <a:pt x="224" y="148"/>
                  </a:lnTo>
                  <a:lnTo>
                    <a:pt x="214" y="134"/>
                  </a:lnTo>
                  <a:lnTo>
                    <a:pt x="198" y="99"/>
                  </a:lnTo>
                  <a:lnTo>
                    <a:pt x="190" y="6"/>
                  </a:lnTo>
                  <a:lnTo>
                    <a:pt x="131" y="0"/>
                  </a:lnTo>
                  <a:lnTo>
                    <a:pt x="125" y="34"/>
                  </a:lnTo>
                  <a:lnTo>
                    <a:pt x="101" y="30"/>
                  </a:lnTo>
                  <a:lnTo>
                    <a:pt x="90" y="51"/>
                  </a:lnTo>
                  <a:lnTo>
                    <a:pt x="73" y="65"/>
                  </a:lnTo>
                  <a:lnTo>
                    <a:pt x="46" y="78"/>
                  </a:lnTo>
                  <a:lnTo>
                    <a:pt x="12" y="73"/>
                  </a:lnTo>
                  <a:lnTo>
                    <a:pt x="47" y="128"/>
                  </a:lnTo>
                  <a:lnTo>
                    <a:pt x="42" y="175"/>
                  </a:lnTo>
                  <a:lnTo>
                    <a:pt x="19" y="193"/>
                  </a:lnTo>
                  <a:lnTo>
                    <a:pt x="22" y="255"/>
                  </a:lnTo>
                  <a:lnTo>
                    <a:pt x="14" y="334"/>
                  </a:lnTo>
                  <a:lnTo>
                    <a:pt x="29" y="362"/>
                  </a:lnTo>
                  <a:lnTo>
                    <a:pt x="14" y="368"/>
                  </a:lnTo>
                  <a:lnTo>
                    <a:pt x="0" y="406"/>
                  </a:lnTo>
                  <a:lnTo>
                    <a:pt x="26" y="429"/>
                  </a:lnTo>
                  <a:lnTo>
                    <a:pt x="29" y="477"/>
                  </a:lnTo>
                  <a:lnTo>
                    <a:pt x="73" y="516"/>
                  </a:lnTo>
                  <a:lnTo>
                    <a:pt x="73" y="615"/>
                  </a:lnTo>
                  <a:lnTo>
                    <a:pt x="108" y="678"/>
                  </a:lnTo>
                  <a:lnTo>
                    <a:pt x="140" y="698"/>
                  </a:lnTo>
                  <a:lnTo>
                    <a:pt x="169" y="639"/>
                  </a:lnTo>
                  <a:lnTo>
                    <a:pt x="211" y="674"/>
                  </a:lnTo>
                  <a:lnTo>
                    <a:pt x="267" y="694"/>
                  </a:lnTo>
                  <a:lnTo>
                    <a:pt x="322" y="650"/>
                  </a:lnTo>
                  <a:lnTo>
                    <a:pt x="338" y="571"/>
                  </a:lnTo>
                  <a:lnTo>
                    <a:pt x="353" y="532"/>
                  </a:lnTo>
                  <a:lnTo>
                    <a:pt x="405" y="512"/>
                  </a:lnTo>
                  <a:lnTo>
                    <a:pt x="441" y="485"/>
                  </a:lnTo>
                  <a:lnTo>
                    <a:pt x="496" y="505"/>
                  </a:lnTo>
                  <a:lnTo>
                    <a:pt x="516" y="53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 88"/>
            <p:cNvSpPr>
              <a:spLocks noChangeAspect="1"/>
            </p:cNvSpPr>
            <p:nvPr/>
          </p:nvSpPr>
          <p:spPr bwMode="auto">
            <a:xfrm>
              <a:off x="7383572" y="4948929"/>
              <a:ext cx="189890" cy="1258444"/>
            </a:xfrm>
            <a:custGeom>
              <a:avLst/>
              <a:gdLst/>
              <a:ahLst/>
              <a:cxnLst>
                <a:cxn ang="0">
                  <a:pos x="177" y="1976"/>
                </a:cxn>
                <a:cxn ang="0">
                  <a:pos x="128" y="1888"/>
                </a:cxn>
                <a:cxn ang="0">
                  <a:pos x="145" y="1740"/>
                </a:cxn>
                <a:cxn ang="0">
                  <a:pos x="155" y="1511"/>
                </a:cxn>
                <a:cxn ang="0">
                  <a:pos x="134" y="1381"/>
                </a:cxn>
                <a:cxn ang="0">
                  <a:pos x="101" y="1254"/>
                </a:cxn>
                <a:cxn ang="0">
                  <a:pos x="139" y="1174"/>
                </a:cxn>
                <a:cxn ang="0">
                  <a:pos x="130" y="1029"/>
                </a:cxn>
                <a:cxn ang="0">
                  <a:pos x="130" y="974"/>
                </a:cxn>
                <a:cxn ang="0">
                  <a:pos x="155" y="899"/>
                </a:cxn>
                <a:cxn ang="0">
                  <a:pos x="130" y="836"/>
                </a:cxn>
                <a:cxn ang="0">
                  <a:pos x="148" y="740"/>
                </a:cxn>
                <a:cxn ang="0">
                  <a:pos x="132" y="624"/>
                </a:cxn>
                <a:cxn ang="0">
                  <a:pos x="155" y="551"/>
                </a:cxn>
                <a:cxn ang="0">
                  <a:pos x="199" y="488"/>
                </a:cxn>
                <a:cxn ang="0">
                  <a:pos x="201" y="420"/>
                </a:cxn>
                <a:cxn ang="0">
                  <a:pos x="232" y="351"/>
                </a:cxn>
                <a:cxn ang="0">
                  <a:pos x="204" y="272"/>
                </a:cxn>
                <a:cxn ang="0">
                  <a:pos x="169" y="110"/>
                </a:cxn>
                <a:cxn ang="0">
                  <a:pos x="122" y="23"/>
                </a:cxn>
                <a:cxn ang="0">
                  <a:pos x="64" y="28"/>
                </a:cxn>
                <a:cxn ang="0">
                  <a:pos x="86" y="123"/>
                </a:cxn>
                <a:cxn ang="0">
                  <a:pos x="70" y="327"/>
                </a:cxn>
                <a:cxn ang="0">
                  <a:pos x="86" y="351"/>
                </a:cxn>
                <a:cxn ang="0">
                  <a:pos x="74" y="462"/>
                </a:cxn>
                <a:cxn ang="0">
                  <a:pos x="39" y="588"/>
                </a:cxn>
                <a:cxn ang="0">
                  <a:pos x="42" y="679"/>
                </a:cxn>
                <a:cxn ang="0">
                  <a:pos x="46" y="846"/>
                </a:cxn>
                <a:cxn ang="0">
                  <a:pos x="11" y="1074"/>
                </a:cxn>
                <a:cxn ang="0">
                  <a:pos x="31" y="1378"/>
                </a:cxn>
                <a:cxn ang="0">
                  <a:pos x="46" y="1422"/>
                </a:cxn>
                <a:cxn ang="0">
                  <a:pos x="63" y="1577"/>
                </a:cxn>
                <a:cxn ang="0">
                  <a:pos x="39" y="1691"/>
                </a:cxn>
                <a:cxn ang="0">
                  <a:pos x="39" y="1790"/>
                </a:cxn>
                <a:cxn ang="0">
                  <a:pos x="86" y="1912"/>
                </a:cxn>
                <a:cxn ang="0">
                  <a:pos x="125" y="1976"/>
                </a:cxn>
                <a:cxn ang="0">
                  <a:pos x="173" y="2015"/>
                </a:cxn>
                <a:cxn ang="0">
                  <a:pos x="228" y="2070"/>
                </a:cxn>
                <a:cxn ang="0">
                  <a:pos x="276" y="2129"/>
                </a:cxn>
                <a:cxn ang="0">
                  <a:pos x="324" y="2055"/>
                </a:cxn>
              </a:cxnLst>
              <a:rect l="0" t="0" r="r" b="b"/>
              <a:pathLst>
                <a:path w="324" h="2129">
                  <a:moveTo>
                    <a:pt x="315" y="1970"/>
                  </a:moveTo>
                  <a:lnTo>
                    <a:pt x="177" y="1976"/>
                  </a:lnTo>
                  <a:lnTo>
                    <a:pt x="167" y="1911"/>
                  </a:lnTo>
                  <a:lnTo>
                    <a:pt x="128" y="1888"/>
                  </a:lnTo>
                  <a:lnTo>
                    <a:pt x="120" y="1749"/>
                  </a:lnTo>
                  <a:lnTo>
                    <a:pt x="145" y="1740"/>
                  </a:lnTo>
                  <a:lnTo>
                    <a:pt x="153" y="1701"/>
                  </a:lnTo>
                  <a:lnTo>
                    <a:pt x="155" y="1511"/>
                  </a:lnTo>
                  <a:lnTo>
                    <a:pt x="135" y="1457"/>
                  </a:lnTo>
                  <a:lnTo>
                    <a:pt x="134" y="1381"/>
                  </a:lnTo>
                  <a:lnTo>
                    <a:pt x="122" y="1298"/>
                  </a:lnTo>
                  <a:lnTo>
                    <a:pt x="101" y="1254"/>
                  </a:lnTo>
                  <a:lnTo>
                    <a:pt x="106" y="1216"/>
                  </a:lnTo>
                  <a:lnTo>
                    <a:pt x="139" y="1174"/>
                  </a:lnTo>
                  <a:lnTo>
                    <a:pt x="96" y="1081"/>
                  </a:lnTo>
                  <a:lnTo>
                    <a:pt x="130" y="1029"/>
                  </a:lnTo>
                  <a:lnTo>
                    <a:pt x="149" y="998"/>
                  </a:lnTo>
                  <a:lnTo>
                    <a:pt x="130" y="974"/>
                  </a:lnTo>
                  <a:lnTo>
                    <a:pt x="130" y="905"/>
                  </a:lnTo>
                  <a:lnTo>
                    <a:pt x="155" y="899"/>
                  </a:lnTo>
                  <a:lnTo>
                    <a:pt x="152" y="843"/>
                  </a:lnTo>
                  <a:lnTo>
                    <a:pt x="130" y="836"/>
                  </a:lnTo>
                  <a:lnTo>
                    <a:pt x="125" y="758"/>
                  </a:lnTo>
                  <a:lnTo>
                    <a:pt x="148" y="740"/>
                  </a:lnTo>
                  <a:lnTo>
                    <a:pt x="144" y="703"/>
                  </a:lnTo>
                  <a:lnTo>
                    <a:pt x="132" y="624"/>
                  </a:lnTo>
                  <a:lnTo>
                    <a:pt x="149" y="595"/>
                  </a:lnTo>
                  <a:lnTo>
                    <a:pt x="155" y="551"/>
                  </a:lnTo>
                  <a:lnTo>
                    <a:pt x="183" y="529"/>
                  </a:lnTo>
                  <a:lnTo>
                    <a:pt x="199" y="488"/>
                  </a:lnTo>
                  <a:lnTo>
                    <a:pt x="176" y="454"/>
                  </a:lnTo>
                  <a:lnTo>
                    <a:pt x="201" y="420"/>
                  </a:lnTo>
                  <a:lnTo>
                    <a:pt x="203" y="361"/>
                  </a:lnTo>
                  <a:lnTo>
                    <a:pt x="232" y="351"/>
                  </a:lnTo>
                  <a:lnTo>
                    <a:pt x="236" y="292"/>
                  </a:lnTo>
                  <a:lnTo>
                    <a:pt x="204" y="272"/>
                  </a:lnTo>
                  <a:lnTo>
                    <a:pt x="169" y="209"/>
                  </a:lnTo>
                  <a:lnTo>
                    <a:pt x="169" y="110"/>
                  </a:lnTo>
                  <a:lnTo>
                    <a:pt x="125" y="71"/>
                  </a:lnTo>
                  <a:lnTo>
                    <a:pt x="122" y="23"/>
                  </a:lnTo>
                  <a:lnTo>
                    <a:pt x="96" y="0"/>
                  </a:lnTo>
                  <a:lnTo>
                    <a:pt x="64" y="28"/>
                  </a:lnTo>
                  <a:lnTo>
                    <a:pt x="74" y="99"/>
                  </a:lnTo>
                  <a:lnTo>
                    <a:pt x="86" y="123"/>
                  </a:lnTo>
                  <a:lnTo>
                    <a:pt x="90" y="303"/>
                  </a:lnTo>
                  <a:lnTo>
                    <a:pt x="70" y="327"/>
                  </a:lnTo>
                  <a:lnTo>
                    <a:pt x="70" y="351"/>
                  </a:lnTo>
                  <a:lnTo>
                    <a:pt x="86" y="351"/>
                  </a:lnTo>
                  <a:lnTo>
                    <a:pt x="86" y="462"/>
                  </a:lnTo>
                  <a:lnTo>
                    <a:pt x="74" y="462"/>
                  </a:lnTo>
                  <a:lnTo>
                    <a:pt x="70" y="588"/>
                  </a:lnTo>
                  <a:lnTo>
                    <a:pt x="39" y="588"/>
                  </a:lnTo>
                  <a:lnTo>
                    <a:pt x="55" y="620"/>
                  </a:lnTo>
                  <a:lnTo>
                    <a:pt x="42" y="679"/>
                  </a:lnTo>
                  <a:lnTo>
                    <a:pt x="31" y="837"/>
                  </a:lnTo>
                  <a:lnTo>
                    <a:pt x="46" y="846"/>
                  </a:lnTo>
                  <a:lnTo>
                    <a:pt x="27" y="1043"/>
                  </a:lnTo>
                  <a:lnTo>
                    <a:pt x="11" y="1074"/>
                  </a:lnTo>
                  <a:lnTo>
                    <a:pt x="0" y="1095"/>
                  </a:lnTo>
                  <a:lnTo>
                    <a:pt x="31" y="1378"/>
                  </a:lnTo>
                  <a:lnTo>
                    <a:pt x="15" y="1426"/>
                  </a:lnTo>
                  <a:lnTo>
                    <a:pt x="46" y="1422"/>
                  </a:lnTo>
                  <a:lnTo>
                    <a:pt x="59" y="1434"/>
                  </a:lnTo>
                  <a:lnTo>
                    <a:pt x="63" y="1577"/>
                  </a:lnTo>
                  <a:lnTo>
                    <a:pt x="42" y="1619"/>
                  </a:lnTo>
                  <a:lnTo>
                    <a:pt x="39" y="1691"/>
                  </a:lnTo>
                  <a:lnTo>
                    <a:pt x="70" y="1707"/>
                  </a:lnTo>
                  <a:lnTo>
                    <a:pt x="39" y="1790"/>
                  </a:lnTo>
                  <a:lnTo>
                    <a:pt x="63" y="1873"/>
                  </a:lnTo>
                  <a:lnTo>
                    <a:pt x="86" y="1912"/>
                  </a:lnTo>
                  <a:lnTo>
                    <a:pt x="118" y="1928"/>
                  </a:lnTo>
                  <a:lnTo>
                    <a:pt x="125" y="1976"/>
                  </a:lnTo>
                  <a:lnTo>
                    <a:pt x="142" y="2000"/>
                  </a:lnTo>
                  <a:lnTo>
                    <a:pt x="173" y="2015"/>
                  </a:lnTo>
                  <a:lnTo>
                    <a:pt x="189" y="2043"/>
                  </a:lnTo>
                  <a:lnTo>
                    <a:pt x="228" y="2070"/>
                  </a:lnTo>
                  <a:lnTo>
                    <a:pt x="256" y="2094"/>
                  </a:lnTo>
                  <a:lnTo>
                    <a:pt x="276" y="2129"/>
                  </a:lnTo>
                  <a:lnTo>
                    <a:pt x="292" y="2074"/>
                  </a:lnTo>
                  <a:lnTo>
                    <a:pt x="324" y="2055"/>
                  </a:lnTo>
                  <a:lnTo>
                    <a:pt x="315" y="197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 89"/>
            <p:cNvSpPr>
              <a:spLocks noChangeAspect="1"/>
            </p:cNvSpPr>
            <p:nvPr/>
          </p:nvSpPr>
          <p:spPr bwMode="auto">
            <a:xfrm>
              <a:off x="7833683" y="4222972"/>
              <a:ext cx="91429" cy="118922"/>
            </a:xfrm>
            <a:custGeom>
              <a:avLst/>
              <a:gdLst/>
              <a:ahLst/>
              <a:cxnLst>
                <a:cxn ang="0">
                  <a:pos x="27" y="4"/>
                </a:cxn>
                <a:cxn ang="0">
                  <a:pos x="14" y="29"/>
                </a:cxn>
                <a:cxn ang="0">
                  <a:pos x="14" y="163"/>
                </a:cxn>
                <a:cxn ang="0">
                  <a:pos x="0" y="176"/>
                </a:cxn>
                <a:cxn ang="0">
                  <a:pos x="20" y="197"/>
                </a:cxn>
                <a:cxn ang="0">
                  <a:pos x="66" y="201"/>
                </a:cxn>
                <a:cxn ang="0">
                  <a:pos x="79" y="173"/>
                </a:cxn>
                <a:cxn ang="0">
                  <a:pos x="93" y="148"/>
                </a:cxn>
                <a:cxn ang="0">
                  <a:pos x="120" y="122"/>
                </a:cxn>
                <a:cxn ang="0">
                  <a:pos x="155" y="124"/>
                </a:cxn>
                <a:cxn ang="0">
                  <a:pos x="145" y="90"/>
                </a:cxn>
                <a:cxn ang="0">
                  <a:pos x="117" y="70"/>
                </a:cxn>
                <a:cxn ang="0">
                  <a:pos x="110" y="42"/>
                </a:cxn>
                <a:cxn ang="0">
                  <a:pos x="86" y="31"/>
                </a:cxn>
                <a:cxn ang="0">
                  <a:pos x="58" y="25"/>
                </a:cxn>
                <a:cxn ang="0">
                  <a:pos x="48" y="0"/>
                </a:cxn>
                <a:cxn ang="0">
                  <a:pos x="27" y="4"/>
                </a:cxn>
              </a:cxnLst>
              <a:rect l="0" t="0" r="r" b="b"/>
              <a:pathLst>
                <a:path w="155" h="201">
                  <a:moveTo>
                    <a:pt x="27" y="4"/>
                  </a:moveTo>
                  <a:lnTo>
                    <a:pt x="14" y="29"/>
                  </a:lnTo>
                  <a:lnTo>
                    <a:pt x="14" y="163"/>
                  </a:lnTo>
                  <a:lnTo>
                    <a:pt x="0" y="176"/>
                  </a:lnTo>
                  <a:lnTo>
                    <a:pt x="20" y="197"/>
                  </a:lnTo>
                  <a:lnTo>
                    <a:pt x="66" y="201"/>
                  </a:lnTo>
                  <a:lnTo>
                    <a:pt x="79" y="173"/>
                  </a:lnTo>
                  <a:lnTo>
                    <a:pt x="93" y="148"/>
                  </a:lnTo>
                  <a:lnTo>
                    <a:pt x="120" y="122"/>
                  </a:lnTo>
                  <a:lnTo>
                    <a:pt x="155" y="124"/>
                  </a:lnTo>
                  <a:lnTo>
                    <a:pt x="145" y="90"/>
                  </a:lnTo>
                  <a:lnTo>
                    <a:pt x="117" y="70"/>
                  </a:lnTo>
                  <a:lnTo>
                    <a:pt x="110" y="42"/>
                  </a:lnTo>
                  <a:lnTo>
                    <a:pt x="86" y="31"/>
                  </a:lnTo>
                  <a:lnTo>
                    <a:pt x="58" y="25"/>
                  </a:lnTo>
                  <a:lnTo>
                    <a:pt x="48" y="0"/>
                  </a:lnTo>
                  <a:lnTo>
                    <a:pt x="27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 90"/>
            <p:cNvSpPr>
              <a:spLocks noChangeAspect="1"/>
            </p:cNvSpPr>
            <p:nvPr/>
          </p:nvSpPr>
          <p:spPr bwMode="auto">
            <a:xfrm>
              <a:off x="7766869" y="6070701"/>
              <a:ext cx="100220" cy="67448"/>
            </a:xfrm>
            <a:custGeom>
              <a:avLst/>
              <a:gdLst/>
              <a:ahLst/>
              <a:cxnLst>
                <a:cxn ang="0">
                  <a:pos x="52" y="28"/>
                </a:cxn>
                <a:cxn ang="0">
                  <a:pos x="4" y="35"/>
                </a:cxn>
                <a:cxn ang="0">
                  <a:pos x="0" y="79"/>
                </a:cxn>
                <a:cxn ang="0">
                  <a:pos x="8" y="114"/>
                </a:cxn>
                <a:cxn ang="0">
                  <a:pos x="44" y="79"/>
                </a:cxn>
                <a:cxn ang="0">
                  <a:pos x="68" y="94"/>
                </a:cxn>
                <a:cxn ang="0">
                  <a:pos x="131" y="75"/>
                </a:cxn>
                <a:cxn ang="0">
                  <a:pos x="170" y="55"/>
                </a:cxn>
                <a:cxn ang="0">
                  <a:pos x="123" y="28"/>
                </a:cxn>
                <a:cxn ang="0">
                  <a:pos x="96" y="0"/>
                </a:cxn>
                <a:cxn ang="0">
                  <a:pos x="92" y="31"/>
                </a:cxn>
                <a:cxn ang="0">
                  <a:pos x="52" y="28"/>
                </a:cxn>
              </a:cxnLst>
              <a:rect l="0" t="0" r="r" b="b"/>
              <a:pathLst>
                <a:path w="170" h="114">
                  <a:moveTo>
                    <a:pt x="52" y="28"/>
                  </a:moveTo>
                  <a:lnTo>
                    <a:pt x="4" y="35"/>
                  </a:lnTo>
                  <a:lnTo>
                    <a:pt x="0" y="79"/>
                  </a:lnTo>
                  <a:lnTo>
                    <a:pt x="8" y="114"/>
                  </a:lnTo>
                  <a:lnTo>
                    <a:pt x="44" y="79"/>
                  </a:lnTo>
                  <a:lnTo>
                    <a:pt x="68" y="94"/>
                  </a:lnTo>
                  <a:lnTo>
                    <a:pt x="131" y="75"/>
                  </a:lnTo>
                  <a:lnTo>
                    <a:pt x="170" y="55"/>
                  </a:lnTo>
                  <a:lnTo>
                    <a:pt x="123" y="28"/>
                  </a:lnTo>
                  <a:lnTo>
                    <a:pt x="96" y="0"/>
                  </a:lnTo>
                  <a:lnTo>
                    <a:pt x="92" y="31"/>
                  </a:lnTo>
                  <a:lnTo>
                    <a:pt x="52" y="2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 91"/>
            <p:cNvSpPr>
              <a:spLocks noChangeAspect="1"/>
            </p:cNvSpPr>
            <p:nvPr/>
          </p:nvSpPr>
          <p:spPr bwMode="auto">
            <a:xfrm>
              <a:off x="7995441" y="1927954"/>
              <a:ext cx="65055" cy="31949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0" y="55"/>
                </a:cxn>
                <a:cxn ang="0">
                  <a:pos x="56" y="55"/>
                </a:cxn>
                <a:cxn ang="0">
                  <a:pos x="111" y="31"/>
                </a:cxn>
                <a:cxn ang="0">
                  <a:pos x="32" y="0"/>
                </a:cxn>
              </a:cxnLst>
              <a:rect l="0" t="0" r="r" b="b"/>
              <a:pathLst>
                <a:path w="111" h="55">
                  <a:moveTo>
                    <a:pt x="32" y="0"/>
                  </a:moveTo>
                  <a:lnTo>
                    <a:pt x="0" y="55"/>
                  </a:lnTo>
                  <a:lnTo>
                    <a:pt x="56" y="55"/>
                  </a:lnTo>
                  <a:lnTo>
                    <a:pt x="111" y="31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 92"/>
            <p:cNvSpPr>
              <a:spLocks noChangeAspect="1"/>
            </p:cNvSpPr>
            <p:nvPr/>
          </p:nvSpPr>
          <p:spPr bwMode="auto">
            <a:xfrm>
              <a:off x="5205108" y="1878256"/>
              <a:ext cx="882638" cy="729507"/>
            </a:xfrm>
            <a:custGeom>
              <a:avLst/>
              <a:gdLst/>
              <a:ahLst/>
              <a:cxnLst>
                <a:cxn ang="0">
                  <a:pos x="723" y="31"/>
                </a:cxn>
                <a:cxn ang="0">
                  <a:pos x="605" y="79"/>
                </a:cxn>
                <a:cxn ang="0">
                  <a:pos x="454" y="174"/>
                </a:cxn>
                <a:cxn ang="0">
                  <a:pos x="280" y="237"/>
                </a:cxn>
                <a:cxn ang="0">
                  <a:pos x="502" y="356"/>
                </a:cxn>
                <a:cxn ang="0">
                  <a:pos x="344" y="388"/>
                </a:cxn>
                <a:cxn ang="0">
                  <a:pos x="265" y="364"/>
                </a:cxn>
                <a:cxn ang="0">
                  <a:pos x="186" y="395"/>
                </a:cxn>
                <a:cxn ang="0">
                  <a:pos x="209" y="451"/>
                </a:cxn>
                <a:cxn ang="0">
                  <a:pos x="233" y="522"/>
                </a:cxn>
                <a:cxn ang="0">
                  <a:pos x="391" y="482"/>
                </a:cxn>
                <a:cxn ang="0">
                  <a:pos x="383" y="530"/>
                </a:cxn>
                <a:cxn ang="0">
                  <a:pos x="304" y="585"/>
                </a:cxn>
                <a:cxn ang="0">
                  <a:pos x="248" y="601"/>
                </a:cxn>
                <a:cxn ang="0">
                  <a:pos x="178" y="680"/>
                </a:cxn>
                <a:cxn ang="0">
                  <a:pos x="138" y="751"/>
                </a:cxn>
                <a:cxn ang="0">
                  <a:pos x="123" y="798"/>
                </a:cxn>
                <a:cxn ang="0">
                  <a:pos x="209" y="839"/>
                </a:cxn>
                <a:cxn ang="0">
                  <a:pos x="233" y="861"/>
                </a:cxn>
                <a:cxn ang="0">
                  <a:pos x="217" y="949"/>
                </a:cxn>
                <a:cxn ang="0">
                  <a:pos x="312" y="945"/>
                </a:cxn>
                <a:cxn ang="0">
                  <a:pos x="375" y="1001"/>
                </a:cxn>
                <a:cxn ang="0">
                  <a:pos x="63" y="1178"/>
                </a:cxn>
                <a:cxn ang="0">
                  <a:pos x="4" y="1233"/>
                </a:cxn>
                <a:cxn ang="0">
                  <a:pos x="438" y="1043"/>
                </a:cxn>
                <a:cxn ang="0">
                  <a:pos x="498" y="996"/>
                </a:cxn>
                <a:cxn ang="0">
                  <a:pos x="548" y="913"/>
                </a:cxn>
                <a:cxn ang="0">
                  <a:pos x="707" y="743"/>
                </a:cxn>
                <a:cxn ang="0">
                  <a:pos x="664" y="850"/>
                </a:cxn>
                <a:cxn ang="0">
                  <a:pos x="651" y="901"/>
                </a:cxn>
                <a:cxn ang="0">
                  <a:pos x="688" y="925"/>
                </a:cxn>
                <a:cxn ang="0">
                  <a:pos x="705" y="925"/>
                </a:cxn>
                <a:cxn ang="0">
                  <a:pos x="724" y="916"/>
                </a:cxn>
                <a:cxn ang="0">
                  <a:pos x="743" y="904"/>
                </a:cxn>
                <a:cxn ang="0">
                  <a:pos x="776" y="871"/>
                </a:cxn>
                <a:cxn ang="0">
                  <a:pos x="798" y="842"/>
                </a:cxn>
                <a:cxn ang="0">
                  <a:pos x="846" y="771"/>
                </a:cxn>
                <a:cxn ang="0">
                  <a:pos x="916" y="782"/>
                </a:cxn>
                <a:cxn ang="0">
                  <a:pos x="960" y="826"/>
                </a:cxn>
                <a:cxn ang="0">
                  <a:pos x="1115" y="846"/>
                </a:cxn>
                <a:cxn ang="0">
                  <a:pos x="1165" y="885"/>
                </a:cxn>
                <a:cxn ang="0">
                  <a:pos x="1209" y="916"/>
                </a:cxn>
                <a:cxn ang="0">
                  <a:pos x="1257" y="968"/>
                </a:cxn>
                <a:cxn ang="0">
                  <a:pos x="1295" y="968"/>
                </a:cxn>
                <a:cxn ang="0">
                  <a:pos x="1339" y="968"/>
                </a:cxn>
                <a:cxn ang="0">
                  <a:pos x="1356" y="996"/>
                </a:cxn>
                <a:cxn ang="0">
                  <a:pos x="1375" y="1060"/>
                </a:cxn>
                <a:cxn ang="0">
                  <a:pos x="1402" y="1099"/>
                </a:cxn>
                <a:cxn ang="0">
                  <a:pos x="1474" y="1119"/>
                </a:cxn>
                <a:cxn ang="0">
                  <a:pos x="1442" y="1071"/>
                </a:cxn>
                <a:cxn ang="0">
                  <a:pos x="1402" y="984"/>
                </a:cxn>
                <a:cxn ang="0">
                  <a:pos x="1323" y="854"/>
                </a:cxn>
                <a:cxn ang="0">
                  <a:pos x="1288" y="881"/>
                </a:cxn>
                <a:cxn ang="0">
                  <a:pos x="1249" y="909"/>
                </a:cxn>
                <a:cxn ang="0">
                  <a:pos x="1198" y="822"/>
                </a:cxn>
                <a:cxn ang="0">
                  <a:pos x="1137" y="822"/>
                </a:cxn>
                <a:cxn ang="0">
                  <a:pos x="1292" y="83"/>
                </a:cxn>
                <a:cxn ang="0">
                  <a:pos x="1133" y="99"/>
                </a:cxn>
                <a:cxn ang="0">
                  <a:pos x="960" y="79"/>
                </a:cxn>
                <a:cxn ang="0">
                  <a:pos x="865" y="55"/>
                </a:cxn>
                <a:cxn ang="0">
                  <a:pos x="794" y="4"/>
                </a:cxn>
              </a:cxnLst>
              <a:rect l="0" t="0" r="r" b="b"/>
              <a:pathLst>
                <a:path w="1505" h="1233">
                  <a:moveTo>
                    <a:pt x="762" y="0"/>
                  </a:moveTo>
                  <a:lnTo>
                    <a:pt x="723" y="31"/>
                  </a:lnTo>
                  <a:lnTo>
                    <a:pt x="628" y="31"/>
                  </a:lnTo>
                  <a:lnTo>
                    <a:pt x="605" y="79"/>
                  </a:lnTo>
                  <a:lnTo>
                    <a:pt x="493" y="86"/>
                  </a:lnTo>
                  <a:lnTo>
                    <a:pt x="454" y="174"/>
                  </a:lnTo>
                  <a:lnTo>
                    <a:pt x="296" y="198"/>
                  </a:lnTo>
                  <a:lnTo>
                    <a:pt x="280" y="237"/>
                  </a:lnTo>
                  <a:lnTo>
                    <a:pt x="368" y="300"/>
                  </a:lnTo>
                  <a:lnTo>
                    <a:pt x="502" y="356"/>
                  </a:lnTo>
                  <a:lnTo>
                    <a:pt x="407" y="372"/>
                  </a:lnTo>
                  <a:lnTo>
                    <a:pt x="344" y="388"/>
                  </a:lnTo>
                  <a:lnTo>
                    <a:pt x="312" y="348"/>
                  </a:lnTo>
                  <a:lnTo>
                    <a:pt x="265" y="364"/>
                  </a:lnTo>
                  <a:lnTo>
                    <a:pt x="265" y="388"/>
                  </a:lnTo>
                  <a:lnTo>
                    <a:pt x="186" y="395"/>
                  </a:lnTo>
                  <a:lnTo>
                    <a:pt x="162" y="427"/>
                  </a:lnTo>
                  <a:lnTo>
                    <a:pt x="209" y="451"/>
                  </a:lnTo>
                  <a:lnTo>
                    <a:pt x="201" y="498"/>
                  </a:lnTo>
                  <a:lnTo>
                    <a:pt x="233" y="522"/>
                  </a:lnTo>
                  <a:lnTo>
                    <a:pt x="327" y="522"/>
                  </a:lnTo>
                  <a:lnTo>
                    <a:pt x="391" y="482"/>
                  </a:lnTo>
                  <a:lnTo>
                    <a:pt x="414" y="506"/>
                  </a:lnTo>
                  <a:lnTo>
                    <a:pt x="383" y="530"/>
                  </a:lnTo>
                  <a:lnTo>
                    <a:pt x="375" y="585"/>
                  </a:lnTo>
                  <a:lnTo>
                    <a:pt x="304" y="585"/>
                  </a:lnTo>
                  <a:lnTo>
                    <a:pt x="289" y="633"/>
                  </a:lnTo>
                  <a:lnTo>
                    <a:pt x="248" y="601"/>
                  </a:lnTo>
                  <a:lnTo>
                    <a:pt x="186" y="633"/>
                  </a:lnTo>
                  <a:lnTo>
                    <a:pt x="178" y="680"/>
                  </a:lnTo>
                  <a:lnTo>
                    <a:pt x="114" y="712"/>
                  </a:lnTo>
                  <a:lnTo>
                    <a:pt x="138" y="751"/>
                  </a:lnTo>
                  <a:lnTo>
                    <a:pt x="178" y="767"/>
                  </a:lnTo>
                  <a:lnTo>
                    <a:pt x="123" y="798"/>
                  </a:lnTo>
                  <a:lnTo>
                    <a:pt x="162" y="846"/>
                  </a:lnTo>
                  <a:lnTo>
                    <a:pt x="209" y="839"/>
                  </a:lnTo>
                  <a:lnTo>
                    <a:pt x="233" y="798"/>
                  </a:lnTo>
                  <a:lnTo>
                    <a:pt x="233" y="861"/>
                  </a:lnTo>
                  <a:lnTo>
                    <a:pt x="209" y="901"/>
                  </a:lnTo>
                  <a:lnTo>
                    <a:pt x="217" y="949"/>
                  </a:lnTo>
                  <a:lnTo>
                    <a:pt x="289" y="925"/>
                  </a:lnTo>
                  <a:lnTo>
                    <a:pt x="312" y="945"/>
                  </a:lnTo>
                  <a:lnTo>
                    <a:pt x="368" y="925"/>
                  </a:lnTo>
                  <a:lnTo>
                    <a:pt x="375" y="1001"/>
                  </a:lnTo>
                  <a:lnTo>
                    <a:pt x="193" y="1119"/>
                  </a:lnTo>
                  <a:lnTo>
                    <a:pt x="63" y="1178"/>
                  </a:lnTo>
                  <a:lnTo>
                    <a:pt x="0" y="1205"/>
                  </a:lnTo>
                  <a:lnTo>
                    <a:pt x="4" y="1233"/>
                  </a:lnTo>
                  <a:lnTo>
                    <a:pt x="213" y="1194"/>
                  </a:lnTo>
                  <a:lnTo>
                    <a:pt x="438" y="1043"/>
                  </a:lnTo>
                  <a:lnTo>
                    <a:pt x="462" y="1019"/>
                  </a:lnTo>
                  <a:lnTo>
                    <a:pt x="498" y="996"/>
                  </a:lnTo>
                  <a:lnTo>
                    <a:pt x="561" y="957"/>
                  </a:lnTo>
                  <a:lnTo>
                    <a:pt x="548" y="913"/>
                  </a:lnTo>
                  <a:lnTo>
                    <a:pt x="620" y="850"/>
                  </a:lnTo>
                  <a:lnTo>
                    <a:pt x="707" y="743"/>
                  </a:lnTo>
                  <a:lnTo>
                    <a:pt x="782" y="763"/>
                  </a:lnTo>
                  <a:lnTo>
                    <a:pt x="664" y="850"/>
                  </a:lnTo>
                  <a:lnTo>
                    <a:pt x="684" y="878"/>
                  </a:lnTo>
                  <a:lnTo>
                    <a:pt x="651" y="901"/>
                  </a:lnTo>
                  <a:lnTo>
                    <a:pt x="688" y="925"/>
                  </a:lnTo>
                  <a:lnTo>
                    <a:pt x="688" y="925"/>
                  </a:lnTo>
                  <a:lnTo>
                    <a:pt x="697" y="927"/>
                  </a:lnTo>
                  <a:lnTo>
                    <a:pt x="705" y="925"/>
                  </a:lnTo>
                  <a:lnTo>
                    <a:pt x="715" y="922"/>
                  </a:lnTo>
                  <a:lnTo>
                    <a:pt x="724" y="916"/>
                  </a:lnTo>
                  <a:lnTo>
                    <a:pt x="734" y="911"/>
                  </a:lnTo>
                  <a:lnTo>
                    <a:pt x="743" y="904"/>
                  </a:lnTo>
                  <a:lnTo>
                    <a:pt x="761" y="888"/>
                  </a:lnTo>
                  <a:lnTo>
                    <a:pt x="776" y="871"/>
                  </a:lnTo>
                  <a:lnTo>
                    <a:pt x="787" y="856"/>
                  </a:lnTo>
                  <a:lnTo>
                    <a:pt x="798" y="842"/>
                  </a:lnTo>
                  <a:lnTo>
                    <a:pt x="837" y="822"/>
                  </a:lnTo>
                  <a:lnTo>
                    <a:pt x="846" y="771"/>
                  </a:lnTo>
                  <a:lnTo>
                    <a:pt x="905" y="751"/>
                  </a:lnTo>
                  <a:lnTo>
                    <a:pt x="916" y="782"/>
                  </a:lnTo>
                  <a:lnTo>
                    <a:pt x="960" y="787"/>
                  </a:lnTo>
                  <a:lnTo>
                    <a:pt x="960" y="826"/>
                  </a:lnTo>
                  <a:lnTo>
                    <a:pt x="1098" y="834"/>
                  </a:lnTo>
                  <a:lnTo>
                    <a:pt x="1115" y="846"/>
                  </a:lnTo>
                  <a:lnTo>
                    <a:pt x="1118" y="874"/>
                  </a:lnTo>
                  <a:lnTo>
                    <a:pt x="1165" y="885"/>
                  </a:lnTo>
                  <a:lnTo>
                    <a:pt x="1174" y="922"/>
                  </a:lnTo>
                  <a:lnTo>
                    <a:pt x="1209" y="916"/>
                  </a:lnTo>
                  <a:lnTo>
                    <a:pt x="1221" y="949"/>
                  </a:lnTo>
                  <a:lnTo>
                    <a:pt x="1257" y="968"/>
                  </a:lnTo>
                  <a:lnTo>
                    <a:pt x="1277" y="937"/>
                  </a:lnTo>
                  <a:lnTo>
                    <a:pt x="1295" y="968"/>
                  </a:lnTo>
                  <a:lnTo>
                    <a:pt x="1323" y="984"/>
                  </a:lnTo>
                  <a:lnTo>
                    <a:pt x="1339" y="968"/>
                  </a:lnTo>
                  <a:lnTo>
                    <a:pt x="1359" y="977"/>
                  </a:lnTo>
                  <a:lnTo>
                    <a:pt x="1356" y="996"/>
                  </a:lnTo>
                  <a:lnTo>
                    <a:pt x="1356" y="1036"/>
                  </a:lnTo>
                  <a:lnTo>
                    <a:pt x="1375" y="1060"/>
                  </a:lnTo>
                  <a:lnTo>
                    <a:pt x="1402" y="1063"/>
                  </a:lnTo>
                  <a:lnTo>
                    <a:pt x="1402" y="1099"/>
                  </a:lnTo>
                  <a:lnTo>
                    <a:pt x="1439" y="1119"/>
                  </a:lnTo>
                  <a:lnTo>
                    <a:pt x="1474" y="1119"/>
                  </a:lnTo>
                  <a:lnTo>
                    <a:pt x="1505" y="1087"/>
                  </a:lnTo>
                  <a:lnTo>
                    <a:pt x="1442" y="1071"/>
                  </a:lnTo>
                  <a:lnTo>
                    <a:pt x="1426" y="996"/>
                  </a:lnTo>
                  <a:lnTo>
                    <a:pt x="1402" y="984"/>
                  </a:lnTo>
                  <a:lnTo>
                    <a:pt x="1391" y="929"/>
                  </a:lnTo>
                  <a:lnTo>
                    <a:pt x="1323" y="854"/>
                  </a:lnTo>
                  <a:lnTo>
                    <a:pt x="1295" y="850"/>
                  </a:lnTo>
                  <a:lnTo>
                    <a:pt x="1288" y="881"/>
                  </a:lnTo>
                  <a:lnTo>
                    <a:pt x="1260" y="881"/>
                  </a:lnTo>
                  <a:lnTo>
                    <a:pt x="1249" y="909"/>
                  </a:lnTo>
                  <a:lnTo>
                    <a:pt x="1209" y="881"/>
                  </a:lnTo>
                  <a:lnTo>
                    <a:pt x="1198" y="822"/>
                  </a:lnTo>
                  <a:lnTo>
                    <a:pt x="1177" y="806"/>
                  </a:lnTo>
                  <a:lnTo>
                    <a:pt x="1137" y="822"/>
                  </a:lnTo>
                  <a:lnTo>
                    <a:pt x="1339" y="127"/>
                  </a:lnTo>
                  <a:lnTo>
                    <a:pt x="1292" y="83"/>
                  </a:lnTo>
                  <a:lnTo>
                    <a:pt x="1181" y="95"/>
                  </a:lnTo>
                  <a:lnTo>
                    <a:pt x="1133" y="99"/>
                  </a:lnTo>
                  <a:lnTo>
                    <a:pt x="1102" y="68"/>
                  </a:lnTo>
                  <a:lnTo>
                    <a:pt x="960" y="79"/>
                  </a:lnTo>
                  <a:lnTo>
                    <a:pt x="913" y="16"/>
                  </a:lnTo>
                  <a:lnTo>
                    <a:pt x="865" y="55"/>
                  </a:lnTo>
                  <a:lnTo>
                    <a:pt x="798" y="48"/>
                  </a:lnTo>
                  <a:lnTo>
                    <a:pt x="794" y="4"/>
                  </a:lnTo>
                  <a:lnTo>
                    <a:pt x="762" y="0"/>
                  </a:lnTo>
                  <a:close/>
                </a:path>
              </a:pathLst>
            </a:custGeom>
            <a:solidFill>
              <a:srgbClr val="A0AEC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 93"/>
            <p:cNvSpPr>
              <a:spLocks noChangeAspect="1"/>
            </p:cNvSpPr>
            <p:nvPr/>
          </p:nvSpPr>
          <p:spPr bwMode="auto">
            <a:xfrm>
              <a:off x="6094779" y="2801233"/>
              <a:ext cx="1494507" cy="844879"/>
            </a:xfrm>
            <a:custGeom>
              <a:avLst/>
              <a:gdLst/>
              <a:ahLst/>
              <a:cxnLst>
                <a:cxn ang="0">
                  <a:pos x="1374" y="31"/>
                </a:cxn>
                <a:cxn ang="0">
                  <a:pos x="1663" y="43"/>
                </a:cxn>
                <a:cxn ang="0">
                  <a:pos x="1849" y="221"/>
                </a:cxn>
                <a:cxn ang="0">
                  <a:pos x="1813" y="426"/>
                </a:cxn>
                <a:cxn ang="0">
                  <a:pos x="2018" y="331"/>
                </a:cxn>
                <a:cxn ang="0">
                  <a:pos x="2177" y="232"/>
                </a:cxn>
                <a:cxn ang="0">
                  <a:pos x="2418" y="157"/>
                </a:cxn>
                <a:cxn ang="0">
                  <a:pos x="2517" y="221"/>
                </a:cxn>
                <a:cxn ang="0">
                  <a:pos x="2480" y="272"/>
                </a:cxn>
                <a:cxn ang="0">
                  <a:pos x="2421" y="319"/>
                </a:cxn>
                <a:cxn ang="0">
                  <a:pos x="2362" y="394"/>
                </a:cxn>
                <a:cxn ang="0">
                  <a:pos x="2271" y="458"/>
                </a:cxn>
                <a:cxn ang="0">
                  <a:pos x="2192" y="525"/>
                </a:cxn>
                <a:cxn ang="0">
                  <a:pos x="2125" y="648"/>
                </a:cxn>
                <a:cxn ang="0">
                  <a:pos x="2109" y="714"/>
                </a:cxn>
                <a:cxn ang="0">
                  <a:pos x="2066" y="861"/>
                </a:cxn>
                <a:cxn ang="0">
                  <a:pos x="1943" y="904"/>
                </a:cxn>
                <a:cxn ang="0">
                  <a:pos x="1853" y="992"/>
                </a:cxn>
                <a:cxn ang="0">
                  <a:pos x="1836" y="1165"/>
                </a:cxn>
                <a:cxn ang="0">
                  <a:pos x="1869" y="1272"/>
                </a:cxn>
                <a:cxn ang="0">
                  <a:pos x="1849" y="1399"/>
                </a:cxn>
                <a:cxn ang="0">
                  <a:pos x="1757" y="1241"/>
                </a:cxn>
                <a:cxn ang="0">
                  <a:pos x="1687" y="1099"/>
                </a:cxn>
                <a:cxn ang="0">
                  <a:pos x="1485" y="1094"/>
                </a:cxn>
                <a:cxn ang="0">
                  <a:pos x="1426" y="1169"/>
                </a:cxn>
                <a:cxn ang="0">
                  <a:pos x="1330" y="1106"/>
                </a:cxn>
                <a:cxn ang="0">
                  <a:pos x="1264" y="1106"/>
                </a:cxn>
                <a:cxn ang="0">
                  <a:pos x="1177" y="1197"/>
                </a:cxn>
                <a:cxn ang="0">
                  <a:pos x="1078" y="1327"/>
                </a:cxn>
                <a:cxn ang="0">
                  <a:pos x="964" y="1244"/>
                </a:cxn>
                <a:cxn ang="0">
                  <a:pos x="876" y="1106"/>
                </a:cxn>
                <a:cxn ang="0">
                  <a:pos x="789" y="1094"/>
                </a:cxn>
                <a:cxn ang="0">
                  <a:pos x="723" y="1035"/>
                </a:cxn>
                <a:cxn ang="0">
                  <a:pos x="635" y="1014"/>
                </a:cxn>
                <a:cxn ang="0">
                  <a:pos x="509" y="1062"/>
                </a:cxn>
                <a:cxn ang="0">
                  <a:pos x="351" y="983"/>
                </a:cxn>
                <a:cxn ang="0">
                  <a:pos x="244" y="913"/>
                </a:cxn>
                <a:cxn ang="0">
                  <a:pos x="101" y="841"/>
                </a:cxn>
                <a:cxn ang="0">
                  <a:pos x="59" y="731"/>
                </a:cxn>
                <a:cxn ang="0">
                  <a:pos x="7" y="611"/>
                </a:cxn>
                <a:cxn ang="0">
                  <a:pos x="7" y="434"/>
                </a:cxn>
                <a:cxn ang="0">
                  <a:pos x="24" y="335"/>
                </a:cxn>
                <a:cxn ang="0">
                  <a:pos x="70" y="221"/>
                </a:cxn>
                <a:cxn ang="0">
                  <a:pos x="83" y="83"/>
                </a:cxn>
                <a:cxn ang="0">
                  <a:pos x="149" y="66"/>
                </a:cxn>
              </a:cxnLst>
              <a:rect l="0" t="0" r="r" b="b"/>
              <a:pathLst>
                <a:path w="2548" h="1428">
                  <a:moveTo>
                    <a:pt x="177" y="4"/>
                  </a:moveTo>
                  <a:lnTo>
                    <a:pt x="1378" y="0"/>
                  </a:lnTo>
                  <a:lnTo>
                    <a:pt x="1374" y="31"/>
                  </a:lnTo>
                  <a:lnTo>
                    <a:pt x="1457" y="31"/>
                  </a:lnTo>
                  <a:lnTo>
                    <a:pt x="1584" y="43"/>
                  </a:lnTo>
                  <a:lnTo>
                    <a:pt x="1663" y="43"/>
                  </a:lnTo>
                  <a:lnTo>
                    <a:pt x="1726" y="90"/>
                  </a:lnTo>
                  <a:lnTo>
                    <a:pt x="1801" y="129"/>
                  </a:lnTo>
                  <a:lnTo>
                    <a:pt x="1849" y="221"/>
                  </a:lnTo>
                  <a:lnTo>
                    <a:pt x="1892" y="311"/>
                  </a:lnTo>
                  <a:lnTo>
                    <a:pt x="1836" y="390"/>
                  </a:lnTo>
                  <a:lnTo>
                    <a:pt x="1813" y="426"/>
                  </a:lnTo>
                  <a:lnTo>
                    <a:pt x="1880" y="453"/>
                  </a:lnTo>
                  <a:lnTo>
                    <a:pt x="1980" y="367"/>
                  </a:lnTo>
                  <a:lnTo>
                    <a:pt x="2018" y="331"/>
                  </a:lnTo>
                  <a:lnTo>
                    <a:pt x="2121" y="335"/>
                  </a:lnTo>
                  <a:lnTo>
                    <a:pt x="2142" y="269"/>
                  </a:lnTo>
                  <a:lnTo>
                    <a:pt x="2177" y="232"/>
                  </a:lnTo>
                  <a:lnTo>
                    <a:pt x="2362" y="245"/>
                  </a:lnTo>
                  <a:lnTo>
                    <a:pt x="2394" y="201"/>
                  </a:lnTo>
                  <a:lnTo>
                    <a:pt x="2418" y="157"/>
                  </a:lnTo>
                  <a:lnTo>
                    <a:pt x="2445" y="83"/>
                  </a:lnTo>
                  <a:lnTo>
                    <a:pt x="2508" y="94"/>
                  </a:lnTo>
                  <a:lnTo>
                    <a:pt x="2517" y="221"/>
                  </a:lnTo>
                  <a:lnTo>
                    <a:pt x="2548" y="236"/>
                  </a:lnTo>
                  <a:lnTo>
                    <a:pt x="2521" y="269"/>
                  </a:lnTo>
                  <a:lnTo>
                    <a:pt x="2480" y="272"/>
                  </a:lnTo>
                  <a:lnTo>
                    <a:pt x="2462" y="300"/>
                  </a:lnTo>
                  <a:lnTo>
                    <a:pt x="2429" y="296"/>
                  </a:lnTo>
                  <a:lnTo>
                    <a:pt x="2421" y="319"/>
                  </a:lnTo>
                  <a:lnTo>
                    <a:pt x="2386" y="319"/>
                  </a:lnTo>
                  <a:lnTo>
                    <a:pt x="2370" y="359"/>
                  </a:lnTo>
                  <a:lnTo>
                    <a:pt x="2362" y="394"/>
                  </a:lnTo>
                  <a:lnTo>
                    <a:pt x="2394" y="426"/>
                  </a:lnTo>
                  <a:lnTo>
                    <a:pt x="2355" y="449"/>
                  </a:lnTo>
                  <a:lnTo>
                    <a:pt x="2271" y="458"/>
                  </a:lnTo>
                  <a:lnTo>
                    <a:pt x="2256" y="493"/>
                  </a:lnTo>
                  <a:lnTo>
                    <a:pt x="2239" y="517"/>
                  </a:lnTo>
                  <a:lnTo>
                    <a:pt x="2192" y="525"/>
                  </a:lnTo>
                  <a:lnTo>
                    <a:pt x="2169" y="556"/>
                  </a:lnTo>
                  <a:lnTo>
                    <a:pt x="2157" y="635"/>
                  </a:lnTo>
                  <a:lnTo>
                    <a:pt x="2125" y="648"/>
                  </a:lnTo>
                  <a:lnTo>
                    <a:pt x="2105" y="672"/>
                  </a:lnTo>
                  <a:lnTo>
                    <a:pt x="2086" y="699"/>
                  </a:lnTo>
                  <a:lnTo>
                    <a:pt x="2109" y="714"/>
                  </a:lnTo>
                  <a:lnTo>
                    <a:pt x="2105" y="810"/>
                  </a:lnTo>
                  <a:lnTo>
                    <a:pt x="2074" y="825"/>
                  </a:lnTo>
                  <a:lnTo>
                    <a:pt x="2066" y="861"/>
                  </a:lnTo>
                  <a:lnTo>
                    <a:pt x="2015" y="858"/>
                  </a:lnTo>
                  <a:lnTo>
                    <a:pt x="1991" y="889"/>
                  </a:lnTo>
                  <a:lnTo>
                    <a:pt x="1943" y="904"/>
                  </a:lnTo>
                  <a:lnTo>
                    <a:pt x="1928" y="948"/>
                  </a:lnTo>
                  <a:lnTo>
                    <a:pt x="1892" y="955"/>
                  </a:lnTo>
                  <a:lnTo>
                    <a:pt x="1853" y="992"/>
                  </a:lnTo>
                  <a:lnTo>
                    <a:pt x="1840" y="1035"/>
                  </a:lnTo>
                  <a:lnTo>
                    <a:pt x="1840" y="1106"/>
                  </a:lnTo>
                  <a:lnTo>
                    <a:pt x="1836" y="1165"/>
                  </a:lnTo>
                  <a:lnTo>
                    <a:pt x="1857" y="1173"/>
                  </a:lnTo>
                  <a:lnTo>
                    <a:pt x="1860" y="1252"/>
                  </a:lnTo>
                  <a:lnTo>
                    <a:pt x="1869" y="1272"/>
                  </a:lnTo>
                  <a:lnTo>
                    <a:pt x="1890" y="1385"/>
                  </a:lnTo>
                  <a:lnTo>
                    <a:pt x="1872" y="1428"/>
                  </a:lnTo>
                  <a:lnTo>
                    <a:pt x="1849" y="1399"/>
                  </a:lnTo>
                  <a:lnTo>
                    <a:pt x="1801" y="1371"/>
                  </a:lnTo>
                  <a:lnTo>
                    <a:pt x="1777" y="1307"/>
                  </a:lnTo>
                  <a:lnTo>
                    <a:pt x="1757" y="1241"/>
                  </a:lnTo>
                  <a:lnTo>
                    <a:pt x="1766" y="1169"/>
                  </a:lnTo>
                  <a:lnTo>
                    <a:pt x="1730" y="1134"/>
                  </a:lnTo>
                  <a:lnTo>
                    <a:pt x="1687" y="1099"/>
                  </a:lnTo>
                  <a:lnTo>
                    <a:pt x="1632" y="1110"/>
                  </a:lnTo>
                  <a:lnTo>
                    <a:pt x="1588" y="1086"/>
                  </a:lnTo>
                  <a:lnTo>
                    <a:pt x="1485" y="1094"/>
                  </a:lnTo>
                  <a:lnTo>
                    <a:pt x="1454" y="1117"/>
                  </a:lnTo>
                  <a:lnTo>
                    <a:pt x="1474" y="1165"/>
                  </a:lnTo>
                  <a:lnTo>
                    <a:pt x="1426" y="1169"/>
                  </a:lnTo>
                  <a:lnTo>
                    <a:pt x="1374" y="1158"/>
                  </a:lnTo>
                  <a:lnTo>
                    <a:pt x="1367" y="1094"/>
                  </a:lnTo>
                  <a:lnTo>
                    <a:pt x="1330" y="1106"/>
                  </a:lnTo>
                  <a:lnTo>
                    <a:pt x="1319" y="1154"/>
                  </a:lnTo>
                  <a:lnTo>
                    <a:pt x="1292" y="1145"/>
                  </a:lnTo>
                  <a:lnTo>
                    <a:pt x="1264" y="1106"/>
                  </a:lnTo>
                  <a:lnTo>
                    <a:pt x="1233" y="1126"/>
                  </a:lnTo>
                  <a:lnTo>
                    <a:pt x="1205" y="1154"/>
                  </a:lnTo>
                  <a:lnTo>
                    <a:pt x="1177" y="1197"/>
                  </a:lnTo>
                  <a:lnTo>
                    <a:pt x="1150" y="1228"/>
                  </a:lnTo>
                  <a:lnTo>
                    <a:pt x="1098" y="1252"/>
                  </a:lnTo>
                  <a:lnTo>
                    <a:pt x="1078" y="1327"/>
                  </a:lnTo>
                  <a:lnTo>
                    <a:pt x="1015" y="1327"/>
                  </a:lnTo>
                  <a:lnTo>
                    <a:pt x="1003" y="1264"/>
                  </a:lnTo>
                  <a:lnTo>
                    <a:pt x="964" y="1244"/>
                  </a:lnTo>
                  <a:lnTo>
                    <a:pt x="951" y="1176"/>
                  </a:lnTo>
                  <a:lnTo>
                    <a:pt x="924" y="1141"/>
                  </a:lnTo>
                  <a:lnTo>
                    <a:pt x="876" y="1106"/>
                  </a:lnTo>
                  <a:lnTo>
                    <a:pt x="861" y="1169"/>
                  </a:lnTo>
                  <a:lnTo>
                    <a:pt x="813" y="1169"/>
                  </a:lnTo>
                  <a:lnTo>
                    <a:pt x="789" y="1094"/>
                  </a:lnTo>
                  <a:lnTo>
                    <a:pt x="762" y="1086"/>
                  </a:lnTo>
                  <a:lnTo>
                    <a:pt x="758" y="1042"/>
                  </a:lnTo>
                  <a:lnTo>
                    <a:pt x="723" y="1035"/>
                  </a:lnTo>
                  <a:lnTo>
                    <a:pt x="706" y="987"/>
                  </a:lnTo>
                  <a:lnTo>
                    <a:pt x="675" y="1011"/>
                  </a:lnTo>
                  <a:lnTo>
                    <a:pt x="635" y="1014"/>
                  </a:lnTo>
                  <a:lnTo>
                    <a:pt x="627" y="1042"/>
                  </a:lnTo>
                  <a:lnTo>
                    <a:pt x="561" y="1042"/>
                  </a:lnTo>
                  <a:lnTo>
                    <a:pt x="509" y="1062"/>
                  </a:lnTo>
                  <a:lnTo>
                    <a:pt x="438" y="1047"/>
                  </a:lnTo>
                  <a:lnTo>
                    <a:pt x="390" y="999"/>
                  </a:lnTo>
                  <a:lnTo>
                    <a:pt x="351" y="983"/>
                  </a:lnTo>
                  <a:lnTo>
                    <a:pt x="339" y="955"/>
                  </a:lnTo>
                  <a:lnTo>
                    <a:pt x="241" y="952"/>
                  </a:lnTo>
                  <a:lnTo>
                    <a:pt x="244" y="913"/>
                  </a:lnTo>
                  <a:lnTo>
                    <a:pt x="185" y="893"/>
                  </a:lnTo>
                  <a:lnTo>
                    <a:pt x="145" y="861"/>
                  </a:lnTo>
                  <a:lnTo>
                    <a:pt x="101" y="841"/>
                  </a:lnTo>
                  <a:lnTo>
                    <a:pt x="110" y="778"/>
                  </a:lnTo>
                  <a:lnTo>
                    <a:pt x="55" y="766"/>
                  </a:lnTo>
                  <a:lnTo>
                    <a:pt x="59" y="731"/>
                  </a:lnTo>
                  <a:lnTo>
                    <a:pt x="74" y="687"/>
                  </a:lnTo>
                  <a:lnTo>
                    <a:pt x="46" y="652"/>
                  </a:lnTo>
                  <a:lnTo>
                    <a:pt x="7" y="611"/>
                  </a:lnTo>
                  <a:lnTo>
                    <a:pt x="0" y="477"/>
                  </a:lnTo>
                  <a:lnTo>
                    <a:pt x="27" y="453"/>
                  </a:lnTo>
                  <a:lnTo>
                    <a:pt x="7" y="434"/>
                  </a:lnTo>
                  <a:lnTo>
                    <a:pt x="3" y="411"/>
                  </a:lnTo>
                  <a:lnTo>
                    <a:pt x="15" y="387"/>
                  </a:lnTo>
                  <a:lnTo>
                    <a:pt x="24" y="335"/>
                  </a:lnTo>
                  <a:lnTo>
                    <a:pt x="46" y="319"/>
                  </a:lnTo>
                  <a:lnTo>
                    <a:pt x="46" y="241"/>
                  </a:lnTo>
                  <a:lnTo>
                    <a:pt x="70" y="221"/>
                  </a:lnTo>
                  <a:lnTo>
                    <a:pt x="90" y="129"/>
                  </a:lnTo>
                  <a:lnTo>
                    <a:pt x="114" y="122"/>
                  </a:lnTo>
                  <a:lnTo>
                    <a:pt x="83" y="83"/>
                  </a:lnTo>
                  <a:lnTo>
                    <a:pt x="83" y="43"/>
                  </a:lnTo>
                  <a:lnTo>
                    <a:pt x="121" y="35"/>
                  </a:lnTo>
                  <a:lnTo>
                    <a:pt x="149" y="66"/>
                  </a:lnTo>
                  <a:lnTo>
                    <a:pt x="169" y="94"/>
                  </a:lnTo>
                  <a:lnTo>
                    <a:pt x="177" y="4"/>
                  </a:lnTo>
                  <a:close/>
                </a:path>
              </a:pathLst>
            </a:custGeom>
            <a:solidFill>
              <a:srgbClr val="A0AEC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4" name="Freeform 94"/>
            <p:cNvSpPr>
              <a:spLocks noChangeAspect="1"/>
            </p:cNvSpPr>
            <p:nvPr/>
          </p:nvSpPr>
          <p:spPr bwMode="auto">
            <a:xfrm>
              <a:off x="5871482" y="1856956"/>
              <a:ext cx="2025497" cy="1212295"/>
            </a:xfrm>
            <a:custGeom>
              <a:avLst/>
              <a:gdLst/>
              <a:ahLst/>
              <a:cxnLst>
                <a:cxn ang="0">
                  <a:pos x="3226" y="948"/>
                </a:cxn>
                <a:cxn ang="0">
                  <a:pos x="3237" y="1075"/>
                </a:cxn>
                <a:cxn ang="0">
                  <a:pos x="3347" y="1181"/>
                </a:cxn>
                <a:cxn ang="0">
                  <a:pos x="3344" y="1280"/>
                </a:cxn>
                <a:cxn ang="0">
                  <a:pos x="3399" y="1272"/>
                </a:cxn>
                <a:cxn ang="0">
                  <a:pos x="3454" y="1402"/>
                </a:cxn>
                <a:cxn ang="0">
                  <a:pos x="3285" y="1494"/>
                </a:cxn>
                <a:cxn ang="0">
                  <a:pos x="2972" y="1533"/>
                </a:cxn>
                <a:cxn ang="0">
                  <a:pos x="3008" y="1564"/>
                </a:cxn>
                <a:cxn ang="0">
                  <a:pos x="3206" y="1770"/>
                </a:cxn>
                <a:cxn ang="0">
                  <a:pos x="3091" y="1754"/>
                </a:cxn>
                <a:cxn ang="0">
                  <a:pos x="2898" y="1818"/>
                </a:cxn>
                <a:cxn ang="0">
                  <a:pos x="2775" y="1798"/>
                </a:cxn>
                <a:cxn ang="0">
                  <a:pos x="2502" y="1932"/>
                </a:cxn>
                <a:cxn ang="0">
                  <a:pos x="2194" y="2023"/>
                </a:cxn>
                <a:cxn ang="0">
                  <a:pos x="2182" y="1726"/>
                </a:cxn>
                <a:cxn ang="0">
                  <a:pos x="1838" y="1628"/>
                </a:cxn>
                <a:cxn ang="0">
                  <a:pos x="499" y="1525"/>
                </a:cxn>
                <a:cxn ang="0">
                  <a:pos x="384" y="1308"/>
                </a:cxn>
                <a:cxn ang="0">
                  <a:pos x="317" y="1189"/>
                </a:cxn>
                <a:cxn ang="0">
                  <a:pos x="289" y="1031"/>
                </a:cxn>
                <a:cxn ang="0">
                  <a:pos x="158" y="885"/>
                </a:cxn>
                <a:cxn ang="0">
                  <a:pos x="72" y="916"/>
                </a:cxn>
                <a:cxn ang="0">
                  <a:pos x="202" y="162"/>
                </a:cxn>
                <a:cxn ang="0">
                  <a:pos x="502" y="197"/>
                </a:cxn>
                <a:cxn ang="0">
                  <a:pos x="609" y="165"/>
                </a:cxn>
                <a:cxn ang="0">
                  <a:pos x="771" y="83"/>
                </a:cxn>
                <a:cxn ang="0">
                  <a:pos x="918" y="178"/>
                </a:cxn>
                <a:cxn ang="0">
                  <a:pos x="1312" y="245"/>
                </a:cxn>
                <a:cxn ang="0">
                  <a:pos x="1534" y="340"/>
                </a:cxn>
                <a:cxn ang="0">
                  <a:pos x="1858" y="300"/>
                </a:cxn>
                <a:cxn ang="0">
                  <a:pos x="2032" y="268"/>
                </a:cxn>
                <a:cxn ang="0">
                  <a:pos x="2040" y="79"/>
                </a:cxn>
                <a:cxn ang="0">
                  <a:pos x="2170" y="106"/>
                </a:cxn>
                <a:cxn ang="0">
                  <a:pos x="2289" y="186"/>
                </a:cxn>
                <a:cxn ang="0">
                  <a:pos x="2368" y="280"/>
                </a:cxn>
                <a:cxn ang="0">
                  <a:pos x="2573" y="233"/>
                </a:cxn>
                <a:cxn ang="0">
                  <a:pos x="2407" y="383"/>
                </a:cxn>
                <a:cxn ang="0">
                  <a:pos x="2226" y="419"/>
                </a:cxn>
                <a:cxn ang="0">
                  <a:pos x="2254" y="553"/>
                </a:cxn>
                <a:cxn ang="0">
                  <a:pos x="2028" y="710"/>
                </a:cxn>
                <a:cxn ang="0">
                  <a:pos x="1949" y="944"/>
                </a:cxn>
                <a:cxn ang="0">
                  <a:pos x="2226" y="1154"/>
                </a:cxn>
                <a:cxn ang="0">
                  <a:pos x="2340" y="1383"/>
                </a:cxn>
                <a:cxn ang="0">
                  <a:pos x="2471" y="1446"/>
                </a:cxn>
                <a:cxn ang="0">
                  <a:pos x="2510" y="1205"/>
                </a:cxn>
                <a:cxn ang="0">
                  <a:pos x="2585" y="1105"/>
                </a:cxn>
                <a:cxn ang="0">
                  <a:pos x="2585" y="1005"/>
                </a:cxn>
                <a:cxn ang="0">
                  <a:pos x="2568" y="953"/>
                </a:cxn>
                <a:cxn ang="0">
                  <a:pos x="2597" y="920"/>
                </a:cxn>
                <a:cxn ang="0">
                  <a:pos x="2661" y="655"/>
                </a:cxn>
                <a:cxn ang="0">
                  <a:pos x="2909" y="778"/>
                </a:cxn>
                <a:cxn ang="0">
                  <a:pos x="3016" y="980"/>
                </a:cxn>
              </a:cxnLst>
              <a:rect l="0" t="0" r="r" b="b"/>
              <a:pathLst>
                <a:path w="3454" h="2050">
                  <a:moveTo>
                    <a:pt x="3154" y="850"/>
                  </a:moveTo>
                  <a:lnTo>
                    <a:pt x="3177" y="887"/>
                  </a:lnTo>
                  <a:lnTo>
                    <a:pt x="3190" y="948"/>
                  </a:lnTo>
                  <a:lnTo>
                    <a:pt x="3226" y="948"/>
                  </a:lnTo>
                  <a:lnTo>
                    <a:pt x="3237" y="1027"/>
                  </a:lnTo>
                  <a:lnTo>
                    <a:pt x="3261" y="1023"/>
                  </a:lnTo>
                  <a:lnTo>
                    <a:pt x="3261" y="1058"/>
                  </a:lnTo>
                  <a:lnTo>
                    <a:pt x="3237" y="1075"/>
                  </a:lnTo>
                  <a:lnTo>
                    <a:pt x="3241" y="1106"/>
                  </a:lnTo>
                  <a:lnTo>
                    <a:pt x="3273" y="1115"/>
                  </a:lnTo>
                  <a:lnTo>
                    <a:pt x="3288" y="1189"/>
                  </a:lnTo>
                  <a:lnTo>
                    <a:pt x="3347" y="1181"/>
                  </a:lnTo>
                  <a:lnTo>
                    <a:pt x="3340" y="1213"/>
                  </a:lnTo>
                  <a:lnTo>
                    <a:pt x="3388" y="1205"/>
                  </a:lnTo>
                  <a:lnTo>
                    <a:pt x="3356" y="1249"/>
                  </a:lnTo>
                  <a:lnTo>
                    <a:pt x="3344" y="1280"/>
                  </a:lnTo>
                  <a:lnTo>
                    <a:pt x="3281" y="1296"/>
                  </a:lnTo>
                  <a:lnTo>
                    <a:pt x="3308" y="1312"/>
                  </a:lnTo>
                  <a:lnTo>
                    <a:pt x="3356" y="1296"/>
                  </a:lnTo>
                  <a:lnTo>
                    <a:pt x="3399" y="1272"/>
                  </a:lnTo>
                  <a:lnTo>
                    <a:pt x="3443" y="1277"/>
                  </a:lnTo>
                  <a:lnTo>
                    <a:pt x="3450" y="1316"/>
                  </a:lnTo>
                  <a:lnTo>
                    <a:pt x="3450" y="1371"/>
                  </a:lnTo>
                  <a:lnTo>
                    <a:pt x="3454" y="1402"/>
                  </a:lnTo>
                  <a:lnTo>
                    <a:pt x="3450" y="1426"/>
                  </a:lnTo>
                  <a:lnTo>
                    <a:pt x="3395" y="1442"/>
                  </a:lnTo>
                  <a:lnTo>
                    <a:pt x="3347" y="1439"/>
                  </a:lnTo>
                  <a:lnTo>
                    <a:pt x="3285" y="1494"/>
                  </a:lnTo>
                  <a:lnTo>
                    <a:pt x="3178" y="1505"/>
                  </a:lnTo>
                  <a:lnTo>
                    <a:pt x="3067" y="1505"/>
                  </a:lnTo>
                  <a:lnTo>
                    <a:pt x="3012" y="1498"/>
                  </a:lnTo>
                  <a:lnTo>
                    <a:pt x="2972" y="1533"/>
                  </a:lnTo>
                  <a:lnTo>
                    <a:pt x="2913" y="1560"/>
                  </a:lnTo>
                  <a:lnTo>
                    <a:pt x="2858" y="1632"/>
                  </a:lnTo>
                  <a:lnTo>
                    <a:pt x="2953" y="1592"/>
                  </a:lnTo>
                  <a:lnTo>
                    <a:pt x="3008" y="1564"/>
                  </a:lnTo>
                  <a:lnTo>
                    <a:pt x="3064" y="1597"/>
                  </a:lnTo>
                  <a:lnTo>
                    <a:pt x="3027" y="1652"/>
                  </a:lnTo>
                  <a:lnTo>
                    <a:pt x="3079" y="1707"/>
                  </a:lnTo>
                  <a:lnTo>
                    <a:pt x="3206" y="1770"/>
                  </a:lnTo>
                  <a:lnTo>
                    <a:pt x="3091" y="1833"/>
                  </a:lnTo>
                  <a:lnTo>
                    <a:pt x="2981" y="1908"/>
                  </a:lnTo>
                  <a:lnTo>
                    <a:pt x="2957" y="1881"/>
                  </a:lnTo>
                  <a:lnTo>
                    <a:pt x="3091" y="1754"/>
                  </a:lnTo>
                  <a:lnTo>
                    <a:pt x="3084" y="1735"/>
                  </a:lnTo>
                  <a:lnTo>
                    <a:pt x="3044" y="1735"/>
                  </a:lnTo>
                  <a:lnTo>
                    <a:pt x="2929" y="1833"/>
                  </a:lnTo>
                  <a:lnTo>
                    <a:pt x="2898" y="1818"/>
                  </a:lnTo>
                  <a:lnTo>
                    <a:pt x="2889" y="1691"/>
                  </a:lnTo>
                  <a:lnTo>
                    <a:pt x="2826" y="1680"/>
                  </a:lnTo>
                  <a:lnTo>
                    <a:pt x="2799" y="1754"/>
                  </a:lnTo>
                  <a:lnTo>
                    <a:pt x="2775" y="1798"/>
                  </a:lnTo>
                  <a:lnTo>
                    <a:pt x="2743" y="1842"/>
                  </a:lnTo>
                  <a:lnTo>
                    <a:pt x="2558" y="1829"/>
                  </a:lnTo>
                  <a:lnTo>
                    <a:pt x="2523" y="1866"/>
                  </a:lnTo>
                  <a:lnTo>
                    <a:pt x="2502" y="1932"/>
                  </a:lnTo>
                  <a:lnTo>
                    <a:pt x="2399" y="1928"/>
                  </a:lnTo>
                  <a:lnTo>
                    <a:pt x="2361" y="1964"/>
                  </a:lnTo>
                  <a:lnTo>
                    <a:pt x="2261" y="2050"/>
                  </a:lnTo>
                  <a:lnTo>
                    <a:pt x="2194" y="2023"/>
                  </a:lnTo>
                  <a:lnTo>
                    <a:pt x="2217" y="1987"/>
                  </a:lnTo>
                  <a:lnTo>
                    <a:pt x="2273" y="1908"/>
                  </a:lnTo>
                  <a:lnTo>
                    <a:pt x="2230" y="1818"/>
                  </a:lnTo>
                  <a:lnTo>
                    <a:pt x="2182" y="1726"/>
                  </a:lnTo>
                  <a:lnTo>
                    <a:pt x="2107" y="1687"/>
                  </a:lnTo>
                  <a:lnTo>
                    <a:pt x="2044" y="1640"/>
                  </a:lnTo>
                  <a:lnTo>
                    <a:pt x="1965" y="1640"/>
                  </a:lnTo>
                  <a:lnTo>
                    <a:pt x="1838" y="1628"/>
                  </a:lnTo>
                  <a:lnTo>
                    <a:pt x="1755" y="1628"/>
                  </a:lnTo>
                  <a:lnTo>
                    <a:pt x="1759" y="1597"/>
                  </a:lnTo>
                  <a:lnTo>
                    <a:pt x="558" y="1601"/>
                  </a:lnTo>
                  <a:lnTo>
                    <a:pt x="499" y="1525"/>
                  </a:lnTo>
                  <a:lnTo>
                    <a:pt x="440" y="1485"/>
                  </a:lnTo>
                  <a:lnTo>
                    <a:pt x="392" y="1430"/>
                  </a:lnTo>
                  <a:lnTo>
                    <a:pt x="388" y="1363"/>
                  </a:lnTo>
                  <a:lnTo>
                    <a:pt x="384" y="1308"/>
                  </a:lnTo>
                  <a:lnTo>
                    <a:pt x="340" y="1312"/>
                  </a:lnTo>
                  <a:lnTo>
                    <a:pt x="337" y="1268"/>
                  </a:lnTo>
                  <a:lnTo>
                    <a:pt x="309" y="1257"/>
                  </a:lnTo>
                  <a:lnTo>
                    <a:pt x="317" y="1189"/>
                  </a:lnTo>
                  <a:lnTo>
                    <a:pt x="337" y="1154"/>
                  </a:lnTo>
                  <a:lnTo>
                    <a:pt x="368" y="1122"/>
                  </a:lnTo>
                  <a:lnTo>
                    <a:pt x="305" y="1106"/>
                  </a:lnTo>
                  <a:lnTo>
                    <a:pt x="289" y="1031"/>
                  </a:lnTo>
                  <a:lnTo>
                    <a:pt x="265" y="1019"/>
                  </a:lnTo>
                  <a:lnTo>
                    <a:pt x="254" y="964"/>
                  </a:lnTo>
                  <a:lnTo>
                    <a:pt x="186" y="889"/>
                  </a:lnTo>
                  <a:lnTo>
                    <a:pt x="158" y="885"/>
                  </a:lnTo>
                  <a:lnTo>
                    <a:pt x="151" y="916"/>
                  </a:lnTo>
                  <a:lnTo>
                    <a:pt x="123" y="916"/>
                  </a:lnTo>
                  <a:lnTo>
                    <a:pt x="112" y="944"/>
                  </a:lnTo>
                  <a:lnTo>
                    <a:pt x="72" y="916"/>
                  </a:lnTo>
                  <a:lnTo>
                    <a:pt x="61" y="857"/>
                  </a:lnTo>
                  <a:lnTo>
                    <a:pt x="40" y="841"/>
                  </a:lnTo>
                  <a:lnTo>
                    <a:pt x="0" y="857"/>
                  </a:lnTo>
                  <a:lnTo>
                    <a:pt x="202" y="162"/>
                  </a:lnTo>
                  <a:lnTo>
                    <a:pt x="333" y="186"/>
                  </a:lnTo>
                  <a:lnTo>
                    <a:pt x="451" y="241"/>
                  </a:lnTo>
                  <a:lnTo>
                    <a:pt x="499" y="245"/>
                  </a:lnTo>
                  <a:lnTo>
                    <a:pt x="502" y="197"/>
                  </a:lnTo>
                  <a:lnTo>
                    <a:pt x="546" y="165"/>
                  </a:lnTo>
                  <a:lnTo>
                    <a:pt x="657" y="94"/>
                  </a:lnTo>
                  <a:lnTo>
                    <a:pt x="688" y="114"/>
                  </a:lnTo>
                  <a:lnTo>
                    <a:pt x="609" y="165"/>
                  </a:lnTo>
                  <a:lnTo>
                    <a:pt x="692" y="162"/>
                  </a:lnTo>
                  <a:lnTo>
                    <a:pt x="723" y="130"/>
                  </a:lnTo>
                  <a:lnTo>
                    <a:pt x="743" y="94"/>
                  </a:lnTo>
                  <a:lnTo>
                    <a:pt x="771" y="83"/>
                  </a:lnTo>
                  <a:lnTo>
                    <a:pt x="811" y="150"/>
                  </a:lnTo>
                  <a:lnTo>
                    <a:pt x="863" y="158"/>
                  </a:lnTo>
                  <a:lnTo>
                    <a:pt x="885" y="130"/>
                  </a:lnTo>
                  <a:lnTo>
                    <a:pt x="918" y="178"/>
                  </a:lnTo>
                  <a:lnTo>
                    <a:pt x="957" y="145"/>
                  </a:lnTo>
                  <a:lnTo>
                    <a:pt x="1128" y="201"/>
                  </a:lnTo>
                  <a:lnTo>
                    <a:pt x="1233" y="206"/>
                  </a:lnTo>
                  <a:lnTo>
                    <a:pt x="1312" y="245"/>
                  </a:lnTo>
                  <a:lnTo>
                    <a:pt x="1297" y="300"/>
                  </a:lnTo>
                  <a:lnTo>
                    <a:pt x="1404" y="268"/>
                  </a:lnTo>
                  <a:lnTo>
                    <a:pt x="1479" y="344"/>
                  </a:lnTo>
                  <a:lnTo>
                    <a:pt x="1534" y="340"/>
                  </a:lnTo>
                  <a:lnTo>
                    <a:pt x="1526" y="300"/>
                  </a:lnTo>
                  <a:lnTo>
                    <a:pt x="1590" y="237"/>
                  </a:lnTo>
                  <a:lnTo>
                    <a:pt x="1656" y="288"/>
                  </a:lnTo>
                  <a:lnTo>
                    <a:pt x="1858" y="300"/>
                  </a:lnTo>
                  <a:lnTo>
                    <a:pt x="1894" y="257"/>
                  </a:lnTo>
                  <a:lnTo>
                    <a:pt x="1953" y="248"/>
                  </a:lnTo>
                  <a:lnTo>
                    <a:pt x="1985" y="296"/>
                  </a:lnTo>
                  <a:lnTo>
                    <a:pt x="2032" y="268"/>
                  </a:lnTo>
                  <a:lnTo>
                    <a:pt x="2076" y="237"/>
                  </a:lnTo>
                  <a:lnTo>
                    <a:pt x="2052" y="145"/>
                  </a:lnTo>
                  <a:lnTo>
                    <a:pt x="1996" y="106"/>
                  </a:lnTo>
                  <a:lnTo>
                    <a:pt x="2040" y="79"/>
                  </a:lnTo>
                  <a:lnTo>
                    <a:pt x="2063" y="39"/>
                  </a:lnTo>
                  <a:lnTo>
                    <a:pt x="2123" y="0"/>
                  </a:lnTo>
                  <a:lnTo>
                    <a:pt x="2186" y="55"/>
                  </a:lnTo>
                  <a:lnTo>
                    <a:pt x="2170" y="106"/>
                  </a:lnTo>
                  <a:lnTo>
                    <a:pt x="2179" y="150"/>
                  </a:lnTo>
                  <a:lnTo>
                    <a:pt x="2217" y="186"/>
                  </a:lnTo>
                  <a:lnTo>
                    <a:pt x="2238" y="248"/>
                  </a:lnTo>
                  <a:lnTo>
                    <a:pt x="2289" y="186"/>
                  </a:lnTo>
                  <a:lnTo>
                    <a:pt x="2317" y="241"/>
                  </a:lnTo>
                  <a:lnTo>
                    <a:pt x="2313" y="331"/>
                  </a:lnTo>
                  <a:lnTo>
                    <a:pt x="2352" y="331"/>
                  </a:lnTo>
                  <a:lnTo>
                    <a:pt x="2368" y="280"/>
                  </a:lnTo>
                  <a:lnTo>
                    <a:pt x="2423" y="224"/>
                  </a:lnTo>
                  <a:lnTo>
                    <a:pt x="2447" y="150"/>
                  </a:lnTo>
                  <a:lnTo>
                    <a:pt x="2545" y="162"/>
                  </a:lnTo>
                  <a:lnTo>
                    <a:pt x="2573" y="233"/>
                  </a:lnTo>
                  <a:lnTo>
                    <a:pt x="2534" y="257"/>
                  </a:lnTo>
                  <a:lnTo>
                    <a:pt x="2554" y="347"/>
                  </a:lnTo>
                  <a:lnTo>
                    <a:pt x="2427" y="414"/>
                  </a:lnTo>
                  <a:lnTo>
                    <a:pt x="2407" y="383"/>
                  </a:lnTo>
                  <a:lnTo>
                    <a:pt x="2340" y="386"/>
                  </a:lnTo>
                  <a:lnTo>
                    <a:pt x="2328" y="442"/>
                  </a:lnTo>
                  <a:lnTo>
                    <a:pt x="2249" y="442"/>
                  </a:lnTo>
                  <a:lnTo>
                    <a:pt x="2226" y="419"/>
                  </a:lnTo>
                  <a:lnTo>
                    <a:pt x="2194" y="423"/>
                  </a:lnTo>
                  <a:lnTo>
                    <a:pt x="2197" y="454"/>
                  </a:lnTo>
                  <a:lnTo>
                    <a:pt x="2273" y="482"/>
                  </a:lnTo>
                  <a:lnTo>
                    <a:pt x="2254" y="553"/>
                  </a:lnTo>
                  <a:lnTo>
                    <a:pt x="2214" y="581"/>
                  </a:lnTo>
                  <a:lnTo>
                    <a:pt x="2151" y="589"/>
                  </a:lnTo>
                  <a:lnTo>
                    <a:pt x="2114" y="644"/>
                  </a:lnTo>
                  <a:lnTo>
                    <a:pt x="2028" y="710"/>
                  </a:lnTo>
                  <a:lnTo>
                    <a:pt x="1956" y="774"/>
                  </a:lnTo>
                  <a:lnTo>
                    <a:pt x="1897" y="865"/>
                  </a:lnTo>
                  <a:lnTo>
                    <a:pt x="1894" y="933"/>
                  </a:lnTo>
                  <a:lnTo>
                    <a:pt x="1949" y="944"/>
                  </a:lnTo>
                  <a:lnTo>
                    <a:pt x="1976" y="1054"/>
                  </a:lnTo>
                  <a:lnTo>
                    <a:pt x="2099" y="1071"/>
                  </a:lnTo>
                  <a:lnTo>
                    <a:pt x="2179" y="1146"/>
                  </a:lnTo>
                  <a:lnTo>
                    <a:pt x="2226" y="1154"/>
                  </a:lnTo>
                  <a:lnTo>
                    <a:pt x="2273" y="1205"/>
                  </a:lnTo>
                  <a:lnTo>
                    <a:pt x="2356" y="1198"/>
                  </a:lnTo>
                  <a:lnTo>
                    <a:pt x="2348" y="1296"/>
                  </a:lnTo>
                  <a:lnTo>
                    <a:pt x="2340" y="1383"/>
                  </a:lnTo>
                  <a:lnTo>
                    <a:pt x="2372" y="1446"/>
                  </a:lnTo>
                  <a:lnTo>
                    <a:pt x="2407" y="1450"/>
                  </a:lnTo>
                  <a:lnTo>
                    <a:pt x="2435" y="1419"/>
                  </a:lnTo>
                  <a:lnTo>
                    <a:pt x="2471" y="1446"/>
                  </a:lnTo>
                  <a:lnTo>
                    <a:pt x="2486" y="1411"/>
                  </a:lnTo>
                  <a:lnTo>
                    <a:pt x="2506" y="1312"/>
                  </a:lnTo>
                  <a:lnTo>
                    <a:pt x="2502" y="1272"/>
                  </a:lnTo>
                  <a:lnTo>
                    <a:pt x="2510" y="1205"/>
                  </a:lnTo>
                  <a:lnTo>
                    <a:pt x="2578" y="1170"/>
                  </a:lnTo>
                  <a:lnTo>
                    <a:pt x="2578" y="1170"/>
                  </a:lnTo>
                  <a:lnTo>
                    <a:pt x="2582" y="1137"/>
                  </a:lnTo>
                  <a:lnTo>
                    <a:pt x="2585" y="1105"/>
                  </a:lnTo>
                  <a:lnTo>
                    <a:pt x="2588" y="1066"/>
                  </a:lnTo>
                  <a:lnTo>
                    <a:pt x="2588" y="1044"/>
                  </a:lnTo>
                  <a:lnTo>
                    <a:pt x="2587" y="1024"/>
                  </a:lnTo>
                  <a:lnTo>
                    <a:pt x="2585" y="1005"/>
                  </a:lnTo>
                  <a:lnTo>
                    <a:pt x="2583" y="988"/>
                  </a:lnTo>
                  <a:lnTo>
                    <a:pt x="2578" y="972"/>
                  </a:lnTo>
                  <a:lnTo>
                    <a:pt x="2571" y="958"/>
                  </a:lnTo>
                  <a:lnTo>
                    <a:pt x="2568" y="953"/>
                  </a:lnTo>
                  <a:lnTo>
                    <a:pt x="2564" y="948"/>
                  </a:lnTo>
                  <a:lnTo>
                    <a:pt x="2559" y="943"/>
                  </a:lnTo>
                  <a:lnTo>
                    <a:pt x="2554" y="940"/>
                  </a:lnTo>
                  <a:lnTo>
                    <a:pt x="2597" y="920"/>
                  </a:lnTo>
                  <a:lnTo>
                    <a:pt x="2613" y="830"/>
                  </a:lnTo>
                  <a:lnTo>
                    <a:pt x="2602" y="798"/>
                  </a:lnTo>
                  <a:lnTo>
                    <a:pt x="2613" y="727"/>
                  </a:lnTo>
                  <a:lnTo>
                    <a:pt x="2661" y="655"/>
                  </a:lnTo>
                  <a:lnTo>
                    <a:pt x="2731" y="695"/>
                  </a:lnTo>
                  <a:lnTo>
                    <a:pt x="2830" y="695"/>
                  </a:lnTo>
                  <a:lnTo>
                    <a:pt x="2870" y="734"/>
                  </a:lnTo>
                  <a:lnTo>
                    <a:pt x="2909" y="778"/>
                  </a:lnTo>
                  <a:lnTo>
                    <a:pt x="2972" y="802"/>
                  </a:lnTo>
                  <a:lnTo>
                    <a:pt x="2944" y="837"/>
                  </a:lnTo>
                  <a:lnTo>
                    <a:pt x="2949" y="960"/>
                  </a:lnTo>
                  <a:lnTo>
                    <a:pt x="3016" y="980"/>
                  </a:lnTo>
                  <a:lnTo>
                    <a:pt x="3087" y="957"/>
                  </a:lnTo>
                  <a:lnTo>
                    <a:pt x="3115" y="916"/>
                  </a:lnTo>
                  <a:lnTo>
                    <a:pt x="3154" y="85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Freeform 95"/>
            <p:cNvSpPr>
              <a:spLocks noChangeAspect="1"/>
            </p:cNvSpPr>
            <p:nvPr/>
          </p:nvSpPr>
          <p:spPr bwMode="auto">
            <a:xfrm>
              <a:off x="5491702" y="2469316"/>
              <a:ext cx="52747" cy="53249"/>
            </a:xfrm>
            <a:custGeom>
              <a:avLst/>
              <a:gdLst/>
              <a:ahLst/>
              <a:cxnLst>
                <a:cxn ang="0">
                  <a:pos x="28" y="27"/>
                </a:cxn>
                <a:cxn ang="0">
                  <a:pos x="44" y="0"/>
                </a:cxn>
                <a:cxn ang="0">
                  <a:pos x="88" y="0"/>
                </a:cxn>
                <a:cxn ang="0">
                  <a:pos x="88" y="39"/>
                </a:cxn>
                <a:cxn ang="0">
                  <a:pos x="37" y="90"/>
                </a:cxn>
                <a:cxn ang="0">
                  <a:pos x="0" y="55"/>
                </a:cxn>
                <a:cxn ang="0">
                  <a:pos x="28" y="27"/>
                </a:cxn>
              </a:cxnLst>
              <a:rect l="0" t="0" r="r" b="b"/>
              <a:pathLst>
                <a:path w="88" h="90">
                  <a:moveTo>
                    <a:pt x="28" y="27"/>
                  </a:moveTo>
                  <a:lnTo>
                    <a:pt x="44" y="0"/>
                  </a:lnTo>
                  <a:lnTo>
                    <a:pt x="88" y="0"/>
                  </a:lnTo>
                  <a:lnTo>
                    <a:pt x="88" y="39"/>
                  </a:lnTo>
                  <a:lnTo>
                    <a:pt x="37" y="90"/>
                  </a:lnTo>
                  <a:lnTo>
                    <a:pt x="0" y="55"/>
                  </a:lnTo>
                  <a:lnTo>
                    <a:pt x="28" y="2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Freeform 96"/>
            <p:cNvSpPr>
              <a:spLocks noChangeAspect="1"/>
            </p:cNvSpPr>
            <p:nvPr/>
          </p:nvSpPr>
          <p:spPr bwMode="auto">
            <a:xfrm>
              <a:off x="7795001" y="2724909"/>
              <a:ext cx="147692" cy="156196"/>
            </a:xfrm>
            <a:custGeom>
              <a:avLst/>
              <a:gdLst/>
              <a:ahLst/>
              <a:cxnLst>
                <a:cxn ang="0">
                  <a:pos x="138" y="0"/>
                </a:cxn>
                <a:cxn ang="0">
                  <a:pos x="107" y="12"/>
                </a:cxn>
                <a:cxn ang="0">
                  <a:pos x="86" y="43"/>
                </a:cxn>
                <a:cxn ang="0">
                  <a:pos x="59" y="79"/>
                </a:cxn>
                <a:cxn ang="0">
                  <a:pos x="20" y="98"/>
                </a:cxn>
                <a:cxn ang="0">
                  <a:pos x="0" y="142"/>
                </a:cxn>
                <a:cxn ang="0">
                  <a:pos x="0" y="205"/>
                </a:cxn>
                <a:cxn ang="0">
                  <a:pos x="51" y="214"/>
                </a:cxn>
                <a:cxn ang="0">
                  <a:pos x="94" y="194"/>
                </a:cxn>
                <a:cxn ang="0">
                  <a:pos x="130" y="194"/>
                </a:cxn>
                <a:cxn ang="0">
                  <a:pos x="138" y="253"/>
                </a:cxn>
                <a:cxn ang="0">
                  <a:pos x="169" y="265"/>
                </a:cxn>
                <a:cxn ang="0">
                  <a:pos x="169" y="221"/>
                </a:cxn>
                <a:cxn ang="0">
                  <a:pos x="197" y="229"/>
                </a:cxn>
                <a:cxn ang="0">
                  <a:pos x="209" y="265"/>
                </a:cxn>
                <a:cxn ang="0">
                  <a:pos x="233" y="209"/>
                </a:cxn>
                <a:cxn ang="0">
                  <a:pos x="252" y="162"/>
                </a:cxn>
                <a:cxn ang="0">
                  <a:pos x="241" y="94"/>
                </a:cxn>
                <a:cxn ang="0">
                  <a:pos x="209" y="83"/>
                </a:cxn>
                <a:cxn ang="0">
                  <a:pos x="169" y="83"/>
                </a:cxn>
                <a:cxn ang="0">
                  <a:pos x="154" y="43"/>
                </a:cxn>
                <a:cxn ang="0">
                  <a:pos x="158" y="15"/>
                </a:cxn>
                <a:cxn ang="0">
                  <a:pos x="127" y="0"/>
                </a:cxn>
                <a:cxn ang="0">
                  <a:pos x="138" y="0"/>
                </a:cxn>
              </a:cxnLst>
              <a:rect l="0" t="0" r="r" b="b"/>
              <a:pathLst>
                <a:path w="252" h="265">
                  <a:moveTo>
                    <a:pt x="138" y="0"/>
                  </a:moveTo>
                  <a:lnTo>
                    <a:pt x="107" y="12"/>
                  </a:lnTo>
                  <a:lnTo>
                    <a:pt x="86" y="43"/>
                  </a:lnTo>
                  <a:lnTo>
                    <a:pt x="59" y="79"/>
                  </a:lnTo>
                  <a:lnTo>
                    <a:pt x="20" y="98"/>
                  </a:lnTo>
                  <a:lnTo>
                    <a:pt x="0" y="142"/>
                  </a:lnTo>
                  <a:lnTo>
                    <a:pt x="0" y="205"/>
                  </a:lnTo>
                  <a:lnTo>
                    <a:pt x="51" y="214"/>
                  </a:lnTo>
                  <a:lnTo>
                    <a:pt x="94" y="194"/>
                  </a:lnTo>
                  <a:lnTo>
                    <a:pt x="130" y="194"/>
                  </a:lnTo>
                  <a:lnTo>
                    <a:pt x="138" y="253"/>
                  </a:lnTo>
                  <a:lnTo>
                    <a:pt x="169" y="265"/>
                  </a:lnTo>
                  <a:lnTo>
                    <a:pt x="169" y="221"/>
                  </a:lnTo>
                  <a:lnTo>
                    <a:pt x="197" y="229"/>
                  </a:lnTo>
                  <a:lnTo>
                    <a:pt x="209" y="265"/>
                  </a:lnTo>
                  <a:lnTo>
                    <a:pt x="233" y="209"/>
                  </a:lnTo>
                  <a:lnTo>
                    <a:pt x="252" y="162"/>
                  </a:lnTo>
                  <a:lnTo>
                    <a:pt x="241" y="94"/>
                  </a:lnTo>
                  <a:lnTo>
                    <a:pt x="209" y="83"/>
                  </a:lnTo>
                  <a:lnTo>
                    <a:pt x="169" y="83"/>
                  </a:lnTo>
                  <a:lnTo>
                    <a:pt x="154" y="43"/>
                  </a:lnTo>
                  <a:lnTo>
                    <a:pt x="158" y="15"/>
                  </a:lnTo>
                  <a:lnTo>
                    <a:pt x="127" y="0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Freeform 97"/>
            <p:cNvSpPr>
              <a:spLocks noChangeAspect="1"/>
            </p:cNvSpPr>
            <p:nvPr/>
          </p:nvSpPr>
          <p:spPr bwMode="auto">
            <a:xfrm>
              <a:off x="7795001" y="2724909"/>
              <a:ext cx="147692" cy="156196"/>
            </a:xfrm>
            <a:custGeom>
              <a:avLst/>
              <a:gdLst/>
              <a:ahLst/>
              <a:cxnLst>
                <a:cxn ang="0">
                  <a:pos x="138" y="0"/>
                </a:cxn>
                <a:cxn ang="0">
                  <a:pos x="107" y="12"/>
                </a:cxn>
                <a:cxn ang="0">
                  <a:pos x="86" y="43"/>
                </a:cxn>
                <a:cxn ang="0">
                  <a:pos x="59" y="79"/>
                </a:cxn>
                <a:cxn ang="0">
                  <a:pos x="20" y="98"/>
                </a:cxn>
                <a:cxn ang="0">
                  <a:pos x="0" y="142"/>
                </a:cxn>
                <a:cxn ang="0">
                  <a:pos x="0" y="205"/>
                </a:cxn>
                <a:cxn ang="0">
                  <a:pos x="51" y="214"/>
                </a:cxn>
                <a:cxn ang="0">
                  <a:pos x="94" y="194"/>
                </a:cxn>
                <a:cxn ang="0">
                  <a:pos x="130" y="194"/>
                </a:cxn>
                <a:cxn ang="0">
                  <a:pos x="138" y="253"/>
                </a:cxn>
                <a:cxn ang="0">
                  <a:pos x="169" y="265"/>
                </a:cxn>
                <a:cxn ang="0">
                  <a:pos x="169" y="221"/>
                </a:cxn>
                <a:cxn ang="0">
                  <a:pos x="197" y="229"/>
                </a:cxn>
                <a:cxn ang="0">
                  <a:pos x="209" y="265"/>
                </a:cxn>
                <a:cxn ang="0">
                  <a:pos x="233" y="209"/>
                </a:cxn>
                <a:cxn ang="0">
                  <a:pos x="252" y="162"/>
                </a:cxn>
                <a:cxn ang="0">
                  <a:pos x="241" y="94"/>
                </a:cxn>
                <a:cxn ang="0">
                  <a:pos x="209" y="83"/>
                </a:cxn>
                <a:cxn ang="0">
                  <a:pos x="169" y="83"/>
                </a:cxn>
                <a:cxn ang="0">
                  <a:pos x="154" y="43"/>
                </a:cxn>
                <a:cxn ang="0">
                  <a:pos x="158" y="15"/>
                </a:cxn>
                <a:cxn ang="0">
                  <a:pos x="127" y="0"/>
                </a:cxn>
              </a:cxnLst>
              <a:rect l="0" t="0" r="r" b="b"/>
              <a:pathLst>
                <a:path w="252" h="265">
                  <a:moveTo>
                    <a:pt x="138" y="0"/>
                  </a:moveTo>
                  <a:lnTo>
                    <a:pt x="107" y="12"/>
                  </a:lnTo>
                  <a:lnTo>
                    <a:pt x="86" y="43"/>
                  </a:lnTo>
                  <a:lnTo>
                    <a:pt x="59" y="79"/>
                  </a:lnTo>
                  <a:lnTo>
                    <a:pt x="20" y="98"/>
                  </a:lnTo>
                  <a:lnTo>
                    <a:pt x="0" y="142"/>
                  </a:lnTo>
                  <a:lnTo>
                    <a:pt x="0" y="205"/>
                  </a:lnTo>
                  <a:lnTo>
                    <a:pt x="51" y="214"/>
                  </a:lnTo>
                  <a:lnTo>
                    <a:pt x="94" y="194"/>
                  </a:lnTo>
                  <a:lnTo>
                    <a:pt x="130" y="194"/>
                  </a:lnTo>
                  <a:lnTo>
                    <a:pt x="138" y="253"/>
                  </a:lnTo>
                  <a:lnTo>
                    <a:pt x="169" y="265"/>
                  </a:lnTo>
                  <a:lnTo>
                    <a:pt x="169" y="221"/>
                  </a:lnTo>
                  <a:lnTo>
                    <a:pt x="197" y="229"/>
                  </a:lnTo>
                  <a:lnTo>
                    <a:pt x="209" y="265"/>
                  </a:lnTo>
                  <a:lnTo>
                    <a:pt x="233" y="209"/>
                  </a:lnTo>
                  <a:lnTo>
                    <a:pt x="252" y="162"/>
                  </a:lnTo>
                  <a:lnTo>
                    <a:pt x="241" y="94"/>
                  </a:lnTo>
                  <a:lnTo>
                    <a:pt x="209" y="83"/>
                  </a:lnTo>
                  <a:lnTo>
                    <a:pt x="169" y="83"/>
                  </a:lnTo>
                  <a:lnTo>
                    <a:pt x="154" y="43"/>
                  </a:lnTo>
                  <a:lnTo>
                    <a:pt x="158" y="15"/>
                  </a:lnTo>
                  <a:lnTo>
                    <a:pt x="127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Freeform 98"/>
            <p:cNvSpPr>
              <a:spLocks noChangeAspect="1"/>
            </p:cNvSpPr>
            <p:nvPr/>
          </p:nvSpPr>
          <p:spPr bwMode="auto">
            <a:xfrm>
              <a:off x="7928628" y="2843832"/>
              <a:ext cx="24615" cy="42599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37" y="32"/>
                </a:cxn>
                <a:cxn ang="0">
                  <a:pos x="33" y="64"/>
                </a:cxn>
                <a:cxn ang="0">
                  <a:pos x="0" y="72"/>
                </a:cxn>
                <a:cxn ang="0">
                  <a:pos x="41" y="0"/>
                </a:cxn>
              </a:cxnLst>
              <a:rect l="0" t="0" r="r" b="b"/>
              <a:pathLst>
                <a:path w="41" h="72">
                  <a:moveTo>
                    <a:pt x="41" y="0"/>
                  </a:moveTo>
                  <a:lnTo>
                    <a:pt x="37" y="32"/>
                  </a:lnTo>
                  <a:lnTo>
                    <a:pt x="33" y="64"/>
                  </a:lnTo>
                  <a:lnTo>
                    <a:pt x="0" y="72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Freeform 99"/>
            <p:cNvSpPr>
              <a:spLocks noChangeAspect="1"/>
            </p:cNvSpPr>
            <p:nvPr/>
          </p:nvSpPr>
          <p:spPr bwMode="auto">
            <a:xfrm>
              <a:off x="6390164" y="1691885"/>
              <a:ext cx="258462" cy="182820"/>
            </a:xfrm>
            <a:custGeom>
              <a:avLst/>
              <a:gdLst/>
              <a:ahLst/>
              <a:cxnLst>
                <a:cxn ang="0">
                  <a:pos x="142" y="16"/>
                </a:cxn>
                <a:cxn ang="0">
                  <a:pos x="86" y="103"/>
                </a:cxn>
                <a:cxn ang="0">
                  <a:pos x="55" y="158"/>
                </a:cxn>
                <a:cxn ang="0">
                  <a:pos x="0" y="221"/>
                </a:cxn>
                <a:cxn ang="0">
                  <a:pos x="39" y="269"/>
                </a:cxn>
                <a:cxn ang="0">
                  <a:pos x="103" y="309"/>
                </a:cxn>
                <a:cxn ang="0">
                  <a:pos x="221" y="245"/>
                </a:cxn>
                <a:cxn ang="0">
                  <a:pos x="284" y="206"/>
                </a:cxn>
                <a:cxn ang="0">
                  <a:pos x="379" y="182"/>
                </a:cxn>
                <a:cxn ang="0">
                  <a:pos x="442" y="134"/>
                </a:cxn>
                <a:cxn ang="0">
                  <a:pos x="363" y="64"/>
                </a:cxn>
                <a:cxn ang="0">
                  <a:pos x="260" y="40"/>
                </a:cxn>
                <a:cxn ang="0">
                  <a:pos x="221" y="0"/>
                </a:cxn>
                <a:cxn ang="0">
                  <a:pos x="173" y="48"/>
                </a:cxn>
                <a:cxn ang="0">
                  <a:pos x="142" y="16"/>
                </a:cxn>
              </a:cxnLst>
              <a:rect l="0" t="0" r="r" b="b"/>
              <a:pathLst>
                <a:path w="442" h="309">
                  <a:moveTo>
                    <a:pt x="142" y="16"/>
                  </a:moveTo>
                  <a:lnTo>
                    <a:pt x="86" y="103"/>
                  </a:lnTo>
                  <a:lnTo>
                    <a:pt x="55" y="158"/>
                  </a:lnTo>
                  <a:lnTo>
                    <a:pt x="0" y="221"/>
                  </a:lnTo>
                  <a:lnTo>
                    <a:pt x="39" y="269"/>
                  </a:lnTo>
                  <a:lnTo>
                    <a:pt x="103" y="309"/>
                  </a:lnTo>
                  <a:lnTo>
                    <a:pt x="221" y="245"/>
                  </a:lnTo>
                  <a:lnTo>
                    <a:pt x="284" y="206"/>
                  </a:lnTo>
                  <a:lnTo>
                    <a:pt x="379" y="182"/>
                  </a:lnTo>
                  <a:lnTo>
                    <a:pt x="442" y="134"/>
                  </a:lnTo>
                  <a:lnTo>
                    <a:pt x="363" y="64"/>
                  </a:lnTo>
                  <a:lnTo>
                    <a:pt x="260" y="40"/>
                  </a:lnTo>
                  <a:lnTo>
                    <a:pt x="221" y="0"/>
                  </a:lnTo>
                  <a:lnTo>
                    <a:pt x="173" y="48"/>
                  </a:lnTo>
                  <a:lnTo>
                    <a:pt x="142" y="1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Freeform 100"/>
            <p:cNvSpPr>
              <a:spLocks noChangeAspect="1"/>
            </p:cNvSpPr>
            <p:nvPr/>
          </p:nvSpPr>
          <p:spPr bwMode="auto">
            <a:xfrm>
              <a:off x="6555439" y="1771758"/>
              <a:ext cx="376264" cy="200570"/>
            </a:xfrm>
            <a:custGeom>
              <a:avLst/>
              <a:gdLst/>
              <a:ahLst/>
              <a:cxnLst>
                <a:cxn ang="0">
                  <a:pos x="198" y="32"/>
                </a:cxn>
                <a:cxn ang="0">
                  <a:pos x="110" y="79"/>
                </a:cxn>
                <a:cxn ang="0">
                  <a:pos x="110" y="120"/>
                </a:cxn>
                <a:cxn ang="0">
                  <a:pos x="8" y="127"/>
                </a:cxn>
                <a:cxn ang="0">
                  <a:pos x="0" y="166"/>
                </a:cxn>
                <a:cxn ang="0">
                  <a:pos x="167" y="199"/>
                </a:cxn>
                <a:cxn ang="0">
                  <a:pos x="40" y="230"/>
                </a:cxn>
                <a:cxn ang="0">
                  <a:pos x="16" y="254"/>
                </a:cxn>
                <a:cxn ang="0">
                  <a:pos x="103" y="300"/>
                </a:cxn>
                <a:cxn ang="0">
                  <a:pos x="182" y="341"/>
                </a:cxn>
                <a:cxn ang="0">
                  <a:pos x="292" y="341"/>
                </a:cxn>
                <a:cxn ang="0">
                  <a:pos x="482" y="333"/>
                </a:cxn>
                <a:cxn ang="0">
                  <a:pos x="601" y="309"/>
                </a:cxn>
                <a:cxn ang="0">
                  <a:pos x="570" y="230"/>
                </a:cxn>
                <a:cxn ang="0">
                  <a:pos x="640" y="214"/>
                </a:cxn>
                <a:cxn ang="0">
                  <a:pos x="561" y="166"/>
                </a:cxn>
                <a:cxn ang="0">
                  <a:pos x="513" y="72"/>
                </a:cxn>
                <a:cxn ang="0">
                  <a:pos x="537" y="17"/>
                </a:cxn>
                <a:cxn ang="0">
                  <a:pos x="443" y="0"/>
                </a:cxn>
                <a:cxn ang="0">
                  <a:pos x="419" y="103"/>
                </a:cxn>
                <a:cxn ang="0">
                  <a:pos x="371" y="48"/>
                </a:cxn>
                <a:cxn ang="0">
                  <a:pos x="332" y="17"/>
                </a:cxn>
                <a:cxn ang="0">
                  <a:pos x="301" y="72"/>
                </a:cxn>
                <a:cxn ang="0">
                  <a:pos x="268" y="8"/>
                </a:cxn>
                <a:cxn ang="0">
                  <a:pos x="198" y="32"/>
                </a:cxn>
              </a:cxnLst>
              <a:rect l="0" t="0" r="r" b="b"/>
              <a:pathLst>
                <a:path w="640" h="341">
                  <a:moveTo>
                    <a:pt x="198" y="32"/>
                  </a:moveTo>
                  <a:lnTo>
                    <a:pt x="110" y="79"/>
                  </a:lnTo>
                  <a:lnTo>
                    <a:pt x="110" y="120"/>
                  </a:lnTo>
                  <a:lnTo>
                    <a:pt x="8" y="127"/>
                  </a:lnTo>
                  <a:lnTo>
                    <a:pt x="0" y="166"/>
                  </a:lnTo>
                  <a:lnTo>
                    <a:pt x="167" y="199"/>
                  </a:lnTo>
                  <a:lnTo>
                    <a:pt x="40" y="230"/>
                  </a:lnTo>
                  <a:lnTo>
                    <a:pt x="16" y="254"/>
                  </a:lnTo>
                  <a:lnTo>
                    <a:pt x="103" y="300"/>
                  </a:lnTo>
                  <a:lnTo>
                    <a:pt x="182" y="341"/>
                  </a:lnTo>
                  <a:lnTo>
                    <a:pt x="292" y="341"/>
                  </a:lnTo>
                  <a:lnTo>
                    <a:pt x="482" y="333"/>
                  </a:lnTo>
                  <a:lnTo>
                    <a:pt x="601" y="309"/>
                  </a:lnTo>
                  <a:lnTo>
                    <a:pt x="570" y="230"/>
                  </a:lnTo>
                  <a:lnTo>
                    <a:pt x="640" y="214"/>
                  </a:lnTo>
                  <a:lnTo>
                    <a:pt x="561" y="166"/>
                  </a:lnTo>
                  <a:lnTo>
                    <a:pt x="513" y="72"/>
                  </a:lnTo>
                  <a:lnTo>
                    <a:pt x="537" y="17"/>
                  </a:lnTo>
                  <a:lnTo>
                    <a:pt x="443" y="0"/>
                  </a:lnTo>
                  <a:lnTo>
                    <a:pt x="419" y="103"/>
                  </a:lnTo>
                  <a:lnTo>
                    <a:pt x="371" y="48"/>
                  </a:lnTo>
                  <a:lnTo>
                    <a:pt x="332" y="17"/>
                  </a:lnTo>
                  <a:lnTo>
                    <a:pt x="301" y="72"/>
                  </a:lnTo>
                  <a:lnTo>
                    <a:pt x="268" y="8"/>
                  </a:lnTo>
                  <a:lnTo>
                    <a:pt x="198" y="3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Freeform 101"/>
            <p:cNvSpPr>
              <a:spLocks noChangeAspect="1"/>
            </p:cNvSpPr>
            <p:nvPr/>
          </p:nvSpPr>
          <p:spPr bwMode="auto">
            <a:xfrm>
              <a:off x="6854341" y="1734484"/>
              <a:ext cx="52747" cy="26624"/>
            </a:xfrm>
            <a:custGeom>
              <a:avLst/>
              <a:gdLst/>
              <a:ahLst/>
              <a:cxnLst>
                <a:cxn ang="0">
                  <a:pos x="45" y="45"/>
                </a:cxn>
                <a:cxn ang="0">
                  <a:pos x="45" y="45"/>
                </a:cxn>
                <a:cxn ang="0">
                  <a:pos x="54" y="44"/>
                </a:cxn>
                <a:cxn ang="0">
                  <a:pos x="63" y="42"/>
                </a:cxn>
                <a:cxn ang="0">
                  <a:pos x="70" y="40"/>
                </a:cxn>
                <a:cxn ang="0">
                  <a:pos x="77" y="37"/>
                </a:cxn>
                <a:cxn ang="0">
                  <a:pos x="82" y="35"/>
                </a:cxn>
                <a:cxn ang="0">
                  <a:pos x="87" y="31"/>
                </a:cxn>
                <a:cxn ang="0">
                  <a:pos x="89" y="26"/>
                </a:cxn>
                <a:cxn ang="0">
                  <a:pos x="90" y="22"/>
                </a:cxn>
                <a:cxn ang="0">
                  <a:pos x="90" y="22"/>
                </a:cxn>
                <a:cxn ang="0">
                  <a:pos x="89" y="17"/>
                </a:cxn>
                <a:cxn ang="0">
                  <a:pos x="87" y="14"/>
                </a:cxn>
                <a:cxn ang="0">
                  <a:pos x="82" y="10"/>
                </a:cxn>
                <a:cxn ang="0">
                  <a:pos x="77" y="6"/>
                </a:cxn>
                <a:cxn ang="0">
                  <a:pos x="70" y="4"/>
                </a:cxn>
                <a:cxn ang="0">
                  <a:pos x="63" y="1"/>
                </a:cxn>
                <a:cxn ang="0">
                  <a:pos x="54" y="0"/>
                </a:cxn>
                <a:cxn ang="0">
                  <a:pos x="45" y="0"/>
                </a:cxn>
                <a:cxn ang="0">
                  <a:pos x="45" y="0"/>
                </a:cxn>
                <a:cxn ang="0">
                  <a:pos x="36" y="0"/>
                </a:cxn>
                <a:cxn ang="0">
                  <a:pos x="28" y="1"/>
                </a:cxn>
                <a:cxn ang="0">
                  <a:pos x="20" y="4"/>
                </a:cxn>
                <a:cxn ang="0">
                  <a:pos x="14" y="6"/>
                </a:cxn>
                <a:cxn ang="0">
                  <a:pos x="8" y="10"/>
                </a:cxn>
                <a:cxn ang="0">
                  <a:pos x="4" y="14"/>
                </a:cxn>
                <a:cxn ang="0">
                  <a:pos x="1" y="17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1" y="26"/>
                </a:cxn>
                <a:cxn ang="0">
                  <a:pos x="4" y="31"/>
                </a:cxn>
                <a:cxn ang="0">
                  <a:pos x="8" y="35"/>
                </a:cxn>
                <a:cxn ang="0">
                  <a:pos x="14" y="37"/>
                </a:cxn>
                <a:cxn ang="0">
                  <a:pos x="20" y="40"/>
                </a:cxn>
                <a:cxn ang="0">
                  <a:pos x="28" y="42"/>
                </a:cxn>
                <a:cxn ang="0">
                  <a:pos x="36" y="44"/>
                </a:cxn>
                <a:cxn ang="0">
                  <a:pos x="45" y="45"/>
                </a:cxn>
                <a:cxn ang="0">
                  <a:pos x="45" y="45"/>
                </a:cxn>
              </a:cxnLst>
              <a:rect l="0" t="0" r="r" b="b"/>
              <a:pathLst>
                <a:path w="90" h="45">
                  <a:moveTo>
                    <a:pt x="45" y="45"/>
                  </a:moveTo>
                  <a:lnTo>
                    <a:pt x="45" y="45"/>
                  </a:lnTo>
                  <a:lnTo>
                    <a:pt x="54" y="44"/>
                  </a:lnTo>
                  <a:lnTo>
                    <a:pt x="63" y="42"/>
                  </a:lnTo>
                  <a:lnTo>
                    <a:pt x="70" y="40"/>
                  </a:lnTo>
                  <a:lnTo>
                    <a:pt x="77" y="37"/>
                  </a:lnTo>
                  <a:lnTo>
                    <a:pt x="82" y="35"/>
                  </a:lnTo>
                  <a:lnTo>
                    <a:pt x="87" y="31"/>
                  </a:lnTo>
                  <a:lnTo>
                    <a:pt x="89" y="26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89" y="17"/>
                  </a:lnTo>
                  <a:lnTo>
                    <a:pt x="87" y="14"/>
                  </a:lnTo>
                  <a:lnTo>
                    <a:pt x="82" y="10"/>
                  </a:lnTo>
                  <a:lnTo>
                    <a:pt x="77" y="6"/>
                  </a:lnTo>
                  <a:lnTo>
                    <a:pt x="70" y="4"/>
                  </a:lnTo>
                  <a:lnTo>
                    <a:pt x="63" y="1"/>
                  </a:lnTo>
                  <a:lnTo>
                    <a:pt x="5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36" y="0"/>
                  </a:lnTo>
                  <a:lnTo>
                    <a:pt x="28" y="1"/>
                  </a:lnTo>
                  <a:lnTo>
                    <a:pt x="20" y="4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4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1" y="26"/>
                  </a:lnTo>
                  <a:lnTo>
                    <a:pt x="4" y="31"/>
                  </a:lnTo>
                  <a:lnTo>
                    <a:pt x="8" y="35"/>
                  </a:lnTo>
                  <a:lnTo>
                    <a:pt x="14" y="37"/>
                  </a:lnTo>
                  <a:lnTo>
                    <a:pt x="20" y="40"/>
                  </a:lnTo>
                  <a:lnTo>
                    <a:pt x="28" y="42"/>
                  </a:lnTo>
                  <a:lnTo>
                    <a:pt x="36" y="44"/>
                  </a:lnTo>
                  <a:lnTo>
                    <a:pt x="45" y="45"/>
                  </a:lnTo>
                  <a:lnTo>
                    <a:pt x="45" y="4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Freeform 102"/>
            <p:cNvSpPr>
              <a:spLocks noChangeAspect="1"/>
            </p:cNvSpPr>
            <p:nvPr/>
          </p:nvSpPr>
          <p:spPr bwMode="auto">
            <a:xfrm>
              <a:off x="6529066" y="1551664"/>
              <a:ext cx="156484" cy="99398"/>
            </a:xfrm>
            <a:custGeom>
              <a:avLst/>
              <a:gdLst/>
              <a:ahLst/>
              <a:cxnLst>
                <a:cxn ang="0">
                  <a:pos x="269" y="0"/>
                </a:cxn>
                <a:cxn ang="0">
                  <a:pos x="197" y="23"/>
                </a:cxn>
                <a:cxn ang="0">
                  <a:pos x="94" y="71"/>
                </a:cxn>
                <a:cxn ang="0">
                  <a:pos x="8" y="95"/>
                </a:cxn>
                <a:cxn ang="0">
                  <a:pos x="0" y="150"/>
                </a:cxn>
                <a:cxn ang="0">
                  <a:pos x="118" y="167"/>
                </a:cxn>
                <a:cxn ang="0">
                  <a:pos x="197" y="87"/>
                </a:cxn>
                <a:cxn ang="0">
                  <a:pos x="269" y="87"/>
                </a:cxn>
                <a:cxn ang="0">
                  <a:pos x="269" y="0"/>
                </a:cxn>
              </a:cxnLst>
              <a:rect l="0" t="0" r="r" b="b"/>
              <a:pathLst>
                <a:path w="269" h="167">
                  <a:moveTo>
                    <a:pt x="269" y="0"/>
                  </a:moveTo>
                  <a:lnTo>
                    <a:pt x="197" y="23"/>
                  </a:lnTo>
                  <a:lnTo>
                    <a:pt x="94" y="71"/>
                  </a:lnTo>
                  <a:lnTo>
                    <a:pt x="8" y="95"/>
                  </a:lnTo>
                  <a:lnTo>
                    <a:pt x="0" y="150"/>
                  </a:lnTo>
                  <a:lnTo>
                    <a:pt x="118" y="167"/>
                  </a:lnTo>
                  <a:lnTo>
                    <a:pt x="197" y="87"/>
                  </a:lnTo>
                  <a:lnTo>
                    <a:pt x="269" y="87"/>
                  </a:lnTo>
                  <a:lnTo>
                    <a:pt x="269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Freeform 103"/>
            <p:cNvSpPr>
              <a:spLocks noChangeAspect="1"/>
            </p:cNvSpPr>
            <p:nvPr/>
          </p:nvSpPr>
          <p:spPr bwMode="auto">
            <a:xfrm>
              <a:off x="6625769" y="1642186"/>
              <a:ext cx="26374" cy="47924"/>
            </a:xfrm>
            <a:custGeom>
              <a:avLst/>
              <a:gdLst/>
              <a:ahLst/>
              <a:cxnLst>
                <a:cxn ang="0">
                  <a:pos x="23" y="79"/>
                </a:cxn>
                <a:cxn ang="0">
                  <a:pos x="23" y="79"/>
                </a:cxn>
                <a:cxn ang="0">
                  <a:pos x="18" y="78"/>
                </a:cxn>
                <a:cxn ang="0">
                  <a:pos x="14" y="75"/>
                </a:cxn>
                <a:cxn ang="0">
                  <a:pos x="10" y="72"/>
                </a:cxn>
                <a:cxn ang="0">
                  <a:pos x="6" y="68"/>
                </a:cxn>
                <a:cxn ang="0">
                  <a:pos x="4" y="62"/>
                </a:cxn>
                <a:cxn ang="0">
                  <a:pos x="1" y="55"/>
                </a:cxn>
                <a:cxn ang="0">
                  <a:pos x="0" y="48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31"/>
                </a:cxn>
                <a:cxn ang="0">
                  <a:pos x="1" y="24"/>
                </a:cxn>
                <a:cxn ang="0">
                  <a:pos x="4" y="18"/>
                </a:cxn>
                <a:cxn ang="0">
                  <a:pos x="6" y="13"/>
                </a:cxn>
                <a:cxn ang="0">
                  <a:pos x="10" y="8"/>
                </a:cxn>
                <a:cxn ang="0">
                  <a:pos x="14" y="4"/>
                </a:cxn>
                <a:cxn ang="0">
                  <a:pos x="18" y="1"/>
                </a:cxn>
                <a:cxn ang="0">
                  <a:pos x="23" y="0"/>
                </a:cxn>
                <a:cxn ang="0">
                  <a:pos x="23" y="0"/>
                </a:cxn>
                <a:cxn ang="0">
                  <a:pos x="26" y="1"/>
                </a:cxn>
                <a:cxn ang="0">
                  <a:pos x="32" y="4"/>
                </a:cxn>
                <a:cxn ang="0">
                  <a:pos x="35" y="8"/>
                </a:cxn>
                <a:cxn ang="0">
                  <a:pos x="38" y="13"/>
                </a:cxn>
                <a:cxn ang="0">
                  <a:pos x="40" y="18"/>
                </a:cxn>
                <a:cxn ang="0">
                  <a:pos x="43" y="24"/>
                </a:cxn>
                <a:cxn ang="0">
                  <a:pos x="44" y="31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8"/>
                </a:cxn>
                <a:cxn ang="0">
                  <a:pos x="43" y="55"/>
                </a:cxn>
                <a:cxn ang="0">
                  <a:pos x="40" y="62"/>
                </a:cxn>
                <a:cxn ang="0">
                  <a:pos x="38" y="68"/>
                </a:cxn>
                <a:cxn ang="0">
                  <a:pos x="35" y="72"/>
                </a:cxn>
                <a:cxn ang="0">
                  <a:pos x="32" y="75"/>
                </a:cxn>
                <a:cxn ang="0">
                  <a:pos x="26" y="78"/>
                </a:cxn>
                <a:cxn ang="0">
                  <a:pos x="23" y="79"/>
                </a:cxn>
                <a:cxn ang="0">
                  <a:pos x="23" y="79"/>
                </a:cxn>
              </a:cxnLst>
              <a:rect l="0" t="0" r="r" b="b"/>
              <a:pathLst>
                <a:path w="44" h="79">
                  <a:moveTo>
                    <a:pt x="23" y="79"/>
                  </a:moveTo>
                  <a:lnTo>
                    <a:pt x="23" y="79"/>
                  </a:lnTo>
                  <a:lnTo>
                    <a:pt x="18" y="78"/>
                  </a:lnTo>
                  <a:lnTo>
                    <a:pt x="14" y="75"/>
                  </a:lnTo>
                  <a:lnTo>
                    <a:pt x="10" y="72"/>
                  </a:lnTo>
                  <a:lnTo>
                    <a:pt x="6" y="68"/>
                  </a:lnTo>
                  <a:lnTo>
                    <a:pt x="4" y="62"/>
                  </a:lnTo>
                  <a:lnTo>
                    <a:pt x="1" y="55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4" y="18"/>
                  </a:lnTo>
                  <a:lnTo>
                    <a:pt x="6" y="13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18" y="1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6" y="1"/>
                  </a:lnTo>
                  <a:lnTo>
                    <a:pt x="32" y="4"/>
                  </a:lnTo>
                  <a:lnTo>
                    <a:pt x="35" y="8"/>
                  </a:lnTo>
                  <a:lnTo>
                    <a:pt x="38" y="13"/>
                  </a:lnTo>
                  <a:lnTo>
                    <a:pt x="40" y="18"/>
                  </a:lnTo>
                  <a:lnTo>
                    <a:pt x="43" y="24"/>
                  </a:lnTo>
                  <a:lnTo>
                    <a:pt x="44" y="31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8"/>
                  </a:lnTo>
                  <a:lnTo>
                    <a:pt x="43" y="55"/>
                  </a:lnTo>
                  <a:lnTo>
                    <a:pt x="40" y="62"/>
                  </a:lnTo>
                  <a:lnTo>
                    <a:pt x="38" y="68"/>
                  </a:lnTo>
                  <a:lnTo>
                    <a:pt x="35" y="72"/>
                  </a:lnTo>
                  <a:lnTo>
                    <a:pt x="32" y="75"/>
                  </a:lnTo>
                  <a:lnTo>
                    <a:pt x="26" y="78"/>
                  </a:lnTo>
                  <a:lnTo>
                    <a:pt x="23" y="79"/>
                  </a:lnTo>
                  <a:lnTo>
                    <a:pt x="23" y="7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Freeform 104"/>
            <p:cNvSpPr>
              <a:spLocks noChangeAspect="1"/>
            </p:cNvSpPr>
            <p:nvPr/>
          </p:nvSpPr>
          <p:spPr bwMode="auto">
            <a:xfrm>
              <a:off x="6680275" y="1597812"/>
              <a:ext cx="242638" cy="117147"/>
            </a:xfrm>
            <a:custGeom>
              <a:avLst/>
              <a:gdLst/>
              <a:ahLst/>
              <a:cxnLst>
                <a:cxn ang="0">
                  <a:pos x="143" y="64"/>
                </a:cxn>
                <a:cxn ang="0">
                  <a:pos x="103" y="103"/>
                </a:cxn>
                <a:cxn ang="0">
                  <a:pos x="16" y="103"/>
                </a:cxn>
                <a:cxn ang="0">
                  <a:pos x="0" y="174"/>
                </a:cxn>
                <a:cxn ang="0">
                  <a:pos x="95" y="198"/>
                </a:cxn>
                <a:cxn ang="0">
                  <a:pos x="175" y="182"/>
                </a:cxn>
                <a:cxn ang="0">
                  <a:pos x="245" y="158"/>
                </a:cxn>
                <a:cxn ang="0">
                  <a:pos x="333" y="143"/>
                </a:cxn>
                <a:cxn ang="0">
                  <a:pos x="412" y="165"/>
                </a:cxn>
                <a:cxn ang="0">
                  <a:pos x="372" y="79"/>
                </a:cxn>
                <a:cxn ang="0">
                  <a:pos x="285" y="55"/>
                </a:cxn>
                <a:cxn ang="0">
                  <a:pos x="269" y="0"/>
                </a:cxn>
                <a:cxn ang="0">
                  <a:pos x="198" y="8"/>
                </a:cxn>
                <a:cxn ang="0">
                  <a:pos x="190" y="55"/>
                </a:cxn>
                <a:cxn ang="0">
                  <a:pos x="143" y="64"/>
                </a:cxn>
              </a:cxnLst>
              <a:rect l="0" t="0" r="r" b="b"/>
              <a:pathLst>
                <a:path w="412" h="198">
                  <a:moveTo>
                    <a:pt x="143" y="64"/>
                  </a:moveTo>
                  <a:lnTo>
                    <a:pt x="103" y="103"/>
                  </a:lnTo>
                  <a:lnTo>
                    <a:pt x="16" y="103"/>
                  </a:lnTo>
                  <a:lnTo>
                    <a:pt x="0" y="174"/>
                  </a:lnTo>
                  <a:lnTo>
                    <a:pt x="95" y="198"/>
                  </a:lnTo>
                  <a:lnTo>
                    <a:pt x="175" y="182"/>
                  </a:lnTo>
                  <a:lnTo>
                    <a:pt x="245" y="158"/>
                  </a:lnTo>
                  <a:lnTo>
                    <a:pt x="333" y="143"/>
                  </a:lnTo>
                  <a:lnTo>
                    <a:pt x="412" y="165"/>
                  </a:lnTo>
                  <a:lnTo>
                    <a:pt x="372" y="79"/>
                  </a:lnTo>
                  <a:lnTo>
                    <a:pt x="285" y="55"/>
                  </a:lnTo>
                  <a:lnTo>
                    <a:pt x="269" y="0"/>
                  </a:lnTo>
                  <a:lnTo>
                    <a:pt x="198" y="8"/>
                  </a:lnTo>
                  <a:lnTo>
                    <a:pt x="190" y="55"/>
                  </a:lnTo>
                  <a:lnTo>
                    <a:pt x="143" y="6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5" name="Freeform 105"/>
            <p:cNvSpPr>
              <a:spLocks noChangeAspect="1"/>
            </p:cNvSpPr>
            <p:nvPr/>
          </p:nvSpPr>
          <p:spPr bwMode="auto">
            <a:xfrm>
              <a:off x="6759396" y="1532139"/>
              <a:ext cx="73846" cy="56799"/>
            </a:xfrm>
            <a:custGeom>
              <a:avLst/>
              <a:gdLst/>
              <a:ahLst/>
              <a:cxnLst>
                <a:cxn ang="0">
                  <a:pos x="79" y="8"/>
                </a:cxn>
                <a:cxn ang="0">
                  <a:pos x="24" y="8"/>
                </a:cxn>
                <a:cxn ang="0">
                  <a:pos x="0" y="55"/>
                </a:cxn>
                <a:cxn ang="0">
                  <a:pos x="0" y="96"/>
                </a:cxn>
                <a:cxn ang="0">
                  <a:pos x="56" y="64"/>
                </a:cxn>
                <a:cxn ang="0">
                  <a:pos x="120" y="48"/>
                </a:cxn>
                <a:cxn ang="0">
                  <a:pos x="127" y="0"/>
                </a:cxn>
                <a:cxn ang="0">
                  <a:pos x="79" y="8"/>
                </a:cxn>
              </a:cxnLst>
              <a:rect l="0" t="0" r="r" b="b"/>
              <a:pathLst>
                <a:path w="127" h="96">
                  <a:moveTo>
                    <a:pt x="79" y="8"/>
                  </a:moveTo>
                  <a:lnTo>
                    <a:pt x="24" y="8"/>
                  </a:lnTo>
                  <a:lnTo>
                    <a:pt x="0" y="55"/>
                  </a:lnTo>
                  <a:lnTo>
                    <a:pt x="0" y="96"/>
                  </a:lnTo>
                  <a:lnTo>
                    <a:pt x="56" y="64"/>
                  </a:lnTo>
                  <a:lnTo>
                    <a:pt x="120" y="48"/>
                  </a:lnTo>
                  <a:lnTo>
                    <a:pt x="127" y="0"/>
                  </a:lnTo>
                  <a:lnTo>
                    <a:pt x="79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106"/>
            <p:cNvSpPr>
              <a:spLocks noChangeAspect="1"/>
            </p:cNvSpPr>
            <p:nvPr/>
          </p:nvSpPr>
          <p:spPr bwMode="auto">
            <a:xfrm>
              <a:off x="6755879" y="1468241"/>
              <a:ext cx="91429" cy="46149"/>
            </a:xfrm>
            <a:custGeom>
              <a:avLst/>
              <a:gdLst/>
              <a:ahLst/>
              <a:cxnLst>
                <a:cxn ang="0">
                  <a:pos x="39" y="24"/>
                </a:cxn>
                <a:cxn ang="0">
                  <a:pos x="79" y="0"/>
                </a:cxn>
                <a:cxn ang="0">
                  <a:pos x="134" y="7"/>
                </a:cxn>
                <a:cxn ang="0">
                  <a:pos x="158" y="47"/>
                </a:cxn>
                <a:cxn ang="0">
                  <a:pos x="86" y="71"/>
                </a:cxn>
                <a:cxn ang="0">
                  <a:pos x="0" y="79"/>
                </a:cxn>
                <a:cxn ang="0">
                  <a:pos x="39" y="24"/>
                </a:cxn>
              </a:cxnLst>
              <a:rect l="0" t="0" r="r" b="b"/>
              <a:pathLst>
                <a:path w="158" h="79">
                  <a:moveTo>
                    <a:pt x="39" y="24"/>
                  </a:moveTo>
                  <a:lnTo>
                    <a:pt x="79" y="0"/>
                  </a:lnTo>
                  <a:lnTo>
                    <a:pt x="134" y="7"/>
                  </a:lnTo>
                  <a:lnTo>
                    <a:pt x="158" y="47"/>
                  </a:lnTo>
                  <a:lnTo>
                    <a:pt x="86" y="71"/>
                  </a:lnTo>
                  <a:lnTo>
                    <a:pt x="0" y="79"/>
                  </a:lnTo>
                  <a:lnTo>
                    <a:pt x="39" y="2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Freeform 107"/>
            <p:cNvSpPr>
              <a:spLocks noChangeAspect="1"/>
            </p:cNvSpPr>
            <p:nvPr/>
          </p:nvSpPr>
          <p:spPr bwMode="auto">
            <a:xfrm>
              <a:off x="6935220" y="1468241"/>
              <a:ext cx="124835" cy="83423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96" y="7"/>
                </a:cxn>
                <a:cxn ang="0">
                  <a:pos x="151" y="24"/>
                </a:cxn>
                <a:cxn ang="0">
                  <a:pos x="199" y="79"/>
                </a:cxn>
                <a:cxn ang="0">
                  <a:pos x="214" y="127"/>
                </a:cxn>
                <a:cxn ang="0">
                  <a:pos x="120" y="142"/>
                </a:cxn>
                <a:cxn ang="0">
                  <a:pos x="96" y="95"/>
                </a:cxn>
                <a:cxn ang="0">
                  <a:pos x="41" y="86"/>
                </a:cxn>
                <a:cxn ang="0">
                  <a:pos x="0" y="31"/>
                </a:cxn>
                <a:cxn ang="0">
                  <a:pos x="41" y="0"/>
                </a:cxn>
              </a:cxnLst>
              <a:rect l="0" t="0" r="r" b="b"/>
              <a:pathLst>
                <a:path w="214" h="142">
                  <a:moveTo>
                    <a:pt x="41" y="0"/>
                  </a:moveTo>
                  <a:lnTo>
                    <a:pt x="96" y="7"/>
                  </a:lnTo>
                  <a:lnTo>
                    <a:pt x="151" y="24"/>
                  </a:lnTo>
                  <a:lnTo>
                    <a:pt x="199" y="79"/>
                  </a:lnTo>
                  <a:lnTo>
                    <a:pt x="214" y="127"/>
                  </a:lnTo>
                  <a:lnTo>
                    <a:pt x="120" y="142"/>
                  </a:lnTo>
                  <a:lnTo>
                    <a:pt x="96" y="95"/>
                  </a:lnTo>
                  <a:lnTo>
                    <a:pt x="41" y="86"/>
                  </a:lnTo>
                  <a:lnTo>
                    <a:pt x="0" y="31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Freeform 108"/>
            <p:cNvSpPr>
              <a:spLocks noChangeAspect="1"/>
            </p:cNvSpPr>
            <p:nvPr/>
          </p:nvSpPr>
          <p:spPr bwMode="auto">
            <a:xfrm>
              <a:off x="6935220" y="1729159"/>
              <a:ext cx="121319" cy="126022"/>
            </a:xfrm>
            <a:custGeom>
              <a:avLst/>
              <a:gdLst/>
              <a:ahLst/>
              <a:cxnLst>
                <a:cxn ang="0">
                  <a:pos x="72" y="15"/>
                </a:cxn>
                <a:cxn ang="0">
                  <a:pos x="88" y="63"/>
                </a:cxn>
                <a:cxn ang="0">
                  <a:pos x="80" y="118"/>
                </a:cxn>
                <a:cxn ang="0">
                  <a:pos x="9" y="78"/>
                </a:cxn>
                <a:cxn ang="0">
                  <a:pos x="0" y="126"/>
                </a:cxn>
                <a:cxn ang="0">
                  <a:pos x="64" y="166"/>
                </a:cxn>
                <a:cxn ang="0">
                  <a:pos x="96" y="205"/>
                </a:cxn>
                <a:cxn ang="0">
                  <a:pos x="167" y="212"/>
                </a:cxn>
                <a:cxn ang="0">
                  <a:pos x="206" y="142"/>
                </a:cxn>
                <a:cxn ang="0">
                  <a:pos x="182" y="87"/>
                </a:cxn>
                <a:cxn ang="0">
                  <a:pos x="191" y="0"/>
                </a:cxn>
                <a:cxn ang="0">
                  <a:pos x="72" y="15"/>
                </a:cxn>
              </a:cxnLst>
              <a:rect l="0" t="0" r="r" b="b"/>
              <a:pathLst>
                <a:path w="206" h="212">
                  <a:moveTo>
                    <a:pt x="72" y="15"/>
                  </a:moveTo>
                  <a:lnTo>
                    <a:pt x="88" y="63"/>
                  </a:lnTo>
                  <a:lnTo>
                    <a:pt x="80" y="118"/>
                  </a:lnTo>
                  <a:lnTo>
                    <a:pt x="9" y="78"/>
                  </a:lnTo>
                  <a:lnTo>
                    <a:pt x="0" y="126"/>
                  </a:lnTo>
                  <a:lnTo>
                    <a:pt x="64" y="166"/>
                  </a:lnTo>
                  <a:lnTo>
                    <a:pt x="96" y="205"/>
                  </a:lnTo>
                  <a:lnTo>
                    <a:pt x="167" y="212"/>
                  </a:lnTo>
                  <a:lnTo>
                    <a:pt x="206" y="142"/>
                  </a:lnTo>
                  <a:lnTo>
                    <a:pt x="182" y="87"/>
                  </a:lnTo>
                  <a:lnTo>
                    <a:pt x="191" y="0"/>
                  </a:lnTo>
                  <a:lnTo>
                    <a:pt x="72" y="1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Freeform 109"/>
            <p:cNvSpPr>
              <a:spLocks noChangeAspect="1"/>
            </p:cNvSpPr>
            <p:nvPr/>
          </p:nvSpPr>
          <p:spPr bwMode="auto">
            <a:xfrm>
              <a:off x="6963352" y="1915530"/>
              <a:ext cx="73846" cy="56799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16" y="33"/>
                </a:cxn>
                <a:cxn ang="0">
                  <a:pos x="0" y="88"/>
                </a:cxn>
                <a:cxn ang="0">
                  <a:pos x="79" y="96"/>
                </a:cxn>
                <a:cxn ang="0">
                  <a:pos x="127" y="64"/>
                </a:cxn>
                <a:cxn ang="0">
                  <a:pos x="64" y="0"/>
                </a:cxn>
              </a:cxnLst>
              <a:rect l="0" t="0" r="r" b="b"/>
              <a:pathLst>
                <a:path w="127" h="96">
                  <a:moveTo>
                    <a:pt x="64" y="0"/>
                  </a:moveTo>
                  <a:lnTo>
                    <a:pt x="16" y="33"/>
                  </a:lnTo>
                  <a:lnTo>
                    <a:pt x="0" y="88"/>
                  </a:lnTo>
                  <a:lnTo>
                    <a:pt x="79" y="96"/>
                  </a:lnTo>
                  <a:lnTo>
                    <a:pt x="127" y="6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Freeform 110"/>
            <p:cNvSpPr>
              <a:spLocks noChangeAspect="1"/>
            </p:cNvSpPr>
            <p:nvPr/>
          </p:nvSpPr>
          <p:spPr bwMode="auto">
            <a:xfrm>
              <a:off x="7093462" y="1723834"/>
              <a:ext cx="124835" cy="99398"/>
            </a:xfrm>
            <a:custGeom>
              <a:avLst/>
              <a:gdLst/>
              <a:ahLst/>
              <a:cxnLst>
                <a:cxn ang="0">
                  <a:pos x="0" y="166"/>
                </a:cxn>
                <a:cxn ang="0">
                  <a:pos x="8" y="96"/>
                </a:cxn>
                <a:cxn ang="0">
                  <a:pos x="32" y="32"/>
                </a:cxn>
                <a:cxn ang="0">
                  <a:pos x="102" y="0"/>
                </a:cxn>
                <a:cxn ang="0">
                  <a:pos x="166" y="9"/>
                </a:cxn>
                <a:cxn ang="0">
                  <a:pos x="214" y="24"/>
                </a:cxn>
                <a:cxn ang="0">
                  <a:pos x="174" y="72"/>
                </a:cxn>
                <a:cxn ang="0">
                  <a:pos x="111" y="119"/>
                </a:cxn>
                <a:cxn ang="0">
                  <a:pos x="63" y="119"/>
                </a:cxn>
                <a:cxn ang="0">
                  <a:pos x="47" y="166"/>
                </a:cxn>
                <a:cxn ang="0">
                  <a:pos x="0" y="166"/>
                </a:cxn>
              </a:cxnLst>
              <a:rect l="0" t="0" r="r" b="b"/>
              <a:pathLst>
                <a:path w="214" h="166">
                  <a:moveTo>
                    <a:pt x="0" y="166"/>
                  </a:moveTo>
                  <a:lnTo>
                    <a:pt x="8" y="96"/>
                  </a:lnTo>
                  <a:lnTo>
                    <a:pt x="32" y="32"/>
                  </a:lnTo>
                  <a:lnTo>
                    <a:pt x="102" y="0"/>
                  </a:lnTo>
                  <a:lnTo>
                    <a:pt x="166" y="9"/>
                  </a:lnTo>
                  <a:lnTo>
                    <a:pt x="214" y="24"/>
                  </a:lnTo>
                  <a:lnTo>
                    <a:pt x="174" y="72"/>
                  </a:lnTo>
                  <a:lnTo>
                    <a:pt x="111" y="119"/>
                  </a:lnTo>
                  <a:lnTo>
                    <a:pt x="63" y="119"/>
                  </a:lnTo>
                  <a:lnTo>
                    <a:pt x="47" y="166"/>
                  </a:lnTo>
                  <a:lnTo>
                    <a:pt x="0" y="16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Freeform 111"/>
            <p:cNvSpPr>
              <a:spLocks noChangeAspect="1"/>
            </p:cNvSpPr>
            <p:nvPr/>
          </p:nvSpPr>
          <p:spPr bwMode="auto">
            <a:xfrm>
              <a:off x="7227089" y="1734484"/>
              <a:ext cx="597803" cy="541362"/>
            </a:xfrm>
            <a:custGeom>
              <a:avLst/>
              <a:gdLst/>
              <a:ahLst/>
              <a:cxnLst>
                <a:cxn ang="0">
                  <a:pos x="151" y="0"/>
                </a:cxn>
                <a:cxn ang="0">
                  <a:pos x="55" y="32"/>
                </a:cxn>
                <a:cxn ang="0">
                  <a:pos x="0" y="127"/>
                </a:cxn>
                <a:cxn ang="0">
                  <a:pos x="7" y="214"/>
                </a:cxn>
                <a:cxn ang="0">
                  <a:pos x="79" y="245"/>
                </a:cxn>
                <a:cxn ang="0">
                  <a:pos x="48" y="277"/>
                </a:cxn>
                <a:cxn ang="0">
                  <a:pos x="63" y="308"/>
                </a:cxn>
                <a:cxn ang="0">
                  <a:pos x="213" y="284"/>
                </a:cxn>
                <a:cxn ang="0">
                  <a:pos x="309" y="332"/>
                </a:cxn>
                <a:cxn ang="0">
                  <a:pos x="379" y="284"/>
                </a:cxn>
                <a:cxn ang="0">
                  <a:pos x="466" y="363"/>
                </a:cxn>
                <a:cxn ang="0">
                  <a:pos x="458" y="419"/>
                </a:cxn>
                <a:cxn ang="0">
                  <a:pos x="537" y="419"/>
                </a:cxn>
                <a:cxn ang="0">
                  <a:pos x="585" y="459"/>
                </a:cxn>
                <a:cxn ang="0">
                  <a:pos x="592" y="545"/>
                </a:cxn>
                <a:cxn ang="0">
                  <a:pos x="506" y="641"/>
                </a:cxn>
                <a:cxn ang="0">
                  <a:pos x="364" y="672"/>
                </a:cxn>
                <a:cxn ang="0">
                  <a:pos x="331" y="720"/>
                </a:cxn>
                <a:cxn ang="0">
                  <a:pos x="388" y="775"/>
                </a:cxn>
                <a:cxn ang="0">
                  <a:pos x="506" y="744"/>
                </a:cxn>
                <a:cxn ang="0">
                  <a:pos x="624" y="838"/>
                </a:cxn>
                <a:cxn ang="0">
                  <a:pos x="782" y="917"/>
                </a:cxn>
                <a:cxn ang="0">
                  <a:pos x="727" y="790"/>
                </a:cxn>
                <a:cxn ang="0">
                  <a:pos x="837" y="862"/>
                </a:cxn>
                <a:cxn ang="0">
                  <a:pos x="870" y="783"/>
                </a:cxn>
                <a:cxn ang="0">
                  <a:pos x="846" y="687"/>
                </a:cxn>
                <a:cxn ang="0">
                  <a:pos x="767" y="672"/>
                </a:cxn>
                <a:cxn ang="0">
                  <a:pos x="774" y="577"/>
                </a:cxn>
                <a:cxn ang="0">
                  <a:pos x="813" y="569"/>
                </a:cxn>
                <a:cxn ang="0">
                  <a:pos x="940" y="696"/>
                </a:cxn>
                <a:cxn ang="0">
                  <a:pos x="988" y="617"/>
                </a:cxn>
                <a:cxn ang="0">
                  <a:pos x="1019" y="562"/>
                </a:cxn>
                <a:cxn ang="0">
                  <a:pos x="940" y="507"/>
                </a:cxn>
                <a:cxn ang="0">
                  <a:pos x="854" y="483"/>
                </a:cxn>
                <a:cxn ang="0">
                  <a:pos x="791" y="396"/>
                </a:cxn>
                <a:cxn ang="0">
                  <a:pos x="837" y="341"/>
                </a:cxn>
                <a:cxn ang="0">
                  <a:pos x="798" y="269"/>
                </a:cxn>
                <a:cxn ang="0">
                  <a:pos x="672" y="214"/>
                </a:cxn>
                <a:cxn ang="0">
                  <a:pos x="592" y="174"/>
                </a:cxn>
                <a:cxn ang="0">
                  <a:pos x="530" y="71"/>
                </a:cxn>
                <a:cxn ang="0">
                  <a:pos x="371" y="87"/>
                </a:cxn>
                <a:cxn ang="0">
                  <a:pos x="324" y="150"/>
                </a:cxn>
                <a:cxn ang="0">
                  <a:pos x="348" y="8"/>
                </a:cxn>
                <a:cxn ang="0">
                  <a:pos x="237" y="0"/>
                </a:cxn>
                <a:cxn ang="0">
                  <a:pos x="182" y="71"/>
                </a:cxn>
                <a:cxn ang="0">
                  <a:pos x="174" y="127"/>
                </a:cxn>
                <a:cxn ang="0">
                  <a:pos x="119" y="119"/>
                </a:cxn>
                <a:cxn ang="0">
                  <a:pos x="151" y="0"/>
                </a:cxn>
              </a:cxnLst>
              <a:rect l="0" t="0" r="r" b="b"/>
              <a:pathLst>
                <a:path w="1019" h="917">
                  <a:moveTo>
                    <a:pt x="151" y="0"/>
                  </a:moveTo>
                  <a:lnTo>
                    <a:pt x="55" y="32"/>
                  </a:lnTo>
                  <a:lnTo>
                    <a:pt x="0" y="127"/>
                  </a:lnTo>
                  <a:lnTo>
                    <a:pt x="7" y="214"/>
                  </a:lnTo>
                  <a:lnTo>
                    <a:pt x="79" y="245"/>
                  </a:lnTo>
                  <a:lnTo>
                    <a:pt x="48" y="277"/>
                  </a:lnTo>
                  <a:lnTo>
                    <a:pt x="63" y="308"/>
                  </a:lnTo>
                  <a:lnTo>
                    <a:pt x="213" y="284"/>
                  </a:lnTo>
                  <a:lnTo>
                    <a:pt x="309" y="332"/>
                  </a:lnTo>
                  <a:lnTo>
                    <a:pt x="379" y="284"/>
                  </a:lnTo>
                  <a:lnTo>
                    <a:pt x="466" y="363"/>
                  </a:lnTo>
                  <a:lnTo>
                    <a:pt x="458" y="419"/>
                  </a:lnTo>
                  <a:lnTo>
                    <a:pt x="537" y="419"/>
                  </a:lnTo>
                  <a:lnTo>
                    <a:pt x="585" y="459"/>
                  </a:lnTo>
                  <a:lnTo>
                    <a:pt x="592" y="545"/>
                  </a:lnTo>
                  <a:lnTo>
                    <a:pt x="506" y="641"/>
                  </a:lnTo>
                  <a:lnTo>
                    <a:pt x="364" y="672"/>
                  </a:lnTo>
                  <a:lnTo>
                    <a:pt x="331" y="720"/>
                  </a:lnTo>
                  <a:lnTo>
                    <a:pt x="388" y="775"/>
                  </a:lnTo>
                  <a:lnTo>
                    <a:pt x="506" y="744"/>
                  </a:lnTo>
                  <a:lnTo>
                    <a:pt x="624" y="838"/>
                  </a:lnTo>
                  <a:lnTo>
                    <a:pt x="782" y="917"/>
                  </a:lnTo>
                  <a:lnTo>
                    <a:pt x="727" y="790"/>
                  </a:lnTo>
                  <a:lnTo>
                    <a:pt x="837" y="862"/>
                  </a:lnTo>
                  <a:lnTo>
                    <a:pt x="870" y="783"/>
                  </a:lnTo>
                  <a:lnTo>
                    <a:pt x="846" y="687"/>
                  </a:lnTo>
                  <a:lnTo>
                    <a:pt x="767" y="672"/>
                  </a:lnTo>
                  <a:lnTo>
                    <a:pt x="774" y="577"/>
                  </a:lnTo>
                  <a:lnTo>
                    <a:pt x="813" y="569"/>
                  </a:lnTo>
                  <a:lnTo>
                    <a:pt x="940" y="696"/>
                  </a:lnTo>
                  <a:lnTo>
                    <a:pt x="988" y="617"/>
                  </a:lnTo>
                  <a:lnTo>
                    <a:pt x="1019" y="562"/>
                  </a:lnTo>
                  <a:lnTo>
                    <a:pt x="940" y="507"/>
                  </a:lnTo>
                  <a:lnTo>
                    <a:pt x="854" y="483"/>
                  </a:lnTo>
                  <a:lnTo>
                    <a:pt x="791" y="396"/>
                  </a:lnTo>
                  <a:lnTo>
                    <a:pt x="837" y="341"/>
                  </a:lnTo>
                  <a:lnTo>
                    <a:pt x="798" y="269"/>
                  </a:lnTo>
                  <a:lnTo>
                    <a:pt x="672" y="214"/>
                  </a:lnTo>
                  <a:lnTo>
                    <a:pt x="592" y="174"/>
                  </a:lnTo>
                  <a:lnTo>
                    <a:pt x="530" y="71"/>
                  </a:lnTo>
                  <a:lnTo>
                    <a:pt x="371" y="87"/>
                  </a:lnTo>
                  <a:lnTo>
                    <a:pt x="324" y="150"/>
                  </a:lnTo>
                  <a:lnTo>
                    <a:pt x="348" y="8"/>
                  </a:lnTo>
                  <a:lnTo>
                    <a:pt x="237" y="0"/>
                  </a:lnTo>
                  <a:lnTo>
                    <a:pt x="182" y="71"/>
                  </a:lnTo>
                  <a:lnTo>
                    <a:pt x="174" y="127"/>
                  </a:lnTo>
                  <a:lnTo>
                    <a:pt x="119" y="119"/>
                  </a:lnTo>
                  <a:lnTo>
                    <a:pt x="15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Freeform 112"/>
            <p:cNvSpPr>
              <a:spLocks noChangeAspect="1"/>
            </p:cNvSpPr>
            <p:nvPr/>
          </p:nvSpPr>
          <p:spPr bwMode="auto">
            <a:xfrm>
              <a:off x="7452144" y="2016702"/>
              <a:ext cx="45714" cy="55024"/>
            </a:xfrm>
            <a:custGeom>
              <a:avLst/>
              <a:gdLst/>
              <a:ahLst/>
              <a:cxnLst>
                <a:cxn ang="0">
                  <a:pos x="7" y="93"/>
                </a:cxn>
                <a:cxn ang="0">
                  <a:pos x="7" y="93"/>
                </a:cxn>
                <a:cxn ang="0">
                  <a:pos x="5" y="93"/>
                </a:cxn>
                <a:cxn ang="0">
                  <a:pos x="2" y="92"/>
                </a:cxn>
                <a:cxn ang="0">
                  <a:pos x="1" y="90"/>
                </a:cxn>
                <a:cxn ang="0">
                  <a:pos x="0" y="88"/>
                </a:cxn>
                <a:cxn ang="0">
                  <a:pos x="0" y="82"/>
                </a:cxn>
                <a:cxn ang="0">
                  <a:pos x="2" y="74"/>
                </a:cxn>
                <a:cxn ang="0">
                  <a:pos x="8" y="56"/>
                </a:cxn>
                <a:cxn ang="0">
                  <a:pos x="11" y="48"/>
                </a:cxn>
                <a:cxn ang="0">
                  <a:pos x="11" y="39"/>
                </a:cxn>
                <a:cxn ang="0">
                  <a:pos x="11" y="39"/>
                </a:cxn>
                <a:cxn ang="0">
                  <a:pos x="12" y="31"/>
                </a:cxn>
                <a:cxn ang="0">
                  <a:pos x="13" y="24"/>
                </a:cxn>
                <a:cxn ang="0">
                  <a:pos x="17" y="17"/>
                </a:cxn>
                <a:cxn ang="0">
                  <a:pos x="21" y="11"/>
                </a:cxn>
                <a:cxn ang="0">
                  <a:pos x="26" y="6"/>
                </a:cxn>
                <a:cxn ang="0">
                  <a:pos x="32" y="2"/>
                </a:cxn>
                <a:cxn ang="0">
                  <a:pos x="38" y="1"/>
                </a:cxn>
                <a:cxn ang="0">
                  <a:pos x="45" y="0"/>
                </a:cxn>
                <a:cxn ang="0">
                  <a:pos x="45" y="0"/>
                </a:cxn>
                <a:cxn ang="0">
                  <a:pos x="51" y="1"/>
                </a:cxn>
                <a:cxn ang="0">
                  <a:pos x="57" y="2"/>
                </a:cxn>
                <a:cxn ang="0">
                  <a:pos x="64" y="6"/>
                </a:cxn>
                <a:cxn ang="0">
                  <a:pos x="69" y="11"/>
                </a:cxn>
                <a:cxn ang="0">
                  <a:pos x="72" y="17"/>
                </a:cxn>
                <a:cxn ang="0">
                  <a:pos x="76" y="24"/>
                </a:cxn>
                <a:cxn ang="0">
                  <a:pos x="77" y="31"/>
                </a:cxn>
                <a:cxn ang="0">
                  <a:pos x="79" y="39"/>
                </a:cxn>
                <a:cxn ang="0">
                  <a:pos x="79" y="39"/>
                </a:cxn>
                <a:cxn ang="0">
                  <a:pos x="77" y="43"/>
                </a:cxn>
                <a:cxn ang="0">
                  <a:pos x="76" y="48"/>
                </a:cxn>
                <a:cxn ang="0">
                  <a:pos x="70" y="56"/>
                </a:cxn>
                <a:cxn ang="0">
                  <a:pos x="61" y="65"/>
                </a:cxn>
                <a:cxn ang="0">
                  <a:pos x="50" y="74"/>
                </a:cxn>
                <a:cxn ang="0">
                  <a:pos x="37" y="82"/>
                </a:cxn>
                <a:cxn ang="0">
                  <a:pos x="26" y="88"/>
                </a:cxn>
                <a:cxn ang="0">
                  <a:pos x="16" y="92"/>
                </a:cxn>
                <a:cxn ang="0">
                  <a:pos x="7" y="93"/>
                </a:cxn>
                <a:cxn ang="0">
                  <a:pos x="7" y="93"/>
                </a:cxn>
              </a:cxnLst>
              <a:rect l="0" t="0" r="r" b="b"/>
              <a:pathLst>
                <a:path w="79" h="93">
                  <a:moveTo>
                    <a:pt x="7" y="93"/>
                  </a:moveTo>
                  <a:lnTo>
                    <a:pt x="7" y="93"/>
                  </a:lnTo>
                  <a:lnTo>
                    <a:pt x="5" y="93"/>
                  </a:lnTo>
                  <a:lnTo>
                    <a:pt x="2" y="92"/>
                  </a:lnTo>
                  <a:lnTo>
                    <a:pt x="1" y="90"/>
                  </a:lnTo>
                  <a:lnTo>
                    <a:pt x="0" y="88"/>
                  </a:lnTo>
                  <a:lnTo>
                    <a:pt x="0" y="82"/>
                  </a:lnTo>
                  <a:lnTo>
                    <a:pt x="2" y="74"/>
                  </a:lnTo>
                  <a:lnTo>
                    <a:pt x="8" y="56"/>
                  </a:lnTo>
                  <a:lnTo>
                    <a:pt x="11" y="48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2" y="31"/>
                  </a:lnTo>
                  <a:lnTo>
                    <a:pt x="13" y="24"/>
                  </a:lnTo>
                  <a:lnTo>
                    <a:pt x="17" y="17"/>
                  </a:lnTo>
                  <a:lnTo>
                    <a:pt x="21" y="11"/>
                  </a:lnTo>
                  <a:lnTo>
                    <a:pt x="26" y="6"/>
                  </a:lnTo>
                  <a:lnTo>
                    <a:pt x="32" y="2"/>
                  </a:lnTo>
                  <a:lnTo>
                    <a:pt x="38" y="1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51" y="1"/>
                  </a:lnTo>
                  <a:lnTo>
                    <a:pt x="57" y="2"/>
                  </a:lnTo>
                  <a:lnTo>
                    <a:pt x="64" y="6"/>
                  </a:lnTo>
                  <a:lnTo>
                    <a:pt x="69" y="11"/>
                  </a:lnTo>
                  <a:lnTo>
                    <a:pt x="72" y="17"/>
                  </a:lnTo>
                  <a:lnTo>
                    <a:pt x="76" y="24"/>
                  </a:lnTo>
                  <a:lnTo>
                    <a:pt x="77" y="31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77" y="43"/>
                  </a:lnTo>
                  <a:lnTo>
                    <a:pt x="76" y="48"/>
                  </a:lnTo>
                  <a:lnTo>
                    <a:pt x="70" y="56"/>
                  </a:lnTo>
                  <a:lnTo>
                    <a:pt x="61" y="65"/>
                  </a:lnTo>
                  <a:lnTo>
                    <a:pt x="50" y="74"/>
                  </a:lnTo>
                  <a:lnTo>
                    <a:pt x="37" y="82"/>
                  </a:lnTo>
                  <a:lnTo>
                    <a:pt x="26" y="88"/>
                  </a:lnTo>
                  <a:lnTo>
                    <a:pt x="16" y="92"/>
                  </a:lnTo>
                  <a:lnTo>
                    <a:pt x="7" y="93"/>
                  </a:lnTo>
                  <a:lnTo>
                    <a:pt x="7" y="9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Freeform 113"/>
            <p:cNvSpPr>
              <a:spLocks noChangeAspect="1"/>
            </p:cNvSpPr>
            <p:nvPr/>
          </p:nvSpPr>
          <p:spPr bwMode="auto">
            <a:xfrm>
              <a:off x="7424012" y="1942154"/>
              <a:ext cx="24615" cy="51474"/>
            </a:xfrm>
            <a:custGeom>
              <a:avLst/>
              <a:gdLst/>
              <a:ahLst/>
              <a:cxnLst>
                <a:cxn ang="0">
                  <a:pos x="21" y="89"/>
                </a:cxn>
                <a:cxn ang="0">
                  <a:pos x="21" y="89"/>
                </a:cxn>
                <a:cxn ang="0">
                  <a:pos x="17" y="88"/>
                </a:cxn>
                <a:cxn ang="0">
                  <a:pos x="12" y="85"/>
                </a:cxn>
                <a:cxn ang="0">
                  <a:pos x="9" y="81"/>
                </a:cxn>
                <a:cxn ang="0">
                  <a:pos x="6" y="76"/>
                </a:cxn>
                <a:cxn ang="0">
                  <a:pos x="4" y="69"/>
                </a:cxn>
                <a:cxn ang="0">
                  <a:pos x="1" y="61"/>
                </a:cxn>
                <a:cxn ang="0">
                  <a:pos x="0" y="54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0" y="35"/>
                </a:cxn>
                <a:cxn ang="0">
                  <a:pos x="1" y="27"/>
                </a:cxn>
                <a:cxn ang="0">
                  <a:pos x="4" y="20"/>
                </a:cxn>
                <a:cxn ang="0">
                  <a:pos x="6" y="12"/>
                </a:cxn>
                <a:cxn ang="0">
                  <a:pos x="9" y="7"/>
                </a:cxn>
                <a:cxn ang="0">
                  <a:pos x="12" y="4"/>
                </a:cxn>
                <a:cxn ang="0">
                  <a:pos x="17" y="1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26" y="1"/>
                </a:cxn>
                <a:cxn ang="0">
                  <a:pos x="30" y="4"/>
                </a:cxn>
                <a:cxn ang="0">
                  <a:pos x="34" y="7"/>
                </a:cxn>
                <a:cxn ang="0">
                  <a:pos x="37" y="12"/>
                </a:cxn>
                <a:cxn ang="0">
                  <a:pos x="40" y="20"/>
                </a:cxn>
                <a:cxn ang="0">
                  <a:pos x="42" y="27"/>
                </a:cxn>
                <a:cxn ang="0">
                  <a:pos x="44" y="35"/>
                </a:cxn>
                <a:cxn ang="0">
                  <a:pos x="44" y="45"/>
                </a:cxn>
                <a:cxn ang="0">
                  <a:pos x="44" y="45"/>
                </a:cxn>
                <a:cxn ang="0">
                  <a:pos x="44" y="54"/>
                </a:cxn>
                <a:cxn ang="0">
                  <a:pos x="42" y="61"/>
                </a:cxn>
                <a:cxn ang="0">
                  <a:pos x="40" y="69"/>
                </a:cxn>
                <a:cxn ang="0">
                  <a:pos x="37" y="76"/>
                </a:cxn>
                <a:cxn ang="0">
                  <a:pos x="34" y="81"/>
                </a:cxn>
                <a:cxn ang="0">
                  <a:pos x="30" y="85"/>
                </a:cxn>
                <a:cxn ang="0">
                  <a:pos x="26" y="88"/>
                </a:cxn>
                <a:cxn ang="0">
                  <a:pos x="21" y="89"/>
                </a:cxn>
                <a:cxn ang="0">
                  <a:pos x="21" y="89"/>
                </a:cxn>
              </a:cxnLst>
              <a:rect l="0" t="0" r="r" b="b"/>
              <a:pathLst>
                <a:path w="44" h="89">
                  <a:moveTo>
                    <a:pt x="21" y="89"/>
                  </a:moveTo>
                  <a:lnTo>
                    <a:pt x="21" y="89"/>
                  </a:lnTo>
                  <a:lnTo>
                    <a:pt x="17" y="88"/>
                  </a:lnTo>
                  <a:lnTo>
                    <a:pt x="12" y="85"/>
                  </a:lnTo>
                  <a:lnTo>
                    <a:pt x="9" y="81"/>
                  </a:lnTo>
                  <a:lnTo>
                    <a:pt x="6" y="76"/>
                  </a:lnTo>
                  <a:lnTo>
                    <a:pt x="4" y="69"/>
                  </a:lnTo>
                  <a:lnTo>
                    <a:pt x="1" y="61"/>
                  </a:lnTo>
                  <a:lnTo>
                    <a:pt x="0" y="54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35"/>
                  </a:lnTo>
                  <a:lnTo>
                    <a:pt x="1" y="27"/>
                  </a:lnTo>
                  <a:lnTo>
                    <a:pt x="4" y="20"/>
                  </a:lnTo>
                  <a:lnTo>
                    <a:pt x="6" y="12"/>
                  </a:lnTo>
                  <a:lnTo>
                    <a:pt x="9" y="7"/>
                  </a:lnTo>
                  <a:lnTo>
                    <a:pt x="12" y="4"/>
                  </a:lnTo>
                  <a:lnTo>
                    <a:pt x="17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6" y="1"/>
                  </a:lnTo>
                  <a:lnTo>
                    <a:pt x="30" y="4"/>
                  </a:lnTo>
                  <a:lnTo>
                    <a:pt x="34" y="7"/>
                  </a:lnTo>
                  <a:lnTo>
                    <a:pt x="37" y="12"/>
                  </a:lnTo>
                  <a:lnTo>
                    <a:pt x="40" y="20"/>
                  </a:lnTo>
                  <a:lnTo>
                    <a:pt x="42" y="27"/>
                  </a:lnTo>
                  <a:lnTo>
                    <a:pt x="44" y="35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54"/>
                  </a:lnTo>
                  <a:lnTo>
                    <a:pt x="42" y="61"/>
                  </a:lnTo>
                  <a:lnTo>
                    <a:pt x="40" y="69"/>
                  </a:lnTo>
                  <a:lnTo>
                    <a:pt x="37" y="76"/>
                  </a:lnTo>
                  <a:lnTo>
                    <a:pt x="34" y="81"/>
                  </a:lnTo>
                  <a:lnTo>
                    <a:pt x="30" y="85"/>
                  </a:lnTo>
                  <a:lnTo>
                    <a:pt x="26" y="88"/>
                  </a:lnTo>
                  <a:lnTo>
                    <a:pt x="21" y="89"/>
                  </a:lnTo>
                  <a:lnTo>
                    <a:pt x="21" y="8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Freeform 114"/>
            <p:cNvSpPr>
              <a:spLocks noChangeAspect="1"/>
            </p:cNvSpPr>
            <p:nvPr/>
          </p:nvSpPr>
          <p:spPr bwMode="auto">
            <a:xfrm>
              <a:off x="7218297" y="2140949"/>
              <a:ext cx="107253" cy="94073"/>
            </a:xfrm>
            <a:custGeom>
              <a:avLst/>
              <a:gdLst/>
              <a:ahLst/>
              <a:cxnLst>
                <a:cxn ang="0">
                  <a:pos x="78" y="0"/>
                </a:cxn>
                <a:cxn ang="0">
                  <a:pos x="157" y="24"/>
                </a:cxn>
                <a:cxn ang="0">
                  <a:pos x="181" y="72"/>
                </a:cxn>
                <a:cxn ang="0">
                  <a:pos x="118" y="96"/>
                </a:cxn>
                <a:cxn ang="0">
                  <a:pos x="46" y="159"/>
                </a:cxn>
                <a:cxn ang="0">
                  <a:pos x="0" y="96"/>
                </a:cxn>
                <a:cxn ang="0">
                  <a:pos x="7" y="33"/>
                </a:cxn>
                <a:cxn ang="0">
                  <a:pos x="78" y="0"/>
                </a:cxn>
              </a:cxnLst>
              <a:rect l="0" t="0" r="r" b="b"/>
              <a:pathLst>
                <a:path w="181" h="159">
                  <a:moveTo>
                    <a:pt x="78" y="0"/>
                  </a:moveTo>
                  <a:lnTo>
                    <a:pt x="157" y="24"/>
                  </a:lnTo>
                  <a:lnTo>
                    <a:pt x="181" y="72"/>
                  </a:lnTo>
                  <a:lnTo>
                    <a:pt x="118" y="96"/>
                  </a:lnTo>
                  <a:lnTo>
                    <a:pt x="46" y="159"/>
                  </a:lnTo>
                  <a:lnTo>
                    <a:pt x="0" y="96"/>
                  </a:lnTo>
                  <a:lnTo>
                    <a:pt x="7" y="33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Freeform 115"/>
            <p:cNvSpPr>
              <a:spLocks noChangeAspect="1"/>
            </p:cNvSpPr>
            <p:nvPr/>
          </p:nvSpPr>
          <p:spPr bwMode="auto">
            <a:xfrm>
              <a:off x="6940495" y="1597812"/>
              <a:ext cx="130110" cy="85198"/>
            </a:xfrm>
            <a:custGeom>
              <a:avLst/>
              <a:gdLst/>
              <a:ahLst/>
              <a:cxnLst>
                <a:cxn ang="0">
                  <a:pos x="94" y="55"/>
                </a:cxn>
                <a:cxn ang="0">
                  <a:pos x="158" y="16"/>
                </a:cxn>
                <a:cxn ang="0">
                  <a:pos x="221" y="24"/>
                </a:cxn>
                <a:cxn ang="0">
                  <a:pos x="214" y="119"/>
                </a:cxn>
                <a:cxn ang="0">
                  <a:pos x="79" y="143"/>
                </a:cxn>
                <a:cxn ang="0">
                  <a:pos x="39" y="95"/>
                </a:cxn>
                <a:cxn ang="0">
                  <a:pos x="0" y="31"/>
                </a:cxn>
                <a:cxn ang="0">
                  <a:pos x="32" y="0"/>
                </a:cxn>
                <a:cxn ang="0">
                  <a:pos x="71" y="47"/>
                </a:cxn>
                <a:cxn ang="0">
                  <a:pos x="94" y="55"/>
                </a:cxn>
              </a:cxnLst>
              <a:rect l="0" t="0" r="r" b="b"/>
              <a:pathLst>
                <a:path w="221" h="143">
                  <a:moveTo>
                    <a:pt x="94" y="55"/>
                  </a:moveTo>
                  <a:lnTo>
                    <a:pt x="158" y="16"/>
                  </a:lnTo>
                  <a:lnTo>
                    <a:pt x="221" y="24"/>
                  </a:lnTo>
                  <a:lnTo>
                    <a:pt x="214" y="119"/>
                  </a:lnTo>
                  <a:lnTo>
                    <a:pt x="79" y="143"/>
                  </a:lnTo>
                  <a:lnTo>
                    <a:pt x="39" y="95"/>
                  </a:lnTo>
                  <a:lnTo>
                    <a:pt x="0" y="31"/>
                  </a:lnTo>
                  <a:lnTo>
                    <a:pt x="32" y="0"/>
                  </a:lnTo>
                  <a:lnTo>
                    <a:pt x="71" y="47"/>
                  </a:lnTo>
                  <a:lnTo>
                    <a:pt x="94" y="5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Freeform 116"/>
            <p:cNvSpPr>
              <a:spLocks noChangeAspect="1"/>
            </p:cNvSpPr>
            <p:nvPr/>
          </p:nvSpPr>
          <p:spPr bwMode="auto">
            <a:xfrm>
              <a:off x="6940495" y="1597812"/>
              <a:ext cx="130110" cy="85198"/>
            </a:xfrm>
            <a:custGeom>
              <a:avLst/>
              <a:gdLst/>
              <a:ahLst/>
              <a:cxnLst>
                <a:cxn ang="0">
                  <a:pos x="94" y="55"/>
                </a:cxn>
                <a:cxn ang="0">
                  <a:pos x="158" y="16"/>
                </a:cxn>
                <a:cxn ang="0">
                  <a:pos x="221" y="24"/>
                </a:cxn>
                <a:cxn ang="0">
                  <a:pos x="214" y="119"/>
                </a:cxn>
                <a:cxn ang="0">
                  <a:pos x="79" y="143"/>
                </a:cxn>
                <a:cxn ang="0">
                  <a:pos x="39" y="95"/>
                </a:cxn>
                <a:cxn ang="0">
                  <a:pos x="0" y="31"/>
                </a:cxn>
                <a:cxn ang="0">
                  <a:pos x="32" y="0"/>
                </a:cxn>
                <a:cxn ang="0">
                  <a:pos x="71" y="47"/>
                </a:cxn>
              </a:cxnLst>
              <a:rect l="0" t="0" r="r" b="b"/>
              <a:pathLst>
                <a:path w="221" h="143">
                  <a:moveTo>
                    <a:pt x="94" y="55"/>
                  </a:moveTo>
                  <a:lnTo>
                    <a:pt x="158" y="16"/>
                  </a:lnTo>
                  <a:lnTo>
                    <a:pt x="221" y="24"/>
                  </a:lnTo>
                  <a:lnTo>
                    <a:pt x="214" y="119"/>
                  </a:lnTo>
                  <a:lnTo>
                    <a:pt x="79" y="143"/>
                  </a:lnTo>
                  <a:lnTo>
                    <a:pt x="39" y="95"/>
                  </a:lnTo>
                  <a:lnTo>
                    <a:pt x="0" y="31"/>
                  </a:lnTo>
                  <a:lnTo>
                    <a:pt x="32" y="0"/>
                  </a:lnTo>
                  <a:lnTo>
                    <a:pt x="71" y="47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7" name="Freeform 117"/>
            <p:cNvSpPr>
              <a:spLocks noChangeAspect="1"/>
            </p:cNvSpPr>
            <p:nvPr/>
          </p:nvSpPr>
          <p:spPr bwMode="auto">
            <a:xfrm>
              <a:off x="7107528" y="1482440"/>
              <a:ext cx="65055" cy="69223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0" y="79"/>
                </a:cxn>
                <a:cxn ang="0">
                  <a:pos x="40" y="118"/>
                </a:cxn>
                <a:cxn ang="0">
                  <a:pos x="88" y="110"/>
                </a:cxn>
                <a:cxn ang="0">
                  <a:pos x="112" y="55"/>
                </a:cxn>
                <a:cxn ang="0">
                  <a:pos x="72" y="0"/>
                </a:cxn>
                <a:cxn ang="0">
                  <a:pos x="0" y="23"/>
                </a:cxn>
              </a:cxnLst>
              <a:rect l="0" t="0" r="r" b="b"/>
              <a:pathLst>
                <a:path w="112" h="118">
                  <a:moveTo>
                    <a:pt x="0" y="23"/>
                  </a:moveTo>
                  <a:lnTo>
                    <a:pt x="0" y="79"/>
                  </a:lnTo>
                  <a:lnTo>
                    <a:pt x="40" y="118"/>
                  </a:lnTo>
                  <a:lnTo>
                    <a:pt x="88" y="110"/>
                  </a:lnTo>
                  <a:lnTo>
                    <a:pt x="112" y="55"/>
                  </a:lnTo>
                  <a:lnTo>
                    <a:pt x="72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8" name="Freeform 118"/>
            <p:cNvSpPr>
              <a:spLocks noChangeAspect="1"/>
            </p:cNvSpPr>
            <p:nvPr/>
          </p:nvSpPr>
          <p:spPr bwMode="auto">
            <a:xfrm>
              <a:off x="7093462" y="1411442"/>
              <a:ext cx="45714" cy="37274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0" y="64"/>
                </a:cxn>
                <a:cxn ang="0">
                  <a:pos x="63" y="64"/>
                </a:cxn>
                <a:cxn ang="0">
                  <a:pos x="78" y="17"/>
                </a:cxn>
                <a:cxn ang="0">
                  <a:pos x="8" y="0"/>
                </a:cxn>
              </a:cxnLst>
              <a:rect l="0" t="0" r="r" b="b"/>
              <a:pathLst>
                <a:path w="78" h="64">
                  <a:moveTo>
                    <a:pt x="8" y="0"/>
                  </a:moveTo>
                  <a:lnTo>
                    <a:pt x="0" y="64"/>
                  </a:lnTo>
                  <a:lnTo>
                    <a:pt x="63" y="64"/>
                  </a:lnTo>
                  <a:lnTo>
                    <a:pt x="78" y="17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9" name="Freeform 119"/>
            <p:cNvSpPr>
              <a:spLocks noChangeAspect="1"/>
            </p:cNvSpPr>
            <p:nvPr/>
          </p:nvSpPr>
          <p:spPr bwMode="auto">
            <a:xfrm>
              <a:off x="7190165" y="1351094"/>
              <a:ext cx="152967" cy="163296"/>
            </a:xfrm>
            <a:custGeom>
              <a:avLst/>
              <a:gdLst/>
              <a:ahLst/>
              <a:cxnLst>
                <a:cxn ang="0">
                  <a:pos x="87" y="0"/>
                </a:cxn>
                <a:cxn ang="0">
                  <a:pos x="48" y="55"/>
                </a:cxn>
                <a:cxn ang="0">
                  <a:pos x="0" y="110"/>
                </a:cxn>
                <a:cxn ang="0">
                  <a:pos x="8" y="173"/>
                </a:cxn>
                <a:cxn ang="0">
                  <a:pos x="63" y="173"/>
                </a:cxn>
                <a:cxn ang="0">
                  <a:pos x="55" y="213"/>
                </a:cxn>
                <a:cxn ang="0">
                  <a:pos x="70" y="259"/>
                </a:cxn>
                <a:cxn ang="0">
                  <a:pos x="214" y="276"/>
                </a:cxn>
                <a:cxn ang="0">
                  <a:pos x="252" y="221"/>
                </a:cxn>
                <a:cxn ang="0">
                  <a:pos x="260" y="134"/>
                </a:cxn>
                <a:cxn ang="0">
                  <a:pos x="205" y="62"/>
                </a:cxn>
                <a:cxn ang="0">
                  <a:pos x="87" y="0"/>
                </a:cxn>
              </a:cxnLst>
              <a:rect l="0" t="0" r="r" b="b"/>
              <a:pathLst>
                <a:path w="260" h="276">
                  <a:moveTo>
                    <a:pt x="87" y="0"/>
                  </a:moveTo>
                  <a:lnTo>
                    <a:pt x="48" y="55"/>
                  </a:lnTo>
                  <a:lnTo>
                    <a:pt x="0" y="110"/>
                  </a:lnTo>
                  <a:lnTo>
                    <a:pt x="8" y="173"/>
                  </a:lnTo>
                  <a:lnTo>
                    <a:pt x="63" y="173"/>
                  </a:lnTo>
                  <a:lnTo>
                    <a:pt x="55" y="213"/>
                  </a:lnTo>
                  <a:lnTo>
                    <a:pt x="70" y="259"/>
                  </a:lnTo>
                  <a:lnTo>
                    <a:pt x="214" y="276"/>
                  </a:lnTo>
                  <a:lnTo>
                    <a:pt x="252" y="221"/>
                  </a:lnTo>
                  <a:lnTo>
                    <a:pt x="260" y="134"/>
                  </a:lnTo>
                  <a:lnTo>
                    <a:pt x="205" y="62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Freeform 120"/>
            <p:cNvSpPr>
              <a:spLocks noChangeAspect="1"/>
            </p:cNvSpPr>
            <p:nvPr/>
          </p:nvSpPr>
          <p:spPr bwMode="auto">
            <a:xfrm>
              <a:off x="7278078" y="1257021"/>
              <a:ext cx="654067" cy="374516"/>
            </a:xfrm>
            <a:custGeom>
              <a:avLst/>
              <a:gdLst/>
              <a:ahLst/>
              <a:cxnLst>
                <a:cxn ang="0">
                  <a:pos x="88" y="118"/>
                </a:cxn>
                <a:cxn ang="0">
                  <a:pos x="111" y="166"/>
                </a:cxn>
                <a:cxn ang="0">
                  <a:pos x="151" y="214"/>
                </a:cxn>
                <a:cxn ang="0">
                  <a:pos x="190" y="229"/>
                </a:cxn>
                <a:cxn ang="0">
                  <a:pos x="269" y="253"/>
                </a:cxn>
                <a:cxn ang="0">
                  <a:pos x="341" y="221"/>
                </a:cxn>
                <a:cxn ang="0">
                  <a:pos x="436" y="197"/>
                </a:cxn>
                <a:cxn ang="0">
                  <a:pos x="468" y="182"/>
                </a:cxn>
                <a:cxn ang="0">
                  <a:pos x="468" y="238"/>
                </a:cxn>
                <a:cxn ang="0">
                  <a:pos x="365" y="260"/>
                </a:cxn>
                <a:cxn ang="0">
                  <a:pos x="302" y="293"/>
                </a:cxn>
                <a:cxn ang="0">
                  <a:pos x="357" y="317"/>
                </a:cxn>
                <a:cxn ang="0">
                  <a:pos x="254" y="317"/>
                </a:cxn>
                <a:cxn ang="0">
                  <a:pos x="206" y="284"/>
                </a:cxn>
                <a:cxn ang="0">
                  <a:pos x="199" y="348"/>
                </a:cxn>
                <a:cxn ang="0">
                  <a:pos x="238" y="403"/>
                </a:cxn>
                <a:cxn ang="0">
                  <a:pos x="190" y="442"/>
                </a:cxn>
                <a:cxn ang="0">
                  <a:pos x="151" y="474"/>
                </a:cxn>
                <a:cxn ang="0">
                  <a:pos x="103" y="506"/>
                </a:cxn>
                <a:cxn ang="0">
                  <a:pos x="80" y="545"/>
                </a:cxn>
                <a:cxn ang="0">
                  <a:pos x="0" y="530"/>
                </a:cxn>
                <a:cxn ang="0">
                  <a:pos x="41" y="601"/>
                </a:cxn>
                <a:cxn ang="0">
                  <a:pos x="262" y="632"/>
                </a:cxn>
                <a:cxn ang="0">
                  <a:pos x="388" y="608"/>
                </a:cxn>
                <a:cxn ang="0">
                  <a:pos x="444" y="545"/>
                </a:cxn>
                <a:cxn ang="0">
                  <a:pos x="396" y="483"/>
                </a:cxn>
                <a:cxn ang="0">
                  <a:pos x="444" y="466"/>
                </a:cxn>
                <a:cxn ang="0">
                  <a:pos x="499" y="451"/>
                </a:cxn>
                <a:cxn ang="0">
                  <a:pos x="578" y="372"/>
                </a:cxn>
                <a:cxn ang="0">
                  <a:pos x="602" y="332"/>
                </a:cxn>
                <a:cxn ang="0">
                  <a:pos x="665" y="293"/>
                </a:cxn>
                <a:cxn ang="0">
                  <a:pos x="751" y="317"/>
                </a:cxn>
                <a:cxn ang="0">
                  <a:pos x="909" y="182"/>
                </a:cxn>
                <a:cxn ang="0">
                  <a:pos x="878" y="126"/>
                </a:cxn>
                <a:cxn ang="0">
                  <a:pos x="1020" y="103"/>
                </a:cxn>
                <a:cxn ang="0">
                  <a:pos x="1115" y="63"/>
                </a:cxn>
                <a:cxn ang="0">
                  <a:pos x="1060" y="8"/>
                </a:cxn>
                <a:cxn ang="0">
                  <a:pos x="965" y="8"/>
                </a:cxn>
                <a:cxn ang="0">
                  <a:pos x="727" y="0"/>
                </a:cxn>
                <a:cxn ang="0">
                  <a:pos x="650" y="63"/>
                </a:cxn>
                <a:cxn ang="0">
                  <a:pos x="578" y="0"/>
                </a:cxn>
                <a:cxn ang="0">
                  <a:pos x="570" y="32"/>
                </a:cxn>
                <a:cxn ang="0">
                  <a:pos x="436" y="24"/>
                </a:cxn>
                <a:cxn ang="0">
                  <a:pos x="372" y="95"/>
                </a:cxn>
                <a:cxn ang="0">
                  <a:pos x="309" y="95"/>
                </a:cxn>
                <a:cxn ang="0">
                  <a:pos x="278" y="56"/>
                </a:cxn>
                <a:cxn ang="0">
                  <a:pos x="206" y="71"/>
                </a:cxn>
                <a:cxn ang="0">
                  <a:pos x="190" y="103"/>
                </a:cxn>
                <a:cxn ang="0">
                  <a:pos x="88" y="118"/>
                </a:cxn>
              </a:cxnLst>
              <a:rect l="0" t="0" r="r" b="b"/>
              <a:pathLst>
                <a:path w="1115" h="632">
                  <a:moveTo>
                    <a:pt x="88" y="118"/>
                  </a:moveTo>
                  <a:lnTo>
                    <a:pt x="111" y="166"/>
                  </a:lnTo>
                  <a:lnTo>
                    <a:pt x="151" y="214"/>
                  </a:lnTo>
                  <a:lnTo>
                    <a:pt x="190" y="229"/>
                  </a:lnTo>
                  <a:lnTo>
                    <a:pt x="269" y="253"/>
                  </a:lnTo>
                  <a:lnTo>
                    <a:pt x="341" y="221"/>
                  </a:lnTo>
                  <a:lnTo>
                    <a:pt x="436" y="197"/>
                  </a:lnTo>
                  <a:lnTo>
                    <a:pt x="468" y="182"/>
                  </a:lnTo>
                  <a:lnTo>
                    <a:pt x="468" y="238"/>
                  </a:lnTo>
                  <a:lnTo>
                    <a:pt x="365" y="260"/>
                  </a:lnTo>
                  <a:lnTo>
                    <a:pt x="302" y="293"/>
                  </a:lnTo>
                  <a:lnTo>
                    <a:pt x="357" y="317"/>
                  </a:lnTo>
                  <a:lnTo>
                    <a:pt x="254" y="317"/>
                  </a:lnTo>
                  <a:lnTo>
                    <a:pt x="206" y="284"/>
                  </a:lnTo>
                  <a:lnTo>
                    <a:pt x="199" y="348"/>
                  </a:lnTo>
                  <a:lnTo>
                    <a:pt x="238" y="403"/>
                  </a:lnTo>
                  <a:lnTo>
                    <a:pt x="190" y="442"/>
                  </a:lnTo>
                  <a:lnTo>
                    <a:pt x="151" y="474"/>
                  </a:lnTo>
                  <a:lnTo>
                    <a:pt x="103" y="506"/>
                  </a:lnTo>
                  <a:lnTo>
                    <a:pt x="80" y="545"/>
                  </a:lnTo>
                  <a:lnTo>
                    <a:pt x="0" y="530"/>
                  </a:lnTo>
                  <a:lnTo>
                    <a:pt x="41" y="601"/>
                  </a:lnTo>
                  <a:lnTo>
                    <a:pt x="262" y="632"/>
                  </a:lnTo>
                  <a:lnTo>
                    <a:pt x="388" y="608"/>
                  </a:lnTo>
                  <a:lnTo>
                    <a:pt x="444" y="545"/>
                  </a:lnTo>
                  <a:lnTo>
                    <a:pt x="396" y="483"/>
                  </a:lnTo>
                  <a:lnTo>
                    <a:pt x="444" y="466"/>
                  </a:lnTo>
                  <a:lnTo>
                    <a:pt x="499" y="451"/>
                  </a:lnTo>
                  <a:lnTo>
                    <a:pt x="578" y="372"/>
                  </a:lnTo>
                  <a:lnTo>
                    <a:pt x="602" y="332"/>
                  </a:lnTo>
                  <a:lnTo>
                    <a:pt x="665" y="293"/>
                  </a:lnTo>
                  <a:lnTo>
                    <a:pt x="751" y="317"/>
                  </a:lnTo>
                  <a:lnTo>
                    <a:pt x="909" y="182"/>
                  </a:lnTo>
                  <a:lnTo>
                    <a:pt x="878" y="126"/>
                  </a:lnTo>
                  <a:lnTo>
                    <a:pt x="1020" y="103"/>
                  </a:lnTo>
                  <a:lnTo>
                    <a:pt x="1115" y="63"/>
                  </a:lnTo>
                  <a:lnTo>
                    <a:pt x="1060" y="8"/>
                  </a:lnTo>
                  <a:lnTo>
                    <a:pt x="965" y="8"/>
                  </a:lnTo>
                  <a:lnTo>
                    <a:pt x="727" y="0"/>
                  </a:lnTo>
                  <a:lnTo>
                    <a:pt x="650" y="63"/>
                  </a:lnTo>
                  <a:lnTo>
                    <a:pt x="578" y="0"/>
                  </a:lnTo>
                  <a:lnTo>
                    <a:pt x="570" y="32"/>
                  </a:lnTo>
                  <a:lnTo>
                    <a:pt x="436" y="24"/>
                  </a:lnTo>
                  <a:lnTo>
                    <a:pt x="372" y="95"/>
                  </a:lnTo>
                  <a:lnTo>
                    <a:pt x="309" y="95"/>
                  </a:lnTo>
                  <a:lnTo>
                    <a:pt x="278" y="56"/>
                  </a:lnTo>
                  <a:lnTo>
                    <a:pt x="206" y="71"/>
                  </a:lnTo>
                  <a:lnTo>
                    <a:pt x="190" y="103"/>
                  </a:lnTo>
                  <a:lnTo>
                    <a:pt x="88" y="11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121"/>
            <p:cNvSpPr>
              <a:spLocks noChangeAspect="1"/>
            </p:cNvSpPr>
            <p:nvPr/>
          </p:nvSpPr>
          <p:spPr bwMode="auto">
            <a:xfrm>
              <a:off x="7167308" y="1574738"/>
              <a:ext cx="297143" cy="134897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0" y="55"/>
                </a:cxn>
                <a:cxn ang="0">
                  <a:pos x="40" y="110"/>
                </a:cxn>
                <a:cxn ang="0">
                  <a:pos x="110" y="189"/>
                </a:cxn>
                <a:cxn ang="0">
                  <a:pos x="182" y="221"/>
                </a:cxn>
                <a:cxn ang="0">
                  <a:pos x="388" y="197"/>
                </a:cxn>
                <a:cxn ang="0">
                  <a:pos x="506" y="228"/>
                </a:cxn>
                <a:cxn ang="0">
                  <a:pos x="491" y="142"/>
                </a:cxn>
                <a:cxn ang="0">
                  <a:pos x="324" y="134"/>
                </a:cxn>
                <a:cxn ang="0">
                  <a:pos x="174" y="94"/>
                </a:cxn>
                <a:cxn ang="0">
                  <a:pos x="151" y="7"/>
                </a:cxn>
                <a:cxn ang="0">
                  <a:pos x="64" y="0"/>
                </a:cxn>
              </a:cxnLst>
              <a:rect l="0" t="0" r="r" b="b"/>
              <a:pathLst>
                <a:path w="506" h="228">
                  <a:moveTo>
                    <a:pt x="64" y="0"/>
                  </a:moveTo>
                  <a:lnTo>
                    <a:pt x="0" y="55"/>
                  </a:lnTo>
                  <a:lnTo>
                    <a:pt x="40" y="110"/>
                  </a:lnTo>
                  <a:lnTo>
                    <a:pt x="110" y="189"/>
                  </a:lnTo>
                  <a:lnTo>
                    <a:pt x="182" y="221"/>
                  </a:lnTo>
                  <a:lnTo>
                    <a:pt x="388" y="197"/>
                  </a:lnTo>
                  <a:lnTo>
                    <a:pt x="506" y="228"/>
                  </a:lnTo>
                  <a:lnTo>
                    <a:pt x="491" y="142"/>
                  </a:lnTo>
                  <a:lnTo>
                    <a:pt x="324" y="134"/>
                  </a:lnTo>
                  <a:lnTo>
                    <a:pt x="174" y="94"/>
                  </a:lnTo>
                  <a:lnTo>
                    <a:pt x="151" y="7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Freeform 122"/>
            <p:cNvSpPr>
              <a:spLocks noChangeAspect="1"/>
            </p:cNvSpPr>
            <p:nvPr/>
          </p:nvSpPr>
          <p:spPr bwMode="auto">
            <a:xfrm>
              <a:off x="7102253" y="1654611"/>
              <a:ext cx="59780" cy="40824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0" y="48"/>
                </a:cxn>
                <a:cxn ang="0">
                  <a:pos x="56" y="70"/>
                </a:cxn>
                <a:cxn ang="0">
                  <a:pos x="103" y="48"/>
                </a:cxn>
                <a:cxn ang="0">
                  <a:pos x="96" y="8"/>
                </a:cxn>
                <a:cxn ang="0">
                  <a:pos x="41" y="0"/>
                </a:cxn>
              </a:cxnLst>
              <a:rect l="0" t="0" r="r" b="b"/>
              <a:pathLst>
                <a:path w="103" h="70">
                  <a:moveTo>
                    <a:pt x="41" y="0"/>
                  </a:moveTo>
                  <a:lnTo>
                    <a:pt x="0" y="48"/>
                  </a:lnTo>
                  <a:lnTo>
                    <a:pt x="56" y="70"/>
                  </a:lnTo>
                  <a:lnTo>
                    <a:pt x="103" y="48"/>
                  </a:lnTo>
                  <a:lnTo>
                    <a:pt x="96" y="8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3" name="Freeform 123"/>
            <p:cNvSpPr>
              <a:spLocks noChangeAspect="1"/>
            </p:cNvSpPr>
            <p:nvPr/>
          </p:nvSpPr>
          <p:spPr bwMode="auto">
            <a:xfrm>
              <a:off x="7671924" y="1214422"/>
              <a:ext cx="1329232" cy="1137747"/>
            </a:xfrm>
            <a:custGeom>
              <a:avLst/>
              <a:gdLst/>
              <a:ahLst/>
              <a:cxnLst>
                <a:cxn ang="0">
                  <a:pos x="436" y="261"/>
                </a:cxn>
                <a:cxn ang="0">
                  <a:pos x="293" y="388"/>
                </a:cxn>
                <a:cxn ang="0">
                  <a:pos x="96" y="489"/>
                </a:cxn>
                <a:cxn ang="0">
                  <a:pos x="9" y="554"/>
                </a:cxn>
                <a:cxn ang="0">
                  <a:pos x="206" y="592"/>
                </a:cxn>
                <a:cxn ang="0">
                  <a:pos x="64" y="616"/>
                </a:cxn>
                <a:cxn ang="0">
                  <a:pos x="451" y="695"/>
                </a:cxn>
                <a:cxn ang="0">
                  <a:pos x="570" y="901"/>
                </a:cxn>
                <a:cxn ang="0">
                  <a:pos x="602" y="1082"/>
                </a:cxn>
                <a:cxn ang="0">
                  <a:pos x="692" y="1121"/>
                </a:cxn>
                <a:cxn ang="0">
                  <a:pos x="720" y="1194"/>
                </a:cxn>
                <a:cxn ang="0">
                  <a:pos x="617" y="1336"/>
                </a:cxn>
                <a:cxn ang="0">
                  <a:pos x="633" y="1549"/>
                </a:cxn>
                <a:cxn ang="0">
                  <a:pos x="760" y="1842"/>
                </a:cxn>
                <a:cxn ang="0">
                  <a:pos x="878" y="1921"/>
                </a:cxn>
                <a:cxn ang="0">
                  <a:pos x="1028" y="1707"/>
                </a:cxn>
                <a:cxn ang="0">
                  <a:pos x="1091" y="1533"/>
                </a:cxn>
                <a:cxn ang="0">
                  <a:pos x="1367" y="1470"/>
                </a:cxn>
                <a:cxn ang="0">
                  <a:pos x="1613" y="1343"/>
                </a:cxn>
                <a:cxn ang="0">
                  <a:pos x="1834" y="1161"/>
                </a:cxn>
                <a:cxn ang="0">
                  <a:pos x="1660" y="1122"/>
                </a:cxn>
                <a:cxn ang="0">
                  <a:pos x="1731" y="1051"/>
                </a:cxn>
                <a:cxn ang="0">
                  <a:pos x="1858" y="1130"/>
                </a:cxn>
                <a:cxn ang="0">
                  <a:pos x="1849" y="1004"/>
                </a:cxn>
                <a:cxn ang="0">
                  <a:pos x="1770" y="916"/>
                </a:cxn>
                <a:cxn ang="0">
                  <a:pos x="1858" y="940"/>
                </a:cxn>
                <a:cxn ang="0">
                  <a:pos x="1945" y="885"/>
                </a:cxn>
                <a:cxn ang="0">
                  <a:pos x="1976" y="846"/>
                </a:cxn>
                <a:cxn ang="0">
                  <a:pos x="2040" y="751"/>
                </a:cxn>
                <a:cxn ang="0">
                  <a:pos x="1961" y="664"/>
                </a:cxn>
                <a:cxn ang="0">
                  <a:pos x="2032" y="616"/>
                </a:cxn>
                <a:cxn ang="0">
                  <a:pos x="1890" y="530"/>
                </a:cxn>
                <a:cxn ang="0">
                  <a:pos x="1993" y="403"/>
                </a:cxn>
                <a:cxn ang="0">
                  <a:pos x="1952" y="331"/>
                </a:cxn>
                <a:cxn ang="0">
                  <a:pos x="2055" y="300"/>
                </a:cxn>
                <a:cxn ang="0">
                  <a:pos x="2269" y="197"/>
                </a:cxn>
                <a:cxn ang="0">
                  <a:pos x="1969" y="213"/>
                </a:cxn>
                <a:cxn ang="0">
                  <a:pos x="1897" y="158"/>
                </a:cxn>
                <a:cxn ang="0">
                  <a:pos x="1748" y="142"/>
                </a:cxn>
                <a:cxn ang="0">
                  <a:pos x="1636" y="119"/>
                </a:cxn>
                <a:cxn ang="0">
                  <a:pos x="1890" y="71"/>
                </a:cxn>
                <a:cxn ang="0">
                  <a:pos x="1487" y="63"/>
                </a:cxn>
                <a:cxn ang="0">
                  <a:pos x="1305" y="7"/>
                </a:cxn>
                <a:cxn ang="0">
                  <a:pos x="1076" y="47"/>
                </a:cxn>
                <a:cxn ang="0">
                  <a:pos x="1052" y="182"/>
                </a:cxn>
                <a:cxn ang="0">
                  <a:pos x="957" y="127"/>
                </a:cxn>
                <a:cxn ang="0">
                  <a:pos x="894" y="206"/>
                </a:cxn>
                <a:cxn ang="0">
                  <a:pos x="815" y="142"/>
                </a:cxn>
                <a:cxn ang="0">
                  <a:pos x="760" y="174"/>
                </a:cxn>
                <a:cxn ang="0">
                  <a:pos x="578" y="158"/>
                </a:cxn>
                <a:cxn ang="0">
                  <a:pos x="475" y="206"/>
                </a:cxn>
              </a:cxnLst>
              <a:rect l="0" t="0" r="r" b="b"/>
              <a:pathLst>
                <a:path w="2269" h="1921">
                  <a:moveTo>
                    <a:pt x="475" y="206"/>
                  </a:moveTo>
                  <a:lnTo>
                    <a:pt x="436" y="261"/>
                  </a:lnTo>
                  <a:lnTo>
                    <a:pt x="301" y="292"/>
                  </a:lnTo>
                  <a:lnTo>
                    <a:pt x="293" y="388"/>
                  </a:lnTo>
                  <a:lnTo>
                    <a:pt x="190" y="419"/>
                  </a:lnTo>
                  <a:lnTo>
                    <a:pt x="96" y="489"/>
                  </a:lnTo>
                  <a:lnTo>
                    <a:pt x="0" y="522"/>
                  </a:lnTo>
                  <a:lnTo>
                    <a:pt x="9" y="554"/>
                  </a:lnTo>
                  <a:lnTo>
                    <a:pt x="175" y="545"/>
                  </a:lnTo>
                  <a:lnTo>
                    <a:pt x="206" y="592"/>
                  </a:lnTo>
                  <a:lnTo>
                    <a:pt x="135" y="609"/>
                  </a:lnTo>
                  <a:lnTo>
                    <a:pt x="64" y="616"/>
                  </a:lnTo>
                  <a:lnTo>
                    <a:pt x="175" y="695"/>
                  </a:lnTo>
                  <a:lnTo>
                    <a:pt x="451" y="695"/>
                  </a:lnTo>
                  <a:lnTo>
                    <a:pt x="522" y="775"/>
                  </a:lnTo>
                  <a:lnTo>
                    <a:pt x="570" y="901"/>
                  </a:lnTo>
                  <a:lnTo>
                    <a:pt x="594" y="1027"/>
                  </a:lnTo>
                  <a:lnTo>
                    <a:pt x="602" y="1082"/>
                  </a:lnTo>
                  <a:lnTo>
                    <a:pt x="664" y="1051"/>
                  </a:lnTo>
                  <a:lnTo>
                    <a:pt x="692" y="1121"/>
                  </a:lnTo>
                  <a:lnTo>
                    <a:pt x="610" y="1149"/>
                  </a:lnTo>
                  <a:lnTo>
                    <a:pt x="720" y="1194"/>
                  </a:lnTo>
                  <a:lnTo>
                    <a:pt x="704" y="1288"/>
                  </a:lnTo>
                  <a:lnTo>
                    <a:pt x="617" y="1336"/>
                  </a:lnTo>
                  <a:lnTo>
                    <a:pt x="594" y="1407"/>
                  </a:lnTo>
                  <a:lnTo>
                    <a:pt x="633" y="1549"/>
                  </a:lnTo>
                  <a:lnTo>
                    <a:pt x="688" y="1700"/>
                  </a:lnTo>
                  <a:lnTo>
                    <a:pt x="760" y="1842"/>
                  </a:lnTo>
                  <a:lnTo>
                    <a:pt x="839" y="1857"/>
                  </a:lnTo>
                  <a:lnTo>
                    <a:pt x="878" y="1921"/>
                  </a:lnTo>
                  <a:lnTo>
                    <a:pt x="949" y="1905"/>
                  </a:lnTo>
                  <a:lnTo>
                    <a:pt x="1028" y="1707"/>
                  </a:lnTo>
                  <a:lnTo>
                    <a:pt x="1084" y="1636"/>
                  </a:lnTo>
                  <a:lnTo>
                    <a:pt x="1091" y="1533"/>
                  </a:lnTo>
                  <a:lnTo>
                    <a:pt x="1226" y="1502"/>
                  </a:lnTo>
                  <a:lnTo>
                    <a:pt x="1367" y="1470"/>
                  </a:lnTo>
                  <a:lnTo>
                    <a:pt x="1439" y="1328"/>
                  </a:lnTo>
                  <a:lnTo>
                    <a:pt x="1613" y="1343"/>
                  </a:lnTo>
                  <a:lnTo>
                    <a:pt x="1763" y="1240"/>
                  </a:lnTo>
                  <a:lnTo>
                    <a:pt x="1834" y="1161"/>
                  </a:lnTo>
                  <a:lnTo>
                    <a:pt x="1755" y="1139"/>
                  </a:lnTo>
                  <a:lnTo>
                    <a:pt x="1660" y="1122"/>
                  </a:lnTo>
                  <a:lnTo>
                    <a:pt x="1676" y="1067"/>
                  </a:lnTo>
                  <a:lnTo>
                    <a:pt x="1731" y="1051"/>
                  </a:lnTo>
                  <a:lnTo>
                    <a:pt x="1794" y="1098"/>
                  </a:lnTo>
                  <a:lnTo>
                    <a:pt x="1858" y="1130"/>
                  </a:lnTo>
                  <a:lnTo>
                    <a:pt x="1890" y="1082"/>
                  </a:lnTo>
                  <a:lnTo>
                    <a:pt x="1849" y="1004"/>
                  </a:lnTo>
                  <a:lnTo>
                    <a:pt x="1763" y="972"/>
                  </a:lnTo>
                  <a:lnTo>
                    <a:pt x="1770" y="916"/>
                  </a:lnTo>
                  <a:lnTo>
                    <a:pt x="1834" y="916"/>
                  </a:lnTo>
                  <a:lnTo>
                    <a:pt x="1858" y="940"/>
                  </a:lnTo>
                  <a:lnTo>
                    <a:pt x="1882" y="901"/>
                  </a:lnTo>
                  <a:lnTo>
                    <a:pt x="1945" y="885"/>
                  </a:lnTo>
                  <a:lnTo>
                    <a:pt x="1921" y="846"/>
                  </a:lnTo>
                  <a:lnTo>
                    <a:pt x="1976" y="846"/>
                  </a:lnTo>
                  <a:lnTo>
                    <a:pt x="2024" y="798"/>
                  </a:lnTo>
                  <a:lnTo>
                    <a:pt x="2040" y="751"/>
                  </a:lnTo>
                  <a:lnTo>
                    <a:pt x="1969" y="719"/>
                  </a:lnTo>
                  <a:lnTo>
                    <a:pt x="1961" y="664"/>
                  </a:lnTo>
                  <a:lnTo>
                    <a:pt x="1993" y="624"/>
                  </a:lnTo>
                  <a:lnTo>
                    <a:pt x="2032" y="616"/>
                  </a:lnTo>
                  <a:lnTo>
                    <a:pt x="2024" y="545"/>
                  </a:lnTo>
                  <a:lnTo>
                    <a:pt x="1890" y="530"/>
                  </a:lnTo>
                  <a:lnTo>
                    <a:pt x="1921" y="451"/>
                  </a:lnTo>
                  <a:lnTo>
                    <a:pt x="1993" y="403"/>
                  </a:lnTo>
                  <a:lnTo>
                    <a:pt x="2032" y="371"/>
                  </a:lnTo>
                  <a:lnTo>
                    <a:pt x="1952" y="331"/>
                  </a:lnTo>
                  <a:lnTo>
                    <a:pt x="2008" y="309"/>
                  </a:lnTo>
                  <a:lnTo>
                    <a:pt x="2055" y="300"/>
                  </a:lnTo>
                  <a:lnTo>
                    <a:pt x="2166" y="268"/>
                  </a:lnTo>
                  <a:lnTo>
                    <a:pt x="2269" y="197"/>
                  </a:lnTo>
                  <a:lnTo>
                    <a:pt x="2072" y="182"/>
                  </a:lnTo>
                  <a:lnTo>
                    <a:pt x="1969" y="213"/>
                  </a:lnTo>
                  <a:lnTo>
                    <a:pt x="1827" y="285"/>
                  </a:lnTo>
                  <a:lnTo>
                    <a:pt x="1897" y="158"/>
                  </a:lnTo>
                  <a:lnTo>
                    <a:pt x="1739" y="213"/>
                  </a:lnTo>
                  <a:lnTo>
                    <a:pt x="1748" y="142"/>
                  </a:lnTo>
                  <a:lnTo>
                    <a:pt x="1487" y="166"/>
                  </a:lnTo>
                  <a:lnTo>
                    <a:pt x="1636" y="119"/>
                  </a:lnTo>
                  <a:lnTo>
                    <a:pt x="1827" y="86"/>
                  </a:lnTo>
                  <a:lnTo>
                    <a:pt x="1890" y="71"/>
                  </a:lnTo>
                  <a:lnTo>
                    <a:pt x="1763" y="24"/>
                  </a:lnTo>
                  <a:lnTo>
                    <a:pt x="1487" y="63"/>
                  </a:lnTo>
                  <a:lnTo>
                    <a:pt x="1636" y="0"/>
                  </a:lnTo>
                  <a:lnTo>
                    <a:pt x="1305" y="7"/>
                  </a:lnTo>
                  <a:lnTo>
                    <a:pt x="1210" y="95"/>
                  </a:lnTo>
                  <a:lnTo>
                    <a:pt x="1076" y="47"/>
                  </a:lnTo>
                  <a:lnTo>
                    <a:pt x="1076" y="110"/>
                  </a:lnTo>
                  <a:lnTo>
                    <a:pt x="1052" y="182"/>
                  </a:lnTo>
                  <a:lnTo>
                    <a:pt x="1005" y="127"/>
                  </a:lnTo>
                  <a:lnTo>
                    <a:pt x="957" y="127"/>
                  </a:lnTo>
                  <a:lnTo>
                    <a:pt x="894" y="127"/>
                  </a:lnTo>
                  <a:lnTo>
                    <a:pt x="894" y="206"/>
                  </a:lnTo>
                  <a:lnTo>
                    <a:pt x="823" y="206"/>
                  </a:lnTo>
                  <a:lnTo>
                    <a:pt x="815" y="142"/>
                  </a:lnTo>
                  <a:lnTo>
                    <a:pt x="743" y="134"/>
                  </a:lnTo>
                  <a:lnTo>
                    <a:pt x="760" y="174"/>
                  </a:lnTo>
                  <a:lnTo>
                    <a:pt x="633" y="127"/>
                  </a:lnTo>
                  <a:lnTo>
                    <a:pt x="578" y="158"/>
                  </a:lnTo>
                  <a:lnTo>
                    <a:pt x="530" y="158"/>
                  </a:lnTo>
                  <a:lnTo>
                    <a:pt x="475" y="20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Freeform 124"/>
            <p:cNvSpPr>
              <a:spLocks noChangeAspect="1"/>
            </p:cNvSpPr>
            <p:nvPr/>
          </p:nvSpPr>
          <p:spPr bwMode="auto">
            <a:xfrm>
              <a:off x="512992" y="1894559"/>
              <a:ext cx="42198" cy="51474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87"/>
                </a:cxn>
                <a:cxn ang="0">
                  <a:pos x="72" y="32"/>
                </a:cxn>
                <a:cxn ang="0">
                  <a:pos x="24" y="0"/>
                </a:cxn>
              </a:cxnLst>
              <a:rect l="0" t="0" r="r" b="b"/>
              <a:pathLst>
                <a:path w="72" h="87">
                  <a:moveTo>
                    <a:pt x="24" y="0"/>
                  </a:moveTo>
                  <a:lnTo>
                    <a:pt x="0" y="87"/>
                  </a:lnTo>
                  <a:lnTo>
                    <a:pt x="72" y="3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5" name="Freeform 125"/>
            <p:cNvSpPr>
              <a:spLocks noChangeAspect="1"/>
            </p:cNvSpPr>
            <p:nvPr/>
          </p:nvSpPr>
          <p:spPr bwMode="auto">
            <a:xfrm>
              <a:off x="3690139" y="4202002"/>
              <a:ext cx="235605" cy="182820"/>
            </a:xfrm>
            <a:custGeom>
              <a:avLst/>
              <a:gdLst/>
              <a:ahLst/>
              <a:cxnLst>
                <a:cxn ang="0">
                  <a:pos x="294" y="141"/>
                </a:cxn>
                <a:cxn ang="0">
                  <a:pos x="263" y="133"/>
                </a:cxn>
                <a:cxn ang="0">
                  <a:pos x="239" y="164"/>
                </a:cxn>
                <a:cxn ang="0">
                  <a:pos x="211" y="212"/>
                </a:cxn>
                <a:cxn ang="0">
                  <a:pos x="200" y="260"/>
                </a:cxn>
                <a:cxn ang="0">
                  <a:pos x="191" y="298"/>
                </a:cxn>
                <a:cxn ang="0">
                  <a:pos x="136" y="307"/>
                </a:cxn>
                <a:cxn ang="0">
                  <a:pos x="104" y="280"/>
                </a:cxn>
                <a:cxn ang="0">
                  <a:pos x="89" y="303"/>
                </a:cxn>
                <a:cxn ang="0">
                  <a:pos x="25" y="298"/>
                </a:cxn>
                <a:cxn ang="0">
                  <a:pos x="0" y="281"/>
                </a:cxn>
                <a:cxn ang="0">
                  <a:pos x="20" y="253"/>
                </a:cxn>
                <a:cxn ang="0">
                  <a:pos x="31" y="209"/>
                </a:cxn>
                <a:cxn ang="0">
                  <a:pos x="88" y="213"/>
                </a:cxn>
                <a:cxn ang="0">
                  <a:pos x="111" y="165"/>
                </a:cxn>
                <a:cxn ang="0">
                  <a:pos x="155" y="134"/>
                </a:cxn>
                <a:cxn ang="0">
                  <a:pos x="193" y="115"/>
                </a:cxn>
                <a:cxn ang="0">
                  <a:pos x="206" y="60"/>
                </a:cxn>
                <a:cxn ang="0">
                  <a:pos x="241" y="40"/>
                </a:cxn>
                <a:cxn ang="0">
                  <a:pos x="250" y="0"/>
                </a:cxn>
                <a:cxn ang="0">
                  <a:pos x="305" y="27"/>
                </a:cxn>
                <a:cxn ang="0">
                  <a:pos x="337" y="40"/>
                </a:cxn>
                <a:cxn ang="0">
                  <a:pos x="392" y="51"/>
                </a:cxn>
                <a:cxn ang="0">
                  <a:pos x="403" y="99"/>
                </a:cxn>
                <a:cxn ang="0">
                  <a:pos x="360" y="134"/>
                </a:cxn>
                <a:cxn ang="0">
                  <a:pos x="320" y="162"/>
                </a:cxn>
                <a:cxn ang="0">
                  <a:pos x="294" y="141"/>
                </a:cxn>
              </a:cxnLst>
              <a:rect l="0" t="0" r="r" b="b"/>
              <a:pathLst>
                <a:path w="403" h="307">
                  <a:moveTo>
                    <a:pt x="294" y="141"/>
                  </a:moveTo>
                  <a:lnTo>
                    <a:pt x="263" y="133"/>
                  </a:lnTo>
                  <a:lnTo>
                    <a:pt x="239" y="164"/>
                  </a:lnTo>
                  <a:lnTo>
                    <a:pt x="211" y="212"/>
                  </a:lnTo>
                  <a:lnTo>
                    <a:pt x="200" y="260"/>
                  </a:lnTo>
                  <a:lnTo>
                    <a:pt x="191" y="298"/>
                  </a:lnTo>
                  <a:lnTo>
                    <a:pt x="136" y="307"/>
                  </a:lnTo>
                  <a:lnTo>
                    <a:pt x="104" y="280"/>
                  </a:lnTo>
                  <a:lnTo>
                    <a:pt x="89" y="303"/>
                  </a:lnTo>
                  <a:lnTo>
                    <a:pt x="25" y="298"/>
                  </a:lnTo>
                  <a:lnTo>
                    <a:pt x="0" y="281"/>
                  </a:lnTo>
                  <a:lnTo>
                    <a:pt x="20" y="253"/>
                  </a:lnTo>
                  <a:lnTo>
                    <a:pt x="31" y="209"/>
                  </a:lnTo>
                  <a:lnTo>
                    <a:pt x="88" y="213"/>
                  </a:lnTo>
                  <a:lnTo>
                    <a:pt x="111" y="165"/>
                  </a:lnTo>
                  <a:lnTo>
                    <a:pt x="155" y="134"/>
                  </a:lnTo>
                  <a:lnTo>
                    <a:pt x="193" y="115"/>
                  </a:lnTo>
                  <a:lnTo>
                    <a:pt x="206" y="60"/>
                  </a:lnTo>
                  <a:lnTo>
                    <a:pt x="241" y="40"/>
                  </a:lnTo>
                  <a:lnTo>
                    <a:pt x="250" y="0"/>
                  </a:lnTo>
                  <a:lnTo>
                    <a:pt x="305" y="27"/>
                  </a:lnTo>
                  <a:lnTo>
                    <a:pt x="337" y="40"/>
                  </a:lnTo>
                  <a:lnTo>
                    <a:pt x="392" y="51"/>
                  </a:lnTo>
                  <a:lnTo>
                    <a:pt x="403" y="99"/>
                  </a:lnTo>
                  <a:lnTo>
                    <a:pt x="360" y="134"/>
                  </a:lnTo>
                  <a:lnTo>
                    <a:pt x="320" y="162"/>
                  </a:lnTo>
                  <a:lnTo>
                    <a:pt x="294" y="14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6" name="Freeform 126"/>
            <p:cNvSpPr>
              <a:spLocks noChangeAspect="1"/>
            </p:cNvSpPr>
            <p:nvPr/>
          </p:nvSpPr>
          <p:spPr bwMode="auto">
            <a:xfrm>
              <a:off x="984201" y="4383047"/>
              <a:ext cx="42198" cy="21299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71" y="0"/>
                </a:cxn>
                <a:cxn ang="0">
                  <a:pos x="59" y="33"/>
                </a:cxn>
                <a:cxn ang="0">
                  <a:pos x="11" y="36"/>
                </a:cxn>
                <a:cxn ang="0">
                  <a:pos x="0" y="23"/>
                </a:cxn>
                <a:cxn ang="0">
                  <a:pos x="6" y="5"/>
                </a:cxn>
              </a:cxnLst>
              <a:rect l="0" t="0" r="r" b="b"/>
              <a:pathLst>
                <a:path w="71" h="36">
                  <a:moveTo>
                    <a:pt x="6" y="5"/>
                  </a:moveTo>
                  <a:lnTo>
                    <a:pt x="71" y="0"/>
                  </a:lnTo>
                  <a:lnTo>
                    <a:pt x="59" y="33"/>
                  </a:lnTo>
                  <a:lnTo>
                    <a:pt x="11" y="36"/>
                  </a:lnTo>
                  <a:lnTo>
                    <a:pt x="0" y="23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7" name="Freeform 127"/>
            <p:cNvSpPr>
              <a:spLocks noChangeAspect="1"/>
            </p:cNvSpPr>
            <p:nvPr/>
          </p:nvSpPr>
          <p:spPr bwMode="auto">
            <a:xfrm>
              <a:off x="2621126" y="2652465"/>
              <a:ext cx="1513848" cy="1127097"/>
            </a:xfrm>
            <a:custGeom>
              <a:avLst/>
              <a:gdLst/>
              <a:ahLst/>
              <a:cxnLst>
                <a:cxn ang="0">
                  <a:pos x="1969" y="918"/>
                </a:cxn>
                <a:cxn ang="0">
                  <a:pos x="2099" y="926"/>
                </a:cxn>
                <a:cxn ang="0">
                  <a:pos x="2123" y="1016"/>
                </a:cxn>
                <a:cxn ang="0">
                  <a:pos x="2131" y="1198"/>
                </a:cxn>
                <a:cxn ang="0">
                  <a:pos x="2201" y="1364"/>
                </a:cxn>
                <a:cxn ang="0">
                  <a:pos x="2186" y="1546"/>
                </a:cxn>
                <a:cxn ang="0">
                  <a:pos x="2103" y="1677"/>
                </a:cxn>
                <a:cxn ang="0">
                  <a:pos x="2028" y="1739"/>
                </a:cxn>
                <a:cxn ang="0">
                  <a:pos x="1882" y="1800"/>
                </a:cxn>
                <a:cxn ang="0">
                  <a:pos x="1708" y="1906"/>
                </a:cxn>
                <a:cxn ang="0">
                  <a:pos x="1641" y="1883"/>
                </a:cxn>
                <a:cxn ang="0">
                  <a:pos x="1455" y="1759"/>
                </a:cxn>
                <a:cxn ang="0">
                  <a:pos x="1356" y="1862"/>
                </a:cxn>
                <a:cxn ang="0">
                  <a:pos x="1237" y="1831"/>
                </a:cxn>
                <a:cxn ang="0">
                  <a:pos x="1150" y="1700"/>
                </a:cxn>
                <a:cxn ang="0">
                  <a:pos x="1205" y="1597"/>
                </a:cxn>
                <a:cxn ang="0">
                  <a:pos x="1123" y="1527"/>
                </a:cxn>
                <a:cxn ang="0">
                  <a:pos x="968" y="1452"/>
                </a:cxn>
                <a:cxn ang="0">
                  <a:pos x="814" y="1518"/>
                </a:cxn>
                <a:cxn ang="0">
                  <a:pos x="697" y="1522"/>
                </a:cxn>
                <a:cxn ang="0">
                  <a:pos x="515" y="1471"/>
                </a:cxn>
                <a:cxn ang="0">
                  <a:pos x="447" y="1429"/>
                </a:cxn>
                <a:cxn ang="0">
                  <a:pos x="317" y="1349"/>
                </a:cxn>
                <a:cxn ang="0">
                  <a:pos x="215" y="1226"/>
                </a:cxn>
                <a:cxn ang="0">
                  <a:pos x="55" y="1230"/>
                </a:cxn>
                <a:cxn ang="0">
                  <a:pos x="44" y="1091"/>
                </a:cxn>
                <a:cxn ang="0">
                  <a:pos x="55" y="977"/>
                </a:cxn>
                <a:cxn ang="0">
                  <a:pos x="9" y="879"/>
                </a:cxn>
                <a:cxn ang="0">
                  <a:pos x="131" y="872"/>
                </a:cxn>
                <a:cxn ang="0">
                  <a:pos x="222" y="800"/>
                </a:cxn>
                <a:cxn ang="0">
                  <a:pos x="226" y="643"/>
                </a:cxn>
                <a:cxn ang="0">
                  <a:pos x="348" y="575"/>
                </a:cxn>
                <a:cxn ang="0">
                  <a:pos x="455" y="504"/>
                </a:cxn>
                <a:cxn ang="0">
                  <a:pos x="534" y="369"/>
                </a:cxn>
                <a:cxn ang="0">
                  <a:pos x="598" y="348"/>
                </a:cxn>
                <a:cxn ang="0">
                  <a:pos x="712" y="510"/>
                </a:cxn>
                <a:cxn ang="0">
                  <a:pos x="913" y="570"/>
                </a:cxn>
                <a:cxn ang="0">
                  <a:pos x="1229" y="677"/>
                </a:cxn>
                <a:cxn ang="0">
                  <a:pos x="1419" y="708"/>
                </a:cxn>
                <a:cxn ang="0">
                  <a:pos x="1617" y="633"/>
                </a:cxn>
                <a:cxn ang="0">
                  <a:pos x="1684" y="546"/>
                </a:cxn>
                <a:cxn ang="0">
                  <a:pos x="1834" y="431"/>
                </a:cxn>
                <a:cxn ang="0">
                  <a:pos x="1804" y="357"/>
                </a:cxn>
                <a:cxn ang="0">
                  <a:pos x="1752" y="248"/>
                </a:cxn>
                <a:cxn ang="0">
                  <a:pos x="1858" y="246"/>
                </a:cxn>
                <a:cxn ang="0">
                  <a:pos x="1873" y="48"/>
                </a:cxn>
                <a:cxn ang="0">
                  <a:pos x="2138" y="55"/>
                </a:cxn>
                <a:cxn ang="0">
                  <a:pos x="2225" y="190"/>
                </a:cxn>
                <a:cxn ang="0">
                  <a:pos x="2376" y="282"/>
                </a:cxn>
                <a:cxn ang="0">
                  <a:pos x="2478" y="341"/>
                </a:cxn>
                <a:cxn ang="0">
                  <a:pos x="2581" y="388"/>
                </a:cxn>
                <a:cxn ang="0">
                  <a:pos x="2502" y="519"/>
                </a:cxn>
                <a:cxn ang="0">
                  <a:pos x="2526" y="626"/>
                </a:cxn>
                <a:cxn ang="0">
                  <a:pos x="2435" y="677"/>
                </a:cxn>
                <a:cxn ang="0">
                  <a:pos x="2304" y="712"/>
                </a:cxn>
                <a:cxn ang="0">
                  <a:pos x="2182" y="850"/>
                </a:cxn>
                <a:cxn ang="0">
                  <a:pos x="2099" y="767"/>
                </a:cxn>
                <a:cxn ang="0">
                  <a:pos x="2032" y="823"/>
                </a:cxn>
              </a:cxnLst>
              <a:rect l="0" t="0" r="r" b="b"/>
              <a:pathLst>
                <a:path w="2581" h="1906">
                  <a:moveTo>
                    <a:pt x="2032" y="823"/>
                  </a:moveTo>
                  <a:lnTo>
                    <a:pt x="1965" y="870"/>
                  </a:lnTo>
                  <a:lnTo>
                    <a:pt x="1969" y="918"/>
                  </a:lnTo>
                  <a:lnTo>
                    <a:pt x="2016" y="957"/>
                  </a:lnTo>
                  <a:lnTo>
                    <a:pt x="2063" y="961"/>
                  </a:lnTo>
                  <a:lnTo>
                    <a:pt x="2099" y="926"/>
                  </a:lnTo>
                  <a:lnTo>
                    <a:pt x="2166" y="933"/>
                  </a:lnTo>
                  <a:lnTo>
                    <a:pt x="2182" y="997"/>
                  </a:lnTo>
                  <a:lnTo>
                    <a:pt x="2123" y="1016"/>
                  </a:lnTo>
                  <a:lnTo>
                    <a:pt x="2072" y="1060"/>
                  </a:lnTo>
                  <a:lnTo>
                    <a:pt x="2091" y="1119"/>
                  </a:lnTo>
                  <a:lnTo>
                    <a:pt x="2131" y="1198"/>
                  </a:lnTo>
                  <a:lnTo>
                    <a:pt x="2190" y="1257"/>
                  </a:lnTo>
                  <a:lnTo>
                    <a:pt x="2190" y="1309"/>
                  </a:lnTo>
                  <a:lnTo>
                    <a:pt x="2201" y="1364"/>
                  </a:lnTo>
                  <a:lnTo>
                    <a:pt x="2225" y="1494"/>
                  </a:lnTo>
                  <a:lnTo>
                    <a:pt x="2193" y="1502"/>
                  </a:lnTo>
                  <a:lnTo>
                    <a:pt x="2186" y="1546"/>
                  </a:lnTo>
                  <a:lnTo>
                    <a:pt x="2142" y="1586"/>
                  </a:lnTo>
                  <a:lnTo>
                    <a:pt x="2146" y="1645"/>
                  </a:lnTo>
                  <a:lnTo>
                    <a:pt x="2103" y="1677"/>
                  </a:lnTo>
                  <a:lnTo>
                    <a:pt x="2072" y="1680"/>
                  </a:lnTo>
                  <a:lnTo>
                    <a:pt x="2063" y="1728"/>
                  </a:lnTo>
                  <a:lnTo>
                    <a:pt x="2028" y="1739"/>
                  </a:lnTo>
                  <a:lnTo>
                    <a:pt x="2020" y="1783"/>
                  </a:lnTo>
                  <a:lnTo>
                    <a:pt x="1941" y="1807"/>
                  </a:lnTo>
                  <a:lnTo>
                    <a:pt x="1882" y="1800"/>
                  </a:lnTo>
                  <a:lnTo>
                    <a:pt x="1811" y="1822"/>
                  </a:lnTo>
                  <a:lnTo>
                    <a:pt x="1739" y="1877"/>
                  </a:lnTo>
                  <a:lnTo>
                    <a:pt x="1708" y="1906"/>
                  </a:lnTo>
                  <a:lnTo>
                    <a:pt x="1688" y="1842"/>
                  </a:lnTo>
                  <a:lnTo>
                    <a:pt x="1660" y="1827"/>
                  </a:lnTo>
                  <a:lnTo>
                    <a:pt x="1641" y="1883"/>
                  </a:lnTo>
                  <a:lnTo>
                    <a:pt x="1573" y="1783"/>
                  </a:lnTo>
                  <a:lnTo>
                    <a:pt x="1502" y="1759"/>
                  </a:lnTo>
                  <a:lnTo>
                    <a:pt x="1455" y="1759"/>
                  </a:lnTo>
                  <a:lnTo>
                    <a:pt x="1384" y="1800"/>
                  </a:lnTo>
                  <a:lnTo>
                    <a:pt x="1349" y="1815"/>
                  </a:lnTo>
                  <a:lnTo>
                    <a:pt x="1356" y="1862"/>
                  </a:lnTo>
                  <a:lnTo>
                    <a:pt x="1293" y="1870"/>
                  </a:lnTo>
                  <a:lnTo>
                    <a:pt x="1281" y="1839"/>
                  </a:lnTo>
                  <a:lnTo>
                    <a:pt x="1237" y="1831"/>
                  </a:lnTo>
                  <a:lnTo>
                    <a:pt x="1225" y="1756"/>
                  </a:lnTo>
                  <a:lnTo>
                    <a:pt x="1202" y="1708"/>
                  </a:lnTo>
                  <a:lnTo>
                    <a:pt x="1150" y="1700"/>
                  </a:lnTo>
                  <a:lnTo>
                    <a:pt x="1154" y="1660"/>
                  </a:lnTo>
                  <a:lnTo>
                    <a:pt x="1187" y="1636"/>
                  </a:lnTo>
                  <a:lnTo>
                    <a:pt x="1205" y="1597"/>
                  </a:lnTo>
                  <a:lnTo>
                    <a:pt x="1187" y="1546"/>
                  </a:lnTo>
                  <a:lnTo>
                    <a:pt x="1174" y="1518"/>
                  </a:lnTo>
                  <a:lnTo>
                    <a:pt x="1123" y="1527"/>
                  </a:lnTo>
                  <a:lnTo>
                    <a:pt x="1092" y="1479"/>
                  </a:lnTo>
                  <a:lnTo>
                    <a:pt x="1040" y="1452"/>
                  </a:lnTo>
                  <a:lnTo>
                    <a:pt x="968" y="1452"/>
                  </a:lnTo>
                  <a:lnTo>
                    <a:pt x="913" y="1482"/>
                  </a:lnTo>
                  <a:lnTo>
                    <a:pt x="889" y="1517"/>
                  </a:lnTo>
                  <a:lnTo>
                    <a:pt x="814" y="1518"/>
                  </a:lnTo>
                  <a:lnTo>
                    <a:pt x="763" y="1494"/>
                  </a:lnTo>
                  <a:lnTo>
                    <a:pt x="740" y="1538"/>
                  </a:lnTo>
                  <a:lnTo>
                    <a:pt x="697" y="1522"/>
                  </a:lnTo>
                  <a:lnTo>
                    <a:pt x="595" y="1515"/>
                  </a:lnTo>
                  <a:lnTo>
                    <a:pt x="550" y="1491"/>
                  </a:lnTo>
                  <a:lnTo>
                    <a:pt x="515" y="1471"/>
                  </a:lnTo>
                  <a:lnTo>
                    <a:pt x="510" y="1419"/>
                  </a:lnTo>
                  <a:lnTo>
                    <a:pt x="495" y="1452"/>
                  </a:lnTo>
                  <a:lnTo>
                    <a:pt x="447" y="1429"/>
                  </a:lnTo>
                  <a:lnTo>
                    <a:pt x="408" y="1390"/>
                  </a:lnTo>
                  <a:lnTo>
                    <a:pt x="357" y="1388"/>
                  </a:lnTo>
                  <a:lnTo>
                    <a:pt x="317" y="1349"/>
                  </a:lnTo>
                  <a:lnTo>
                    <a:pt x="249" y="1336"/>
                  </a:lnTo>
                  <a:lnTo>
                    <a:pt x="249" y="1253"/>
                  </a:lnTo>
                  <a:lnTo>
                    <a:pt x="215" y="1226"/>
                  </a:lnTo>
                  <a:lnTo>
                    <a:pt x="162" y="1222"/>
                  </a:lnTo>
                  <a:lnTo>
                    <a:pt x="99" y="1261"/>
                  </a:lnTo>
                  <a:lnTo>
                    <a:pt x="55" y="1230"/>
                  </a:lnTo>
                  <a:lnTo>
                    <a:pt x="60" y="1167"/>
                  </a:lnTo>
                  <a:lnTo>
                    <a:pt x="37" y="1135"/>
                  </a:lnTo>
                  <a:lnTo>
                    <a:pt x="44" y="1091"/>
                  </a:lnTo>
                  <a:lnTo>
                    <a:pt x="44" y="1091"/>
                  </a:lnTo>
                  <a:lnTo>
                    <a:pt x="55" y="1017"/>
                  </a:lnTo>
                  <a:lnTo>
                    <a:pt x="55" y="977"/>
                  </a:lnTo>
                  <a:lnTo>
                    <a:pt x="48" y="982"/>
                  </a:lnTo>
                  <a:lnTo>
                    <a:pt x="0" y="951"/>
                  </a:lnTo>
                  <a:lnTo>
                    <a:pt x="9" y="879"/>
                  </a:lnTo>
                  <a:lnTo>
                    <a:pt x="44" y="852"/>
                  </a:lnTo>
                  <a:lnTo>
                    <a:pt x="111" y="896"/>
                  </a:lnTo>
                  <a:lnTo>
                    <a:pt x="131" y="872"/>
                  </a:lnTo>
                  <a:lnTo>
                    <a:pt x="127" y="844"/>
                  </a:lnTo>
                  <a:lnTo>
                    <a:pt x="206" y="829"/>
                  </a:lnTo>
                  <a:lnTo>
                    <a:pt x="222" y="800"/>
                  </a:lnTo>
                  <a:lnTo>
                    <a:pt x="258" y="785"/>
                  </a:lnTo>
                  <a:lnTo>
                    <a:pt x="261" y="658"/>
                  </a:lnTo>
                  <a:lnTo>
                    <a:pt x="226" y="643"/>
                  </a:lnTo>
                  <a:lnTo>
                    <a:pt x="241" y="610"/>
                  </a:lnTo>
                  <a:lnTo>
                    <a:pt x="333" y="599"/>
                  </a:lnTo>
                  <a:lnTo>
                    <a:pt x="348" y="575"/>
                  </a:lnTo>
                  <a:lnTo>
                    <a:pt x="352" y="513"/>
                  </a:lnTo>
                  <a:lnTo>
                    <a:pt x="399" y="489"/>
                  </a:lnTo>
                  <a:lnTo>
                    <a:pt x="455" y="504"/>
                  </a:lnTo>
                  <a:lnTo>
                    <a:pt x="475" y="402"/>
                  </a:lnTo>
                  <a:lnTo>
                    <a:pt x="499" y="378"/>
                  </a:lnTo>
                  <a:lnTo>
                    <a:pt x="534" y="369"/>
                  </a:lnTo>
                  <a:lnTo>
                    <a:pt x="546" y="334"/>
                  </a:lnTo>
                  <a:lnTo>
                    <a:pt x="574" y="314"/>
                  </a:lnTo>
                  <a:lnTo>
                    <a:pt x="598" y="348"/>
                  </a:lnTo>
                  <a:lnTo>
                    <a:pt x="664" y="384"/>
                  </a:lnTo>
                  <a:lnTo>
                    <a:pt x="681" y="436"/>
                  </a:lnTo>
                  <a:lnTo>
                    <a:pt x="712" y="510"/>
                  </a:lnTo>
                  <a:lnTo>
                    <a:pt x="815" y="530"/>
                  </a:lnTo>
                  <a:lnTo>
                    <a:pt x="861" y="543"/>
                  </a:lnTo>
                  <a:lnTo>
                    <a:pt x="913" y="570"/>
                  </a:lnTo>
                  <a:lnTo>
                    <a:pt x="946" y="626"/>
                  </a:lnTo>
                  <a:lnTo>
                    <a:pt x="977" y="657"/>
                  </a:lnTo>
                  <a:lnTo>
                    <a:pt x="1229" y="677"/>
                  </a:lnTo>
                  <a:lnTo>
                    <a:pt x="1285" y="692"/>
                  </a:lnTo>
                  <a:lnTo>
                    <a:pt x="1352" y="729"/>
                  </a:lnTo>
                  <a:lnTo>
                    <a:pt x="1419" y="708"/>
                  </a:lnTo>
                  <a:lnTo>
                    <a:pt x="1455" y="681"/>
                  </a:lnTo>
                  <a:lnTo>
                    <a:pt x="1546" y="692"/>
                  </a:lnTo>
                  <a:lnTo>
                    <a:pt x="1617" y="633"/>
                  </a:lnTo>
                  <a:lnTo>
                    <a:pt x="1625" y="578"/>
                  </a:lnTo>
                  <a:lnTo>
                    <a:pt x="1621" y="526"/>
                  </a:lnTo>
                  <a:lnTo>
                    <a:pt x="1684" y="546"/>
                  </a:lnTo>
                  <a:lnTo>
                    <a:pt x="1728" y="503"/>
                  </a:lnTo>
                  <a:lnTo>
                    <a:pt x="1767" y="471"/>
                  </a:lnTo>
                  <a:lnTo>
                    <a:pt x="1834" y="431"/>
                  </a:lnTo>
                  <a:lnTo>
                    <a:pt x="1914" y="396"/>
                  </a:lnTo>
                  <a:lnTo>
                    <a:pt x="1877" y="348"/>
                  </a:lnTo>
                  <a:lnTo>
                    <a:pt x="1804" y="357"/>
                  </a:lnTo>
                  <a:lnTo>
                    <a:pt x="1767" y="367"/>
                  </a:lnTo>
                  <a:lnTo>
                    <a:pt x="1757" y="348"/>
                  </a:lnTo>
                  <a:lnTo>
                    <a:pt x="1752" y="248"/>
                  </a:lnTo>
                  <a:lnTo>
                    <a:pt x="1763" y="210"/>
                  </a:lnTo>
                  <a:lnTo>
                    <a:pt x="1798" y="246"/>
                  </a:lnTo>
                  <a:lnTo>
                    <a:pt x="1858" y="246"/>
                  </a:lnTo>
                  <a:lnTo>
                    <a:pt x="1870" y="158"/>
                  </a:lnTo>
                  <a:lnTo>
                    <a:pt x="1905" y="127"/>
                  </a:lnTo>
                  <a:lnTo>
                    <a:pt x="1873" y="48"/>
                  </a:lnTo>
                  <a:lnTo>
                    <a:pt x="1897" y="0"/>
                  </a:lnTo>
                  <a:lnTo>
                    <a:pt x="2091" y="5"/>
                  </a:lnTo>
                  <a:lnTo>
                    <a:pt x="2138" y="55"/>
                  </a:lnTo>
                  <a:lnTo>
                    <a:pt x="2182" y="96"/>
                  </a:lnTo>
                  <a:lnTo>
                    <a:pt x="2214" y="135"/>
                  </a:lnTo>
                  <a:lnTo>
                    <a:pt x="2225" y="190"/>
                  </a:lnTo>
                  <a:lnTo>
                    <a:pt x="2261" y="234"/>
                  </a:lnTo>
                  <a:lnTo>
                    <a:pt x="2340" y="250"/>
                  </a:lnTo>
                  <a:lnTo>
                    <a:pt x="2376" y="282"/>
                  </a:lnTo>
                  <a:lnTo>
                    <a:pt x="2414" y="309"/>
                  </a:lnTo>
                  <a:lnTo>
                    <a:pt x="2431" y="337"/>
                  </a:lnTo>
                  <a:lnTo>
                    <a:pt x="2478" y="341"/>
                  </a:lnTo>
                  <a:lnTo>
                    <a:pt x="2558" y="325"/>
                  </a:lnTo>
                  <a:lnTo>
                    <a:pt x="2573" y="348"/>
                  </a:lnTo>
                  <a:lnTo>
                    <a:pt x="2581" y="388"/>
                  </a:lnTo>
                  <a:lnTo>
                    <a:pt x="2549" y="412"/>
                  </a:lnTo>
                  <a:lnTo>
                    <a:pt x="2545" y="526"/>
                  </a:lnTo>
                  <a:lnTo>
                    <a:pt x="2502" y="519"/>
                  </a:lnTo>
                  <a:lnTo>
                    <a:pt x="2478" y="565"/>
                  </a:lnTo>
                  <a:lnTo>
                    <a:pt x="2482" y="617"/>
                  </a:lnTo>
                  <a:lnTo>
                    <a:pt x="2526" y="626"/>
                  </a:lnTo>
                  <a:lnTo>
                    <a:pt x="2524" y="626"/>
                  </a:lnTo>
                  <a:lnTo>
                    <a:pt x="2478" y="661"/>
                  </a:lnTo>
                  <a:lnTo>
                    <a:pt x="2435" y="677"/>
                  </a:lnTo>
                  <a:lnTo>
                    <a:pt x="2387" y="729"/>
                  </a:lnTo>
                  <a:lnTo>
                    <a:pt x="2344" y="729"/>
                  </a:lnTo>
                  <a:lnTo>
                    <a:pt x="2304" y="712"/>
                  </a:lnTo>
                  <a:lnTo>
                    <a:pt x="2280" y="788"/>
                  </a:lnTo>
                  <a:lnTo>
                    <a:pt x="2237" y="815"/>
                  </a:lnTo>
                  <a:lnTo>
                    <a:pt x="2182" y="850"/>
                  </a:lnTo>
                  <a:lnTo>
                    <a:pt x="2114" y="874"/>
                  </a:lnTo>
                  <a:lnTo>
                    <a:pt x="2111" y="819"/>
                  </a:lnTo>
                  <a:lnTo>
                    <a:pt x="2099" y="767"/>
                  </a:lnTo>
                  <a:lnTo>
                    <a:pt x="2079" y="764"/>
                  </a:lnTo>
                  <a:lnTo>
                    <a:pt x="2052" y="788"/>
                  </a:lnTo>
                  <a:lnTo>
                    <a:pt x="2032" y="82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8" name="Freeform 128"/>
            <p:cNvSpPr>
              <a:spLocks noChangeAspect="1"/>
            </p:cNvSpPr>
            <p:nvPr/>
          </p:nvSpPr>
          <p:spPr bwMode="auto">
            <a:xfrm>
              <a:off x="2621126" y="2652465"/>
              <a:ext cx="1513848" cy="1127097"/>
            </a:xfrm>
            <a:custGeom>
              <a:avLst/>
              <a:gdLst/>
              <a:ahLst/>
              <a:cxnLst>
                <a:cxn ang="0">
                  <a:pos x="1969" y="918"/>
                </a:cxn>
                <a:cxn ang="0">
                  <a:pos x="2099" y="926"/>
                </a:cxn>
                <a:cxn ang="0">
                  <a:pos x="2123" y="1016"/>
                </a:cxn>
                <a:cxn ang="0">
                  <a:pos x="2131" y="1198"/>
                </a:cxn>
                <a:cxn ang="0">
                  <a:pos x="2201" y="1364"/>
                </a:cxn>
                <a:cxn ang="0">
                  <a:pos x="2186" y="1546"/>
                </a:cxn>
                <a:cxn ang="0">
                  <a:pos x="2103" y="1677"/>
                </a:cxn>
                <a:cxn ang="0">
                  <a:pos x="2028" y="1739"/>
                </a:cxn>
                <a:cxn ang="0">
                  <a:pos x="1882" y="1800"/>
                </a:cxn>
                <a:cxn ang="0">
                  <a:pos x="1708" y="1906"/>
                </a:cxn>
                <a:cxn ang="0">
                  <a:pos x="1641" y="1883"/>
                </a:cxn>
                <a:cxn ang="0">
                  <a:pos x="1455" y="1759"/>
                </a:cxn>
                <a:cxn ang="0">
                  <a:pos x="1356" y="1862"/>
                </a:cxn>
                <a:cxn ang="0">
                  <a:pos x="1237" y="1831"/>
                </a:cxn>
                <a:cxn ang="0">
                  <a:pos x="1150" y="1700"/>
                </a:cxn>
                <a:cxn ang="0">
                  <a:pos x="1205" y="1597"/>
                </a:cxn>
                <a:cxn ang="0">
                  <a:pos x="1123" y="1527"/>
                </a:cxn>
                <a:cxn ang="0">
                  <a:pos x="968" y="1452"/>
                </a:cxn>
                <a:cxn ang="0">
                  <a:pos x="814" y="1518"/>
                </a:cxn>
                <a:cxn ang="0">
                  <a:pos x="697" y="1522"/>
                </a:cxn>
                <a:cxn ang="0">
                  <a:pos x="515" y="1471"/>
                </a:cxn>
                <a:cxn ang="0">
                  <a:pos x="447" y="1429"/>
                </a:cxn>
                <a:cxn ang="0">
                  <a:pos x="317" y="1349"/>
                </a:cxn>
                <a:cxn ang="0">
                  <a:pos x="215" y="1226"/>
                </a:cxn>
                <a:cxn ang="0">
                  <a:pos x="55" y="1230"/>
                </a:cxn>
                <a:cxn ang="0">
                  <a:pos x="44" y="1091"/>
                </a:cxn>
                <a:cxn ang="0">
                  <a:pos x="55" y="977"/>
                </a:cxn>
                <a:cxn ang="0">
                  <a:pos x="9" y="879"/>
                </a:cxn>
                <a:cxn ang="0">
                  <a:pos x="131" y="872"/>
                </a:cxn>
                <a:cxn ang="0">
                  <a:pos x="222" y="800"/>
                </a:cxn>
                <a:cxn ang="0">
                  <a:pos x="226" y="643"/>
                </a:cxn>
                <a:cxn ang="0">
                  <a:pos x="348" y="575"/>
                </a:cxn>
                <a:cxn ang="0">
                  <a:pos x="455" y="504"/>
                </a:cxn>
                <a:cxn ang="0">
                  <a:pos x="534" y="369"/>
                </a:cxn>
                <a:cxn ang="0">
                  <a:pos x="598" y="348"/>
                </a:cxn>
                <a:cxn ang="0">
                  <a:pos x="712" y="510"/>
                </a:cxn>
                <a:cxn ang="0">
                  <a:pos x="913" y="570"/>
                </a:cxn>
                <a:cxn ang="0">
                  <a:pos x="1229" y="677"/>
                </a:cxn>
                <a:cxn ang="0">
                  <a:pos x="1419" y="708"/>
                </a:cxn>
                <a:cxn ang="0">
                  <a:pos x="1617" y="633"/>
                </a:cxn>
                <a:cxn ang="0">
                  <a:pos x="1684" y="546"/>
                </a:cxn>
                <a:cxn ang="0">
                  <a:pos x="1834" y="431"/>
                </a:cxn>
                <a:cxn ang="0">
                  <a:pos x="1804" y="357"/>
                </a:cxn>
                <a:cxn ang="0">
                  <a:pos x="1752" y="248"/>
                </a:cxn>
                <a:cxn ang="0">
                  <a:pos x="1858" y="246"/>
                </a:cxn>
                <a:cxn ang="0">
                  <a:pos x="1873" y="48"/>
                </a:cxn>
                <a:cxn ang="0">
                  <a:pos x="2138" y="55"/>
                </a:cxn>
                <a:cxn ang="0">
                  <a:pos x="2225" y="190"/>
                </a:cxn>
                <a:cxn ang="0">
                  <a:pos x="2376" y="282"/>
                </a:cxn>
                <a:cxn ang="0">
                  <a:pos x="2478" y="341"/>
                </a:cxn>
                <a:cxn ang="0">
                  <a:pos x="2581" y="388"/>
                </a:cxn>
                <a:cxn ang="0">
                  <a:pos x="2502" y="519"/>
                </a:cxn>
                <a:cxn ang="0">
                  <a:pos x="2526" y="626"/>
                </a:cxn>
                <a:cxn ang="0">
                  <a:pos x="2435" y="677"/>
                </a:cxn>
                <a:cxn ang="0">
                  <a:pos x="2304" y="712"/>
                </a:cxn>
                <a:cxn ang="0">
                  <a:pos x="2182" y="850"/>
                </a:cxn>
                <a:cxn ang="0">
                  <a:pos x="2099" y="767"/>
                </a:cxn>
                <a:cxn ang="0">
                  <a:pos x="2032" y="823"/>
                </a:cxn>
              </a:cxnLst>
              <a:rect l="0" t="0" r="r" b="b"/>
              <a:pathLst>
                <a:path w="2581" h="1906">
                  <a:moveTo>
                    <a:pt x="2032" y="823"/>
                  </a:moveTo>
                  <a:lnTo>
                    <a:pt x="1965" y="870"/>
                  </a:lnTo>
                  <a:lnTo>
                    <a:pt x="1969" y="918"/>
                  </a:lnTo>
                  <a:lnTo>
                    <a:pt x="2016" y="957"/>
                  </a:lnTo>
                  <a:lnTo>
                    <a:pt x="2063" y="961"/>
                  </a:lnTo>
                  <a:lnTo>
                    <a:pt x="2099" y="926"/>
                  </a:lnTo>
                  <a:lnTo>
                    <a:pt x="2166" y="933"/>
                  </a:lnTo>
                  <a:lnTo>
                    <a:pt x="2182" y="997"/>
                  </a:lnTo>
                  <a:lnTo>
                    <a:pt x="2123" y="1016"/>
                  </a:lnTo>
                  <a:lnTo>
                    <a:pt x="2072" y="1060"/>
                  </a:lnTo>
                  <a:lnTo>
                    <a:pt x="2091" y="1119"/>
                  </a:lnTo>
                  <a:lnTo>
                    <a:pt x="2131" y="1198"/>
                  </a:lnTo>
                  <a:lnTo>
                    <a:pt x="2190" y="1257"/>
                  </a:lnTo>
                  <a:lnTo>
                    <a:pt x="2190" y="1309"/>
                  </a:lnTo>
                  <a:lnTo>
                    <a:pt x="2201" y="1364"/>
                  </a:lnTo>
                  <a:lnTo>
                    <a:pt x="2225" y="1494"/>
                  </a:lnTo>
                  <a:lnTo>
                    <a:pt x="2193" y="1502"/>
                  </a:lnTo>
                  <a:lnTo>
                    <a:pt x="2186" y="1546"/>
                  </a:lnTo>
                  <a:lnTo>
                    <a:pt x="2142" y="1586"/>
                  </a:lnTo>
                  <a:lnTo>
                    <a:pt x="2146" y="1645"/>
                  </a:lnTo>
                  <a:lnTo>
                    <a:pt x="2103" y="1677"/>
                  </a:lnTo>
                  <a:lnTo>
                    <a:pt x="2072" y="1680"/>
                  </a:lnTo>
                  <a:lnTo>
                    <a:pt x="2063" y="1728"/>
                  </a:lnTo>
                  <a:lnTo>
                    <a:pt x="2028" y="1739"/>
                  </a:lnTo>
                  <a:lnTo>
                    <a:pt x="2020" y="1783"/>
                  </a:lnTo>
                  <a:lnTo>
                    <a:pt x="1941" y="1807"/>
                  </a:lnTo>
                  <a:lnTo>
                    <a:pt x="1882" y="1800"/>
                  </a:lnTo>
                  <a:lnTo>
                    <a:pt x="1811" y="1822"/>
                  </a:lnTo>
                  <a:lnTo>
                    <a:pt x="1739" y="1877"/>
                  </a:lnTo>
                  <a:lnTo>
                    <a:pt x="1708" y="1906"/>
                  </a:lnTo>
                  <a:lnTo>
                    <a:pt x="1688" y="1842"/>
                  </a:lnTo>
                  <a:lnTo>
                    <a:pt x="1660" y="1827"/>
                  </a:lnTo>
                  <a:lnTo>
                    <a:pt x="1641" y="1883"/>
                  </a:lnTo>
                  <a:lnTo>
                    <a:pt x="1573" y="1783"/>
                  </a:lnTo>
                  <a:lnTo>
                    <a:pt x="1502" y="1759"/>
                  </a:lnTo>
                  <a:lnTo>
                    <a:pt x="1455" y="1759"/>
                  </a:lnTo>
                  <a:lnTo>
                    <a:pt x="1384" y="1800"/>
                  </a:lnTo>
                  <a:lnTo>
                    <a:pt x="1349" y="1815"/>
                  </a:lnTo>
                  <a:lnTo>
                    <a:pt x="1356" y="1862"/>
                  </a:lnTo>
                  <a:lnTo>
                    <a:pt x="1293" y="1870"/>
                  </a:lnTo>
                  <a:lnTo>
                    <a:pt x="1281" y="1839"/>
                  </a:lnTo>
                  <a:lnTo>
                    <a:pt x="1237" y="1831"/>
                  </a:lnTo>
                  <a:lnTo>
                    <a:pt x="1225" y="1756"/>
                  </a:lnTo>
                  <a:lnTo>
                    <a:pt x="1202" y="1708"/>
                  </a:lnTo>
                  <a:lnTo>
                    <a:pt x="1150" y="1700"/>
                  </a:lnTo>
                  <a:lnTo>
                    <a:pt x="1154" y="1660"/>
                  </a:lnTo>
                  <a:lnTo>
                    <a:pt x="1187" y="1636"/>
                  </a:lnTo>
                  <a:lnTo>
                    <a:pt x="1205" y="1597"/>
                  </a:lnTo>
                  <a:lnTo>
                    <a:pt x="1187" y="1546"/>
                  </a:lnTo>
                  <a:lnTo>
                    <a:pt x="1174" y="1518"/>
                  </a:lnTo>
                  <a:lnTo>
                    <a:pt x="1123" y="1527"/>
                  </a:lnTo>
                  <a:lnTo>
                    <a:pt x="1092" y="1479"/>
                  </a:lnTo>
                  <a:lnTo>
                    <a:pt x="1040" y="1452"/>
                  </a:lnTo>
                  <a:lnTo>
                    <a:pt x="968" y="1452"/>
                  </a:lnTo>
                  <a:lnTo>
                    <a:pt x="913" y="1482"/>
                  </a:lnTo>
                  <a:lnTo>
                    <a:pt x="889" y="1517"/>
                  </a:lnTo>
                  <a:lnTo>
                    <a:pt x="814" y="1518"/>
                  </a:lnTo>
                  <a:lnTo>
                    <a:pt x="763" y="1494"/>
                  </a:lnTo>
                  <a:lnTo>
                    <a:pt x="740" y="1538"/>
                  </a:lnTo>
                  <a:lnTo>
                    <a:pt x="697" y="1522"/>
                  </a:lnTo>
                  <a:lnTo>
                    <a:pt x="595" y="1515"/>
                  </a:lnTo>
                  <a:lnTo>
                    <a:pt x="550" y="1491"/>
                  </a:lnTo>
                  <a:lnTo>
                    <a:pt x="515" y="1471"/>
                  </a:lnTo>
                  <a:lnTo>
                    <a:pt x="510" y="1419"/>
                  </a:lnTo>
                  <a:lnTo>
                    <a:pt x="495" y="1452"/>
                  </a:lnTo>
                  <a:lnTo>
                    <a:pt x="447" y="1429"/>
                  </a:lnTo>
                  <a:lnTo>
                    <a:pt x="408" y="1390"/>
                  </a:lnTo>
                  <a:lnTo>
                    <a:pt x="357" y="1388"/>
                  </a:lnTo>
                  <a:lnTo>
                    <a:pt x="317" y="1349"/>
                  </a:lnTo>
                  <a:lnTo>
                    <a:pt x="249" y="1336"/>
                  </a:lnTo>
                  <a:lnTo>
                    <a:pt x="249" y="1253"/>
                  </a:lnTo>
                  <a:lnTo>
                    <a:pt x="215" y="1226"/>
                  </a:lnTo>
                  <a:lnTo>
                    <a:pt x="162" y="1222"/>
                  </a:lnTo>
                  <a:lnTo>
                    <a:pt x="99" y="1261"/>
                  </a:lnTo>
                  <a:lnTo>
                    <a:pt x="55" y="1230"/>
                  </a:lnTo>
                  <a:lnTo>
                    <a:pt x="60" y="1167"/>
                  </a:lnTo>
                  <a:lnTo>
                    <a:pt x="37" y="1135"/>
                  </a:lnTo>
                  <a:lnTo>
                    <a:pt x="44" y="1091"/>
                  </a:lnTo>
                  <a:lnTo>
                    <a:pt x="44" y="1091"/>
                  </a:lnTo>
                  <a:lnTo>
                    <a:pt x="55" y="1017"/>
                  </a:lnTo>
                  <a:lnTo>
                    <a:pt x="55" y="977"/>
                  </a:lnTo>
                  <a:lnTo>
                    <a:pt x="48" y="982"/>
                  </a:lnTo>
                  <a:lnTo>
                    <a:pt x="0" y="951"/>
                  </a:lnTo>
                  <a:lnTo>
                    <a:pt x="9" y="879"/>
                  </a:lnTo>
                  <a:lnTo>
                    <a:pt x="44" y="852"/>
                  </a:lnTo>
                  <a:lnTo>
                    <a:pt x="111" y="896"/>
                  </a:lnTo>
                  <a:lnTo>
                    <a:pt x="131" y="872"/>
                  </a:lnTo>
                  <a:lnTo>
                    <a:pt x="127" y="844"/>
                  </a:lnTo>
                  <a:lnTo>
                    <a:pt x="206" y="829"/>
                  </a:lnTo>
                  <a:lnTo>
                    <a:pt x="222" y="800"/>
                  </a:lnTo>
                  <a:lnTo>
                    <a:pt x="258" y="785"/>
                  </a:lnTo>
                  <a:lnTo>
                    <a:pt x="261" y="658"/>
                  </a:lnTo>
                  <a:lnTo>
                    <a:pt x="226" y="643"/>
                  </a:lnTo>
                  <a:lnTo>
                    <a:pt x="241" y="610"/>
                  </a:lnTo>
                  <a:lnTo>
                    <a:pt x="333" y="599"/>
                  </a:lnTo>
                  <a:lnTo>
                    <a:pt x="348" y="575"/>
                  </a:lnTo>
                  <a:lnTo>
                    <a:pt x="352" y="513"/>
                  </a:lnTo>
                  <a:lnTo>
                    <a:pt x="399" y="489"/>
                  </a:lnTo>
                  <a:lnTo>
                    <a:pt x="455" y="504"/>
                  </a:lnTo>
                  <a:lnTo>
                    <a:pt x="475" y="402"/>
                  </a:lnTo>
                  <a:lnTo>
                    <a:pt x="499" y="378"/>
                  </a:lnTo>
                  <a:lnTo>
                    <a:pt x="534" y="369"/>
                  </a:lnTo>
                  <a:lnTo>
                    <a:pt x="546" y="334"/>
                  </a:lnTo>
                  <a:lnTo>
                    <a:pt x="574" y="314"/>
                  </a:lnTo>
                  <a:lnTo>
                    <a:pt x="598" y="348"/>
                  </a:lnTo>
                  <a:lnTo>
                    <a:pt x="664" y="384"/>
                  </a:lnTo>
                  <a:lnTo>
                    <a:pt x="681" y="436"/>
                  </a:lnTo>
                  <a:lnTo>
                    <a:pt x="712" y="510"/>
                  </a:lnTo>
                  <a:lnTo>
                    <a:pt x="815" y="530"/>
                  </a:lnTo>
                  <a:lnTo>
                    <a:pt x="861" y="543"/>
                  </a:lnTo>
                  <a:lnTo>
                    <a:pt x="913" y="570"/>
                  </a:lnTo>
                  <a:lnTo>
                    <a:pt x="946" y="626"/>
                  </a:lnTo>
                  <a:lnTo>
                    <a:pt x="977" y="657"/>
                  </a:lnTo>
                  <a:lnTo>
                    <a:pt x="1229" y="677"/>
                  </a:lnTo>
                  <a:lnTo>
                    <a:pt x="1285" y="692"/>
                  </a:lnTo>
                  <a:lnTo>
                    <a:pt x="1352" y="729"/>
                  </a:lnTo>
                  <a:lnTo>
                    <a:pt x="1419" y="708"/>
                  </a:lnTo>
                  <a:lnTo>
                    <a:pt x="1455" y="681"/>
                  </a:lnTo>
                  <a:lnTo>
                    <a:pt x="1546" y="692"/>
                  </a:lnTo>
                  <a:lnTo>
                    <a:pt x="1617" y="633"/>
                  </a:lnTo>
                  <a:lnTo>
                    <a:pt x="1625" y="578"/>
                  </a:lnTo>
                  <a:lnTo>
                    <a:pt x="1621" y="526"/>
                  </a:lnTo>
                  <a:lnTo>
                    <a:pt x="1684" y="546"/>
                  </a:lnTo>
                  <a:lnTo>
                    <a:pt x="1728" y="503"/>
                  </a:lnTo>
                  <a:lnTo>
                    <a:pt x="1767" y="471"/>
                  </a:lnTo>
                  <a:lnTo>
                    <a:pt x="1834" y="431"/>
                  </a:lnTo>
                  <a:lnTo>
                    <a:pt x="1914" y="396"/>
                  </a:lnTo>
                  <a:lnTo>
                    <a:pt x="1877" y="348"/>
                  </a:lnTo>
                  <a:lnTo>
                    <a:pt x="1804" y="357"/>
                  </a:lnTo>
                  <a:lnTo>
                    <a:pt x="1767" y="367"/>
                  </a:lnTo>
                  <a:lnTo>
                    <a:pt x="1757" y="348"/>
                  </a:lnTo>
                  <a:lnTo>
                    <a:pt x="1752" y="248"/>
                  </a:lnTo>
                  <a:lnTo>
                    <a:pt x="1763" y="210"/>
                  </a:lnTo>
                  <a:lnTo>
                    <a:pt x="1798" y="246"/>
                  </a:lnTo>
                  <a:lnTo>
                    <a:pt x="1858" y="246"/>
                  </a:lnTo>
                  <a:lnTo>
                    <a:pt x="1870" y="158"/>
                  </a:lnTo>
                  <a:lnTo>
                    <a:pt x="1905" y="127"/>
                  </a:lnTo>
                  <a:lnTo>
                    <a:pt x="1873" y="48"/>
                  </a:lnTo>
                  <a:lnTo>
                    <a:pt x="1897" y="0"/>
                  </a:lnTo>
                  <a:lnTo>
                    <a:pt x="2091" y="5"/>
                  </a:lnTo>
                  <a:lnTo>
                    <a:pt x="2138" y="55"/>
                  </a:lnTo>
                  <a:lnTo>
                    <a:pt x="2182" y="96"/>
                  </a:lnTo>
                  <a:lnTo>
                    <a:pt x="2214" y="135"/>
                  </a:lnTo>
                  <a:lnTo>
                    <a:pt x="2225" y="190"/>
                  </a:lnTo>
                  <a:lnTo>
                    <a:pt x="2261" y="234"/>
                  </a:lnTo>
                  <a:lnTo>
                    <a:pt x="2340" y="250"/>
                  </a:lnTo>
                  <a:lnTo>
                    <a:pt x="2376" y="282"/>
                  </a:lnTo>
                  <a:lnTo>
                    <a:pt x="2414" y="309"/>
                  </a:lnTo>
                  <a:lnTo>
                    <a:pt x="2431" y="337"/>
                  </a:lnTo>
                  <a:lnTo>
                    <a:pt x="2478" y="341"/>
                  </a:lnTo>
                  <a:lnTo>
                    <a:pt x="2558" y="325"/>
                  </a:lnTo>
                  <a:lnTo>
                    <a:pt x="2573" y="348"/>
                  </a:lnTo>
                  <a:lnTo>
                    <a:pt x="2581" y="388"/>
                  </a:lnTo>
                  <a:lnTo>
                    <a:pt x="2549" y="412"/>
                  </a:lnTo>
                  <a:lnTo>
                    <a:pt x="2545" y="526"/>
                  </a:lnTo>
                  <a:lnTo>
                    <a:pt x="2502" y="519"/>
                  </a:lnTo>
                  <a:lnTo>
                    <a:pt x="2478" y="565"/>
                  </a:lnTo>
                  <a:lnTo>
                    <a:pt x="2482" y="617"/>
                  </a:lnTo>
                  <a:lnTo>
                    <a:pt x="2526" y="626"/>
                  </a:lnTo>
                  <a:lnTo>
                    <a:pt x="2524" y="626"/>
                  </a:lnTo>
                  <a:lnTo>
                    <a:pt x="2478" y="661"/>
                  </a:lnTo>
                  <a:lnTo>
                    <a:pt x="2435" y="677"/>
                  </a:lnTo>
                  <a:lnTo>
                    <a:pt x="2387" y="729"/>
                  </a:lnTo>
                  <a:lnTo>
                    <a:pt x="2344" y="729"/>
                  </a:lnTo>
                  <a:lnTo>
                    <a:pt x="2304" y="712"/>
                  </a:lnTo>
                  <a:lnTo>
                    <a:pt x="2280" y="788"/>
                  </a:lnTo>
                  <a:lnTo>
                    <a:pt x="2237" y="815"/>
                  </a:lnTo>
                  <a:lnTo>
                    <a:pt x="2182" y="850"/>
                  </a:lnTo>
                  <a:lnTo>
                    <a:pt x="2114" y="874"/>
                  </a:lnTo>
                  <a:lnTo>
                    <a:pt x="2111" y="819"/>
                  </a:lnTo>
                  <a:lnTo>
                    <a:pt x="2099" y="767"/>
                  </a:lnTo>
                  <a:lnTo>
                    <a:pt x="2079" y="764"/>
                  </a:lnTo>
                  <a:lnTo>
                    <a:pt x="2052" y="788"/>
                  </a:lnTo>
                  <a:lnTo>
                    <a:pt x="2032" y="823"/>
                  </a:lnTo>
                </a:path>
              </a:pathLst>
            </a:custGeom>
            <a:solidFill>
              <a:srgbClr val="A0AEC4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9" name="Freeform 129"/>
            <p:cNvSpPr>
              <a:spLocks noChangeAspect="1"/>
            </p:cNvSpPr>
            <p:nvPr/>
          </p:nvSpPr>
          <p:spPr bwMode="auto">
            <a:xfrm>
              <a:off x="3932776" y="3050055"/>
              <a:ext cx="128352" cy="168621"/>
            </a:xfrm>
            <a:custGeom>
              <a:avLst/>
              <a:gdLst/>
              <a:ahLst/>
              <a:cxnLst>
                <a:cxn ang="0">
                  <a:pos x="214" y="0"/>
                </a:cxn>
                <a:cxn ang="0">
                  <a:pos x="218" y="84"/>
                </a:cxn>
                <a:cxn ang="0">
                  <a:pos x="190" y="99"/>
                </a:cxn>
                <a:cxn ang="0">
                  <a:pos x="166" y="143"/>
                </a:cxn>
                <a:cxn ang="0">
                  <a:pos x="122" y="163"/>
                </a:cxn>
                <a:cxn ang="0">
                  <a:pos x="174" y="213"/>
                </a:cxn>
                <a:cxn ang="0">
                  <a:pos x="159" y="261"/>
                </a:cxn>
                <a:cxn ang="0">
                  <a:pos x="95" y="285"/>
                </a:cxn>
                <a:cxn ang="0">
                  <a:pos x="67" y="257"/>
                </a:cxn>
                <a:cxn ang="0">
                  <a:pos x="12" y="234"/>
                </a:cxn>
                <a:cxn ang="0">
                  <a:pos x="48" y="206"/>
                </a:cxn>
                <a:cxn ang="0">
                  <a:pos x="52" y="154"/>
                </a:cxn>
                <a:cxn ang="0">
                  <a:pos x="12" y="143"/>
                </a:cxn>
                <a:cxn ang="0">
                  <a:pos x="0" y="143"/>
                </a:cxn>
                <a:cxn ang="0">
                  <a:pos x="43" y="116"/>
                </a:cxn>
                <a:cxn ang="0">
                  <a:pos x="67" y="40"/>
                </a:cxn>
                <a:cxn ang="0">
                  <a:pos x="107" y="57"/>
                </a:cxn>
                <a:cxn ang="0">
                  <a:pos x="150" y="57"/>
                </a:cxn>
                <a:cxn ang="0">
                  <a:pos x="198" y="5"/>
                </a:cxn>
                <a:cxn ang="0">
                  <a:pos x="214" y="0"/>
                </a:cxn>
              </a:cxnLst>
              <a:rect l="0" t="0" r="r" b="b"/>
              <a:pathLst>
                <a:path w="218" h="285">
                  <a:moveTo>
                    <a:pt x="214" y="0"/>
                  </a:moveTo>
                  <a:lnTo>
                    <a:pt x="218" y="84"/>
                  </a:lnTo>
                  <a:lnTo>
                    <a:pt x="190" y="99"/>
                  </a:lnTo>
                  <a:lnTo>
                    <a:pt x="166" y="143"/>
                  </a:lnTo>
                  <a:lnTo>
                    <a:pt x="122" y="163"/>
                  </a:lnTo>
                  <a:lnTo>
                    <a:pt x="174" y="213"/>
                  </a:lnTo>
                  <a:lnTo>
                    <a:pt x="159" y="261"/>
                  </a:lnTo>
                  <a:lnTo>
                    <a:pt x="95" y="285"/>
                  </a:lnTo>
                  <a:lnTo>
                    <a:pt x="67" y="257"/>
                  </a:lnTo>
                  <a:lnTo>
                    <a:pt x="12" y="234"/>
                  </a:lnTo>
                  <a:lnTo>
                    <a:pt x="48" y="206"/>
                  </a:lnTo>
                  <a:lnTo>
                    <a:pt x="52" y="154"/>
                  </a:lnTo>
                  <a:lnTo>
                    <a:pt x="12" y="143"/>
                  </a:lnTo>
                  <a:lnTo>
                    <a:pt x="0" y="143"/>
                  </a:lnTo>
                  <a:lnTo>
                    <a:pt x="43" y="116"/>
                  </a:lnTo>
                  <a:lnTo>
                    <a:pt x="67" y="40"/>
                  </a:lnTo>
                  <a:lnTo>
                    <a:pt x="107" y="57"/>
                  </a:lnTo>
                  <a:lnTo>
                    <a:pt x="150" y="57"/>
                  </a:lnTo>
                  <a:lnTo>
                    <a:pt x="198" y="5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Freeform 130"/>
            <p:cNvSpPr>
              <a:spLocks noChangeAspect="1"/>
            </p:cNvSpPr>
            <p:nvPr/>
          </p:nvSpPr>
          <p:spPr bwMode="auto">
            <a:xfrm>
              <a:off x="4136733" y="4462920"/>
              <a:ext cx="31648" cy="14200"/>
            </a:xfrm>
            <a:custGeom>
              <a:avLst/>
              <a:gdLst/>
              <a:ahLst/>
              <a:cxnLst>
                <a:cxn ang="0">
                  <a:pos x="28" y="23"/>
                </a:cxn>
                <a:cxn ang="0">
                  <a:pos x="28" y="23"/>
                </a:cxn>
                <a:cxn ang="0">
                  <a:pos x="17" y="22"/>
                </a:cxn>
                <a:cxn ang="0">
                  <a:pos x="8" y="19"/>
                </a:cxn>
                <a:cxn ang="0">
                  <a:pos x="1" y="15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9"/>
                </a:cxn>
                <a:cxn ang="0">
                  <a:pos x="1" y="8"/>
                </a:cxn>
                <a:cxn ang="0">
                  <a:pos x="8" y="4"/>
                </a:cxn>
                <a:cxn ang="0">
                  <a:pos x="17" y="2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38" y="2"/>
                </a:cxn>
                <a:cxn ang="0">
                  <a:pos x="48" y="4"/>
                </a:cxn>
                <a:cxn ang="0">
                  <a:pos x="53" y="8"/>
                </a:cxn>
                <a:cxn ang="0">
                  <a:pos x="55" y="9"/>
                </a:cxn>
                <a:cxn ang="0">
                  <a:pos x="55" y="12"/>
                </a:cxn>
                <a:cxn ang="0">
                  <a:pos x="55" y="12"/>
                </a:cxn>
                <a:cxn ang="0">
                  <a:pos x="55" y="14"/>
                </a:cxn>
                <a:cxn ang="0">
                  <a:pos x="53" y="15"/>
                </a:cxn>
                <a:cxn ang="0">
                  <a:pos x="48" y="19"/>
                </a:cxn>
                <a:cxn ang="0">
                  <a:pos x="38" y="22"/>
                </a:cxn>
                <a:cxn ang="0">
                  <a:pos x="28" y="23"/>
                </a:cxn>
                <a:cxn ang="0">
                  <a:pos x="28" y="23"/>
                </a:cxn>
              </a:cxnLst>
              <a:rect l="0" t="0" r="r" b="b"/>
              <a:pathLst>
                <a:path w="55" h="23">
                  <a:moveTo>
                    <a:pt x="28" y="23"/>
                  </a:moveTo>
                  <a:lnTo>
                    <a:pt x="28" y="23"/>
                  </a:lnTo>
                  <a:lnTo>
                    <a:pt x="17" y="22"/>
                  </a:lnTo>
                  <a:lnTo>
                    <a:pt x="8" y="19"/>
                  </a:lnTo>
                  <a:lnTo>
                    <a:pt x="1" y="15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9"/>
                  </a:lnTo>
                  <a:lnTo>
                    <a:pt x="1" y="8"/>
                  </a:lnTo>
                  <a:lnTo>
                    <a:pt x="8" y="4"/>
                  </a:lnTo>
                  <a:lnTo>
                    <a:pt x="17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8" y="2"/>
                  </a:lnTo>
                  <a:lnTo>
                    <a:pt x="48" y="4"/>
                  </a:lnTo>
                  <a:lnTo>
                    <a:pt x="53" y="8"/>
                  </a:lnTo>
                  <a:lnTo>
                    <a:pt x="55" y="9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4"/>
                  </a:lnTo>
                  <a:lnTo>
                    <a:pt x="53" y="15"/>
                  </a:lnTo>
                  <a:lnTo>
                    <a:pt x="48" y="19"/>
                  </a:lnTo>
                  <a:lnTo>
                    <a:pt x="38" y="22"/>
                  </a:lnTo>
                  <a:lnTo>
                    <a:pt x="28" y="23"/>
                  </a:lnTo>
                  <a:lnTo>
                    <a:pt x="28" y="2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Freeform 131"/>
            <p:cNvSpPr>
              <a:spLocks noChangeAspect="1"/>
            </p:cNvSpPr>
            <p:nvPr/>
          </p:nvSpPr>
          <p:spPr bwMode="auto">
            <a:xfrm>
              <a:off x="3173215" y="3550593"/>
              <a:ext cx="205715" cy="539587"/>
            </a:xfrm>
            <a:custGeom>
              <a:avLst/>
              <a:gdLst/>
              <a:ahLst/>
              <a:cxnLst>
                <a:cxn ang="0">
                  <a:pos x="6" y="348"/>
                </a:cxn>
                <a:cxn ang="0">
                  <a:pos x="24" y="309"/>
                </a:cxn>
                <a:cxn ang="0">
                  <a:pos x="24" y="218"/>
                </a:cxn>
                <a:cxn ang="0">
                  <a:pos x="65" y="175"/>
                </a:cxn>
                <a:cxn ang="0">
                  <a:pos x="85" y="111"/>
                </a:cxn>
                <a:cxn ang="0">
                  <a:pos x="120" y="63"/>
                </a:cxn>
                <a:cxn ang="0">
                  <a:pos x="179" y="36"/>
                </a:cxn>
                <a:cxn ang="0">
                  <a:pos x="183" y="9"/>
                </a:cxn>
                <a:cxn ang="0">
                  <a:pos x="234" y="0"/>
                </a:cxn>
                <a:cxn ang="0">
                  <a:pos x="247" y="28"/>
                </a:cxn>
                <a:cxn ang="0">
                  <a:pos x="265" y="79"/>
                </a:cxn>
                <a:cxn ang="0">
                  <a:pos x="247" y="118"/>
                </a:cxn>
                <a:cxn ang="0">
                  <a:pos x="214" y="142"/>
                </a:cxn>
                <a:cxn ang="0">
                  <a:pos x="210" y="182"/>
                </a:cxn>
                <a:cxn ang="0">
                  <a:pos x="262" y="190"/>
                </a:cxn>
                <a:cxn ang="0">
                  <a:pos x="285" y="238"/>
                </a:cxn>
                <a:cxn ang="0">
                  <a:pos x="297" y="313"/>
                </a:cxn>
                <a:cxn ang="0">
                  <a:pos x="341" y="321"/>
                </a:cxn>
                <a:cxn ang="0">
                  <a:pos x="353" y="352"/>
                </a:cxn>
                <a:cxn ang="0">
                  <a:pos x="333" y="396"/>
                </a:cxn>
                <a:cxn ang="0">
                  <a:pos x="306" y="420"/>
                </a:cxn>
                <a:cxn ang="0">
                  <a:pos x="258" y="439"/>
                </a:cxn>
                <a:cxn ang="0">
                  <a:pos x="254" y="523"/>
                </a:cxn>
                <a:cxn ang="0">
                  <a:pos x="265" y="554"/>
                </a:cxn>
                <a:cxn ang="0">
                  <a:pos x="302" y="601"/>
                </a:cxn>
                <a:cxn ang="0">
                  <a:pos x="289" y="680"/>
                </a:cxn>
                <a:cxn ang="0">
                  <a:pos x="293" y="720"/>
                </a:cxn>
                <a:cxn ang="0">
                  <a:pos x="309" y="779"/>
                </a:cxn>
                <a:cxn ang="0">
                  <a:pos x="348" y="814"/>
                </a:cxn>
                <a:cxn ang="0">
                  <a:pos x="317" y="882"/>
                </a:cxn>
                <a:cxn ang="0">
                  <a:pos x="297" y="913"/>
                </a:cxn>
                <a:cxn ang="0">
                  <a:pos x="278" y="827"/>
                </a:cxn>
                <a:cxn ang="0">
                  <a:pos x="265" y="768"/>
                </a:cxn>
                <a:cxn ang="0">
                  <a:pos x="230" y="740"/>
                </a:cxn>
                <a:cxn ang="0">
                  <a:pos x="247" y="624"/>
                </a:cxn>
                <a:cxn ang="0">
                  <a:pos x="203" y="558"/>
                </a:cxn>
                <a:cxn ang="0">
                  <a:pos x="179" y="593"/>
                </a:cxn>
                <a:cxn ang="0">
                  <a:pos x="147" y="624"/>
                </a:cxn>
                <a:cxn ang="0">
                  <a:pos x="100" y="609"/>
                </a:cxn>
                <a:cxn ang="0">
                  <a:pos x="92" y="506"/>
                </a:cxn>
                <a:cxn ang="0">
                  <a:pos x="80" y="459"/>
                </a:cxn>
                <a:cxn ang="0">
                  <a:pos x="41" y="407"/>
                </a:cxn>
                <a:cxn ang="0">
                  <a:pos x="0" y="372"/>
                </a:cxn>
                <a:cxn ang="0">
                  <a:pos x="6" y="348"/>
                </a:cxn>
              </a:cxnLst>
              <a:rect l="0" t="0" r="r" b="b"/>
              <a:pathLst>
                <a:path w="353" h="913">
                  <a:moveTo>
                    <a:pt x="6" y="348"/>
                  </a:moveTo>
                  <a:lnTo>
                    <a:pt x="24" y="309"/>
                  </a:lnTo>
                  <a:lnTo>
                    <a:pt x="24" y="218"/>
                  </a:lnTo>
                  <a:lnTo>
                    <a:pt x="65" y="175"/>
                  </a:lnTo>
                  <a:lnTo>
                    <a:pt x="85" y="111"/>
                  </a:lnTo>
                  <a:lnTo>
                    <a:pt x="120" y="63"/>
                  </a:lnTo>
                  <a:lnTo>
                    <a:pt x="179" y="36"/>
                  </a:lnTo>
                  <a:lnTo>
                    <a:pt x="183" y="9"/>
                  </a:lnTo>
                  <a:lnTo>
                    <a:pt x="234" y="0"/>
                  </a:lnTo>
                  <a:lnTo>
                    <a:pt x="247" y="28"/>
                  </a:lnTo>
                  <a:lnTo>
                    <a:pt x="265" y="79"/>
                  </a:lnTo>
                  <a:lnTo>
                    <a:pt x="247" y="118"/>
                  </a:lnTo>
                  <a:lnTo>
                    <a:pt x="214" y="142"/>
                  </a:lnTo>
                  <a:lnTo>
                    <a:pt x="210" y="182"/>
                  </a:lnTo>
                  <a:lnTo>
                    <a:pt x="262" y="190"/>
                  </a:lnTo>
                  <a:lnTo>
                    <a:pt x="285" y="238"/>
                  </a:lnTo>
                  <a:lnTo>
                    <a:pt x="297" y="313"/>
                  </a:lnTo>
                  <a:lnTo>
                    <a:pt x="341" y="321"/>
                  </a:lnTo>
                  <a:lnTo>
                    <a:pt x="353" y="352"/>
                  </a:lnTo>
                  <a:lnTo>
                    <a:pt x="333" y="396"/>
                  </a:lnTo>
                  <a:lnTo>
                    <a:pt x="306" y="420"/>
                  </a:lnTo>
                  <a:lnTo>
                    <a:pt x="258" y="439"/>
                  </a:lnTo>
                  <a:lnTo>
                    <a:pt x="254" y="523"/>
                  </a:lnTo>
                  <a:lnTo>
                    <a:pt x="265" y="554"/>
                  </a:lnTo>
                  <a:lnTo>
                    <a:pt x="302" y="601"/>
                  </a:lnTo>
                  <a:lnTo>
                    <a:pt x="289" y="680"/>
                  </a:lnTo>
                  <a:lnTo>
                    <a:pt x="293" y="720"/>
                  </a:lnTo>
                  <a:lnTo>
                    <a:pt x="309" y="779"/>
                  </a:lnTo>
                  <a:lnTo>
                    <a:pt x="348" y="814"/>
                  </a:lnTo>
                  <a:lnTo>
                    <a:pt x="317" y="882"/>
                  </a:lnTo>
                  <a:lnTo>
                    <a:pt x="297" y="913"/>
                  </a:lnTo>
                  <a:lnTo>
                    <a:pt x="278" y="827"/>
                  </a:lnTo>
                  <a:lnTo>
                    <a:pt x="265" y="768"/>
                  </a:lnTo>
                  <a:lnTo>
                    <a:pt x="230" y="740"/>
                  </a:lnTo>
                  <a:lnTo>
                    <a:pt x="247" y="624"/>
                  </a:lnTo>
                  <a:lnTo>
                    <a:pt x="203" y="558"/>
                  </a:lnTo>
                  <a:lnTo>
                    <a:pt x="179" y="593"/>
                  </a:lnTo>
                  <a:lnTo>
                    <a:pt x="147" y="624"/>
                  </a:lnTo>
                  <a:lnTo>
                    <a:pt x="100" y="609"/>
                  </a:lnTo>
                  <a:lnTo>
                    <a:pt x="92" y="506"/>
                  </a:lnTo>
                  <a:lnTo>
                    <a:pt x="80" y="459"/>
                  </a:lnTo>
                  <a:lnTo>
                    <a:pt x="41" y="407"/>
                  </a:lnTo>
                  <a:lnTo>
                    <a:pt x="0" y="372"/>
                  </a:lnTo>
                  <a:lnTo>
                    <a:pt x="6" y="34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Freeform 132"/>
            <p:cNvSpPr>
              <a:spLocks noChangeAspect="1"/>
            </p:cNvSpPr>
            <p:nvPr/>
          </p:nvSpPr>
          <p:spPr bwMode="auto">
            <a:xfrm>
              <a:off x="3254094" y="4249925"/>
              <a:ext cx="312967" cy="346116"/>
            </a:xfrm>
            <a:custGeom>
              <a:avLst/>
              <a:gdLst/>
              <a:ahLst/>
              <a:cxnLst>
                <a:cxn ang="0">
                  <a:pos x="201" y="92"/>
                </a:cxn>
                <a:cxn ang="0">
                  <a:pos x="134" y="64"/>
                </a:cxn>
                <a:cxn ang="0">
                  <a:pos x="79" y="0"/>
                </a:cxn>
                <a:cxn ang="0">
                  <a:pos x="7" y="7"/>
                </a:cxn>
                <a:cxn ang="0">
                  <a:pos x="0" y="35"/>
                </a:cxn>
                <a:cxn ang="0">
                  <a:pos x="83" y="92"/>
                </a:cxn>
                <a:cxn ang="0">
                  <a:pos x="153" y="154"/>
                </a:cxn>
                <a:cxn ang="0">
                  <a:pos x="201" y="198"/>
                </a:cxn>
                <a:cxn ang="0">
                  <a:pos x="217" y="265"/>
                </a:cxn>
                <a:cxn ang="0">
                  <a:pos x="245" y="324"/>
                </a:cxn>
                <a:cxn ang="0">
                  <a:pos x="339" y="451"/>
                </a:cxn>
                <a:cxn ang="0">
                  <a:pos x="422" y="550"/>
                </a:cxn>
                <a:cxn ang="0">
                  <a:pos x="449" y="585"/>
                </a:cxn>
                <a:cxn ang="0">
                  <a:pos x="532" y="550"/>
                </a:cxn>
                <a:cxn ang="0">
                  <a:pos x="521" y="498"/>
                </a:cxn>
                <a:cxn ang="0">
                  <a:pos x="521" y="434"/>
                </a:cxn>
                <a:cxn ang="0">
                  <a:pos x="497" y="399"/>
                </a:cxn>
                <a:cxn ang="0">
                  <a:pos x="427" y="375"/>
                </a:cxn>
                <a:cxn ang="0">
                  <a:pos x="427" y="344"/>
                </a:cxn>
                <a:cxn ang="0">
                  <a:pos x="403" y="305"/>
                </a:cxn>
                <a:cxn ang="0">
                  <a:pos x="398" y="249"/>
                </a:cxn>
                <a:cxn ang="0">
                  <a:pos x="351" y="202"/>
                </a:cxn>
                <a:cxn ang="0">
                  <a:pos x="287" y="166"/>
                </a:cxn>
                <a:cxn ang="0">
                  <a:pos x="201" y="92"/>
                </a:cxn>
              </a:cxnLst>
              <a:rect l="0" t="0" r="r" b="b"/>
              <a:pathLst>
                <a:path w="532" h="585">
                  <a:moveTo>
                    <a:pt x="201" y="92"/>
                  </a:moveTo>
                  <a:lnTo>
                    <a:pt x="134" y="64"/>
                  </a:lnTo>
                  <a:lnTo>
                    <a:pt x="79" y="0"/>
                  </a:lnTo>
                  <a:lnTo>
                    <a:pt x="7" y="7"/>
                  </a:lnTo>
                  <a:lnTo>
                    <a:pt x="0" y="35"/>
                  </a:lnTo>
                  <a:lnTo>
                    <a:pt x="83" y="92"/>
                  </a:lnTo>
                  <a:lnTo>
                    <a:pt x="153" y="154"/>
                  </a:lnTo>
                  <a:lnTo>
                    <a:pt x="201" y="198"/>
                  </a:lnTo>
                  <a:lnTo>
                    <a:pt x="217" y="265"/>
                  </a:lnTo>
                  <a:lnTo>
                    <a:pt x="245" y="324"/>
                  </a:lnTo>
                  <a:lnTo>
                    <a:pt x="339" y="451"/>
                  </a:lnTo>
                  <a:lnTo>
                    <a:pt x="422" y="550"/>
                  </a:lnTo>
                  <a:lnTo>
                    <a:pt x="449" y="585"/>
                  </a:lnTo>
                  <a:lnTo>
                    <a:pt x="532" y="550"/>
                  </a:lnTo>
                  <a:lnTo>
                    <a:pt x="521" y="498"/>
                  </a:lnTo>
                  <a:lnTo>
                    <a:pt x="521" y="434"/>
                  </a:lnTo>
                  <a:lnTo>
                    <a:pt x="497" y="399"/>
                  </a:lnTo>
                  <a:lnTo>
                    <a:pt x="427" y="375"/>
                  </a:lnTo>
                  <a:lnTo>
                    <a:pt x="427" y="344"/>
                  </a:lnTo>
                  <a:lnTo>
                    <a:pt x="403" y="305"/>
                  </a:lnTo>
                  <a:lnTo>
                    <a:pt x="398" y="249"/>
                  </a:lnTo>
                  <a:lnTo>
                    <a:pt x="351" y="202"/>
                  </a:lnTo>
                  <a:lnTo>
                    <a:pt x="287" y="166"/>
                  </a:lnTo>
                  <a:lnTo>
                    <a:pt x="201" y="9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Freeform 133"/>
            <p:cNvSpPr>
              <a:spLocks noChangeAspect="1"/>
            </p:cNvSpPr>
            <p:nvPr/>
          </p:nvSpPr>
          <p:spPr bwMode="auto">
            <a:xfrm>
              <a:off x="3545963" y="4455820"/>
              <a:ext cx="45714" cy="44374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0" y="5"/>
                </a:cxn>
                <a:cxn ang="0">
                  <a:pos x="68" y="32"/>
                </a:cxn>
                <a:cxn ang="0">
                  <a:pos x="79" y="72"/>
                </a:cxn>
                <a:cxn ang="0">
                  <a:pos x="48" y="76"/>
                </a:cxn>
                <a:cxn ang="0">
                  <a:pos x="0" y="28"/>
                </a:cxn>
                <a:cxn ang="0">
                  <a:pos x="4" y="0"/>
                </a:cxn>
              </a:cxnLst>
              <a:rect l="0" t="0" r="r" b="b"/>
              <a:pathLst>
                <a:path w="79" h="76">
                  <a:moveTo>
                    <a:pt x="4" y="0"/>
                  </a:moveTo>
                  <a:lnTo>
                    <a:pt x="40" y="5"/>
                  </a:lnTo>
                  <a:lnTo>
                    <a:pt x="68" y="32"/>
                  </a:lnTo>
                  <a:lnTo>
                    <a:pt x="79" y="72"/>
                  </a:lnTo>
                  <a:lnTo>
                    <a:pt x="48" y="76"/>
                  </a:lnTo>
                  <a:lnTo>
                    <a:pt x="0" y="28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 134"/>
            <p:cNvSpPr>
              <a:spLocks noChangeAspect="1"/>
            </p:cNvSpPr>
            <p:nvPr/>
          </p:nvSpPr>
          <p:spPr bwMode="auto">
            <a:xfrm>
              <a:off x="3545963" y="4455820"/>
              <a:ext cx="45714" cy="44374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0" y="5"/>
                </a:cxn>
                <a:cxn ang="0">
                  <a:pos x="68" y="32"/>
                </a:cxn>
                <a:cxn ang="0">
                  <a:pos x="79" y="72"/>
                </a:cxn>
                <a:cxn ang="0">
                  <a:pos x="48" y="76"/>
                </a:cxn>
                <a:cxn ang="0">
                  <a:pos x="0" y="28"/>
                </a:cxn>
                <a:cxn ang="0">
                  <a:pos x="4" y="0"/>
                </a:cxn>
              </a:cxnLst>
              <a:rect l="0" t="0" r="r" b="b"/>
              <a:pathLst>
                <a:path w="79" h="76">
                  <a:moveTo>
                    <a:pt x="4" y="0"/>
                  </a:moveTo>
                  <a:lnTo>
                    <a:pt x="40" y="5"/>
                  </a:lnTo>
                  <a:lnTo>
                    <a:pt x="68" y="32"/>
                  </a:lnTo>
                  <a:lnTo>
                    <a:pt x="79" y="72"/>
                  </a:lnTo>
                  <a:lnTo>
                    <a:pt x="48" y="76"/>
                  </a:lnTo>
                  <a:lnTo>
                    <a:pt x="0" y="28"/>
                  </a:lnTo>
                  <a:lnTo>
                    <a:pt x="4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 135"/>
            <p:cNvSpPr>
              <a:spLocks noChangeAspect="1"/>
            </p:cNvSpPr>
            <p:nvPr/>
          </p:nvSpPr>
          <p:spPr bwMode="auto">
            <a:xfrm>
              <a:off x="3551237" y="4592492"/>
              <a:ext cx="249671" cy="83423"/>
            </a:xfrm>
            <a:custGeom>
              <a:avLst/>
              <a:gdLst/>
              <a:ahLst/>
              <a:cxnLst>
                <a:cxn ang="0">
                  <a:pos x="64" y="3"/>
                </a:cxn>
                <a:cxn ang="0">
                  <a:pos x="23" y="18"/>
                </a:cxn>
                <a:cxn ang="0">
                  <a:pos x="0" y="51"/>
                </a:cxn>
                <a:cxn ang="0">
                  <a:pos x="27" y="94"/>
                </a:cxn>
                <a:cxn ang="0">
                  <a:pos x="111" y="94"/>
                </a:cxn>
                <a:cxn ang="0">
                  <a:pos x="143" y="110"/>
                </a:cxn>
                <a:cxn ang="0">
                  <a:pos x="218" y="110"/>
                </a:cxn>
                <a:cxn ang="0">
                  <a:pos x="222" y="141"/>
                </a:cxn>
                <a:cxn ang="0">
                  <a:pos x="356" y="141"/>
                </a:cxn>
                <a:cxn ang="0">
                  <a:pos x="391" y="141"/>
                </a:cxn>
                <a:cxn ang="0">
                  <a:pos x="423" y="141"/>
                </a:cxn>
                <a:cxn ang="0">
                  <a:pos x="426" y="106"/>
                </a:cxn>
                <a:cxn ang="0">
                  <a:pos x="384" y="86"/>
                </a:cxn>
                <a:cxn ang="0">
                  <a:pos x="391" y="51"/>
                </a:cxn>
                <a:cxn ang="0">
                  <a:pos x="352" y="55"/>
                </a:cxn>
                <a:cxn ang="0">
                  <a:pos x="301" y="51"/>
                </a:cxn>
                <a:cxn ang="0">
                  <a:pos x="261" y="27"/>
                </a:cxn>
                <a:cxn ang="0">
                  <a:pos x="194" y="23"/>
                </a:cxn>
                <a:cxn ang="0">
                  <a:pos x="126" y="0"/>
                </a:cxn>
                <a:cxn ang="0">
                  <a:pos x="64" y="3"/>
                </a:cxn>
              </a:cxnLst>
              <a:rect l="0" t="0" r="r" b="b"/>
              <a:pathLst>
                <a:path w="426" h="141">
                  <a:moveTo>
                    <a:pt x="64" y="3"/>
                  </a:moveTo>
                  <a:lnTo>
                    <a:pt x="23" y="18"/>
                  </a:lnTo>
                  <a:lnTo>
                    <a:pt x="0" y="51"/>
                  </a:lnTo>
                  <a:lnTo>
                    <a:pt x="27" y="94"/>
                  </a:lnTo>
                  <a:lnTo>
                    <a:pt x="111" y="94"/>
                  </a:lnTo>
                  <a:lnTo>
                    <a:pt x="143" y="110"/>
                  </a:lnTo>
                  <a:lnTo>
                    <a:pt x="218" y="110"/>
                  </a:lnTo>
                  <a:lnTo>
                    <a:pt x="222" y="141"/>
                  </a:lnTo>
                  <a:lnTo>
                    <a:pt x="356" y="141"/>
                  </a:lnTo>
                  <a:lnTo>
                    <a:pt x="391" y="141"/>
                  </a:lnTo>
                  <a:lnTo>
                    <a:pt x="423" y="141"/>
                  </a:lnTo>
                  <a:lnTo>
                    <a:pt x="426" y="106"/>
                  </a:lnTo>
                  <a:lnTo>
                    <a:pt x="384" y="86"/>
                  </a:lnTo>
                  <a:lnTo>
                    <a:pt x="391" y="51"/>
                  </a:lnTo>
                  <a:lnTo>
                    <a:pt x="352" y="55"/>
                  </a:lnTo>
                  <a:lnTo>
                    <a:pt x="301" y="51"/>
                  </a:lnTo>
                  <a:lnTo>
                    <a:pt x="261" y="27"/>
                  </a:lnTo>
                  <a:lnTo>
                    <a:pt x="194" y="23"/>
                  </a:lnTo>
                  <a:lnTo>
                    <a:pt x="126" y="0"/>
                  </a:lnTo>
                  <a:lnTo>
                    <a:pt x="64" y="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 136"/>
            <p:cNvSpPr>
              <a:spLocks noChangeAspect="1"/>
            </p:cNvSpPr>
            <p:nvPr/>
          </p:nvSpPr>
          <p:spPr bwMode="auto">
            <a:xfrm>
              <a:off x="3816732" y="4668815"/>
              <a:ext cx="22857" cy="15975"/>
            </a:xfrm>
            <a:custGeom>
              <a:avLst/>
              <a:gdLst/>
              <a:ahLst/>
              <a:cxnLst>
                <a:cxn ang="0">
                  <a:pos x="20" y="29"/>
                </a:cxn>
                <a:cxn ang="0">
                  <a:pos x="20" y="29"/>
                </a:cxn>
                <a:cxn ang="0">
                  <a:pos x="27" y="28"/>
                </a:cxn>
                <a:cxn ang="0">
                  <a:pos x="34" y="24"/>
                </a:cxn>
                <a:cxn ang="0">
                  <a:pos x="37" y="20"/>
                </a:cxn>
                <a:cxn ang="0">
                  <a:pos x="39" y="17"/>
                </a:cxn>
                <a:cxn ang="0">
                  <a:pos x="39" y="15"/>
                </a:cxn>
                <a:cxn ang="0">
                  <a:pos x="39" y="15"/>
                </a:cxn>
                <a:cxn ang="0">
                  <a:pos x="39" y="11"/>
                </a:cxn>
                <a:cxn ang="0">
                  <a:pos x="37" y="9"/>
                </a:cxn>
                <a:cxn ang="0">
                  <a:pos x="34" y="5"/>
                </a:cxn>
                <a:cxn ang="0">
                  <a:pos x="27" y="1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12" y="1"/>
                </a:cxn>
                <a:cxn ang="0">
                  <a:pos x="6" y="5"/>
                </a:cxn>
                <a:cxn ang="0">
                  <a:pos x="1" y="9"/>
                </a:cxn>
                <a:cxn ang="0">
                  <a:pos x="0" y="11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7"/>
                </a:cxn>
                <a:cxn ang="0">
                  <a:pos x="1" y="20"/>
                </a:cxn>
                <a:cxn ang="0">
                  <a:pos x="6" y="24"/>
                </a:cxn>
                <a:cxn ang="0">
                  <a:pos x="12" y="28"/>
                </a:cxn>
                <a:cxn ang="0">
                  <a:pos x="20" y="29"/>
                </a:cxn>
                <a:cxn ang="0">
                  <a:pos x="20" y="29"/>
                </a:cxn>
              </a:cxnLst>
              <a:rect l="0" t="0" r="r" b="b"/>
              <a:pathLst>
                <a:path w="39" h="29">
                  <a:moveTo>
                    <a:pt x="20" y="29"/>
                  </a:moveTo>
                  <a:lnTo>
                    <a:pt x="20" y="29"/>
                  </a:lnTo>
                  <a:lnTo>
                    <a:pt x="27" y="28"/>
                  </a:lnTo>
                  <a:lnTo>
                    <a:pt x="34" y="24"/>
                  </a:lnTo>
                  <a:lnTo>
                    <a:pt x="37" y="20"/>
                  </a:lnTo>
                  <a:lnTo>
                    <a:pt x="39" y="17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1"/>
                  </a:lnTo>
                  <a:lnTo>
                    <a:pt x="37" y="9"/>
                  </a:lnTo>
                  <a:lnTo>
                    <a:pt x="34" y="5"/>
                  </a:lnTo>
                  <a:lnTo>
                    <a:pt x="27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2" y="1"/>
                  </a:lnTo>
                  <a:lnTo>
                    <a:pt x="6" y="5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0"/>
                  </a:lnTo>
                  <a:lnTo>
                    <a:pt x="6" y="24"/>
                  </a:lnTo>
                  <a:lnTo>
                    <a:pt x="12" y="28"/>
                  </a:lnTo>
                  <a:lnTo>
                    <a:pt x="20" y="29"/>
                  </a:lnTo>
                  <a:lnTo>
                    <a:pt x="20" y="2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 137"/>
            <p:cNvSpPr>
              <a:spLocks noChangeAspect="1"/>
            </p:cNvSpPr>
            <p:nvPr/>
          </p:nvSpPr>
          <p:spPr bwMode="auto">
            <a:xfrm>
              <a:off x="3850139" y="4668815"/>
              <a:ext cx="10549" cy="15975"/>
            </a:xfrm>
            <a:custGeom>
              <a:avLst/>
              <a:gdLst/>
              <a:ahLst/>
              <a:cxnLst>
                <a:cxn ang="0">
                  <a:pos x="7" y="29"/>
                </a:cxn>
                <a:cxn ang="0">
                  <a:pos x="7" y="29"/>
                </a:cxn>
                <a:cxn ang="0">
                  <a:pos x="5" y="28"/>
                </a:cxn>
                <a:cxn ang="0">
                  <a:pos x="2" y="24"/>
                </a:cxn>
                <a:cxn ang="0">
                  <a:pos x="0" y="20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9"/>
                </a:cxn>
                <a:cxn ang="0">
                  <a:pos x="2" y="5"/>
                </a:cxn>
                <a:cxn ang="0">
                  <a:pos x="5" y="1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4" y="5"/>
                </a:cxn>
                <a:cxn ang="0">
                  <a:pos x="16" y="9"/>
                </a:cxn>
                <a:cxn ang="0">
                  <a:pos x="16" y="15"/>
                </a:cxn>
                <a:cxn ang="0">
                  <a:pos x="16" y="15"/>
                </a:cxn>
                <a:cxn ang="0">
                  <a:pos x="16" y="20"/>
                </a:cxn>
                <a:cxn ang="0">
                  <a:pos x="14" y="24"/>
                </a:cxn>
                <a:cxn ang="0">
                  <a:pos x="11" y="28"/>
                </a:cxn>
                <a:cxn ang="0">
                  <a:pos x="7" y="29"/>
                </a:cxn>
                <a:cxn ang="0">
                  <a:pos x="7" y="29"/>
                </a:cxn>
              </a:cxnLst>
              <a:rect l="0" t="0" r="r" b="b"/>
              <a:pathLst>
                <a:path w="16" h="29">
                  <a:moveTo>
                    <a:pt x="7" y="29"/>
                  </a:moveTo>
                  <a:lnTo>
                    <a:pt x="7" y="29"/>
                  </a:lnTo>
                  <a:lnTo>
                    <a:pt x="5" y="28"/>
                  </a:lnTo>
                  <a:lnTo>
                    <a:pt x="2" y="24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9"/>
                  </a:lnTo>
                  <a:lnTo>
                    <a:pt x="2" y="5"/>
                  </a:lnTo>
                  <a:lnTo>
                    <a:pt x="5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1"/>
                  </a:lnTo>
                  <a:lnTo>
                    <a:pt x="14" y="5"/>
                  </a:lnTo>
                  <a:lnTo>
                    <a:pt x="16" y="9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20"/>
                  </a:lnTo>
                  <a:lnTo>
                    <a:pt x="14" y="24"/>
                  </a:lnTo>
                  <a:lnTo>
                    <a:pt x="11" y="28"/>
                  </a:lnTo>
                  <a:lnTo>
                    <a:pt x="7" y="29"/>
                  </a:lnTo>
                  <a:lnTo>
                    <a:pt x="7" y="2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 138"/>
            <p:cNvSpPr>
              <a:spLocks noChangeAspect="1"/>
            </p:cNvSpPr>
            <p:nvPr/>
          </p:nvSpPr>
          <p:spPr bwMode="auto">
            <a:xfrm>
              <a:off x="3880029" y="4659940"/>
              <a:ext cx="26374" cy="28399"/>
            </a:xfrm>
            <a:custGeom>
              <a:avLst/>
              <a:gdLst/>
              <a:ahLst/>
              <a:cxnLst>
                <a:cxn ang="0">
                  <a:pos x="5" y="16"/>
                </a:cxn>
                <a:cxn ang="0">
                  <a:pos x="27" y="0"/>
                </a:cxn>
                <a:cxn ang="0">
                  <a:pos x="47" y="16"/>
                </a:cxn>
                <a:cxn ang="0">
                  <a:pos x="44" y="48"/>
                </a:cxn>
                <a:cxn ang="0">
                  <a:pos x="0" y="31"/>
                </a:cxn>
                <a:cxn ang="0">
                  <a:pos x="5" y="16"/>
                </a:cxn>
              </a:cxnLst>
              <a:rect l="0" t="0" r="r" b="b"/>
              <a:pathLst>
                <a:path w="47" h="48">
                  <a:moveTo>
                    <a:pt x="5" y="16"/>
                  </a:moveTo>
                  <a:lnTo>
                    <a:pt x="27" y="0"/>
                  </a:lnTo>
                  <a:lnTo>
                    <a:pt x="47" y="16"/>
                  </a:lnTo>
                  <a:lnTo>
                    <a:pt x="44" y="48"/>
                  </a:lnTo>
                  <a:lnTo>
                    <a:pt x="0" y="31"/>
                  </a:lnTo>
                  <a:lnTo>
                    <a:pt x="5" y="1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 139"/>
            <p:cNvSpPr>
              <a:spLocks noChangeAspect="1"/>
            </p:cNvSpPr>
            <p:nvPr/>
          </p:nvSpPr>
          <p:spPr bwMode="auto">
            <a:xfrm>
              <a:off x="3916952" y="4707864"/>
              <a:ext cx="35165" cy="21299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0" y="35"/>
                </a:cxn>
                <a:cxn ang="0">
                  <a:pos x="48" y="20"/>
                </a:cxn>
                <a:cxn ang="0">
                  <a:pos x="59" y="0"/>
                </a:cxn>
                <a:cxn ang="0">
                  <a:pos x="7" y="3"/>
                </a:cxn>
              </a:cxnLst>
              <a:rect l="0" t="0" r="r" b="b"/>
              <a:pathLst>
                <a:path w="59" h="35">
                  <a:moveTo>
                    <a:pt x="7" y="3"/>
                  </a:moveTo>
                  <a:lnTo>
                    <a:pt x="0" y="35"/>
                  </a:lnTo>
                  <a:lnTo>
                    <a:pt x="48" y="20"/>
                  </a:lnTo>
                  <a:lnTo>
                    <a:pt x="59" y="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 140"/>
            <p:cNvSpPr>
              <a:spLocks noChangeAspect="1"/>
            </p:cNvSpPr>
            <p:nvPr/>
          </p:nvSpPr>
          <p:spPr bwMode="auto">
            <a:xfrm>
              <a:off x="3941568" y="4670590"/>
              <a:ext cx="59780" cy="28399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56" y="0"/>
                </a:cxn>
                <a:cxn ang="0">
                  <a:pos x="103" y="19"/>
                </a:cxn>
                <a:cxn ang="0">
                  <a:pos x="68" y="46"/>
                </a:cxn>
                <a:cxn ang="0">
                  <a:pos x="9" y="35"/>
                </a:cxn>
                <a:cxn ang="0">
                  <a:pos x="0" y="7"/>
                </a:cxn>
              </a:cxnLst>
              <a:rect l="0" t="0" r="r" b="b"/>
              <a:pathLst>
                <a:path w="103" h="46">
                  <a:moveTo>
                    <a:pt x="0" y="7"/>
                  </a:moveTo>
                  <a:lnTo>
                    <a:pt x="56" y="0"/>
                  </a:lnTo>
                  <a:lnTo>
                    <a:pt x="103" y="19"/>
                  </a:lnTo>
                  <a:lnTo>
                    <a:pt x="68" y="46"/>
                  </a:lnTo>
                  <a:lnTo>
                    <a:pt x="9" y="3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 141"/>
            <p:cNvSpPr>
              <a:spLocks noChangeAspect="1"/>
            </p:cNvSpPr>
            <p:nvPr/>
          </p:nvSpPr>
          <p:spPr bwMode="auto">
            <a:xfrm>
              <a:off x="4018930" y="4707864"/>
              <a:ext cx="31648" cy="24849"/>
            </a:xfrm>
            <a:custGeom>
              <a:avLst/>
              <a:gdLst/>
              <a:ahLst/>
              <a:cxnLst>
                <a:cxn ang="0">
                  <a:pos x="55" y="0"/>
                </a:cxn>
                <a:cxn ang="0">
                  <a:pos x="20" y="3"/>
                </a:cxn>
                <a:cxn ang="0">
                  <a:pos x="0" y="40"/>
                </a:cxn>
                <a:cxn ang="0">
                  <a:pos x="28" y="40"/>
                </a:cxn>
                <a:cxn ang="0">
                  <a:pos x="55" y="16"/>
                </a:cxn>
                <a:cxn ang="0">
                  <a:pos x="55" y="0"/>
                </a:cxn>
              </a:cxnLst>
              <a:rect l="0" t="0" r="r" b="b"/>
              <a:pathLst>
                <a:path w="55" h="40">
                  <a:moveTo>
                    <a:pt x="55" y="0"/>
                  </a:moveTo>
                  <a:lnTo>
                    <a:pt x="20" y="3"/>
                  </a:lnTo>
                  <a:lnTo>
                    <a:pt x="0" y="40"/>
                  </a:lnTo>
                  <a:lnTo>
                    <a:pt x="28" y="40"/>
                  </a:lnTo>
                  <a:lnTo>
                    <a:pt x="55" y="16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 142"/>
            <p:cNvSpPr>
              <a:spLocks noChangeAspect="1"/>
            </p:cNvSpPr>
            <p:nvPr/>
          </p:nvSpPr>
          <p:spPr bwMode="auto">
            <a:xfrm>
              <a:off x="3626842" y="4202002"/>
              <a:ext cx="298901" cy="340792"/>
            </a:xfrm>
            <a:custGeom>
              <a:avLst/>
              <a:gdLst/>
              <a:ahLst/>
              <a:cxnLst>
                <a:cxn ang="0">
                  <a:pos x="108" y="281"/>
                </a:cxn>
                <a:cxn ang="0">
                  <a:pos x="13" y="278"/>
                </a:cxn>
                <a:cxn ang="0">
                  <a:pos x="0" y="352"/>
                </a:cxn>
                <a:cxn ang="0">
                  <a:pos x="33" y="373"/>
                </a:cxn>
                <a:cxn ang="0">
                  <a:pos x="37" y="428"/>
                </a:cxn>
                <a:cxn ang="0">
                  <a:pos x="75" y="435"/>
                </a:cxn>
                <a:cxn ang="0">
                  <a:pos x="83" y="503"/>
                </a:cxn>
                <a:cxn ang="0">
                  <a:pos x="107" y="507"/>
                </a:cxn>
                <a:cxn ang="0">
                  <a:pos x="127" y="535"/>
                </a:cxn>
                <a:cxn ang="0">
                  <a:pos x="195" y="551"/>
                </a:cxn>
                <a:cxn ang="0">
                  <a:pos x="217" y="519"/>
                </a:cxn>
                <a:cxn ang="0">
                  <a:pos x="258" y="527"/>
                </a:cxn>
                <a:cxn ang="0">
                  <a:pos x="281" y="575"/>
                </a:cxn>
                <a:cxn ang="0">
                  <a:pos x="340" y="570"/>
                </a:cxn>
                <a:cxn ang="0">
                  <a:pos x="352" y="531"/>
                </a:cxn>
                <a:cxn ang="0">
                  <a:pos x="376" y="492"/>
                </a:cxn>
                <a:cxn ang="0">
                  <a:pos x="376" y="448"/>
                </a:cxn>
                <a:cxn ang="0">
                  <a:pos x="416" y="413"/>
                </a:cxn>
                <a:cxn ang="0">
                  <a:pos x="436" y="337"/>
                </a:cxn>
                <a:cxn ang="0">
                  <a:pos x="475" y="321"/>
                </a:cxn>
                <a:cxn ang="0">
                  <a:pos x="475" y="273"/>
                </a:cxn>
                <a:cxn ang="0">
                  <a:pos x="431" y="242"/>
                </a:cxn>
                <a:cxn ang="0">
                  <a:pos x="428" y="162"/>
                </a:cxn>
                <a:cxn ang="0">
                  <a:pos x="468" y="134"/>
                </a:cxn>
                <a:cxn ang="0">
                  <a:pos x="511" y="99"/>
                </a:cxn>
                <a:cxn ang="0">
                  <a:pos x="500" y="51"/>
                </a:cxn>
                <a:cxn ang="0">
                  <a:pos x="445" y="40"/>
                </a:cxn>
                <a:cxn ang="0">
                  <a:pos x="413" y="27"/>
                </a:cxn>
                <a:cxn ang="0">
                  <a:pos x="358" y="0"/>
                </a:cxn>
                <a:cxn ang="0">
                  <a:pos x="349" y="40"/>
                </a:cxn>
                <a:cxn ang="0">
                  <a:pos x="314" y="60"/>
                </a:cxn>
                <a:cxn ang="0">
                  <a:pos x="301" y="115"/>
                </a:cxn>
                <a:cxn ang="0">
                  <a:pos x="263" y="134"/>
                </a:cxn>
                <a:cxn ang="0">
                  <a:pos x="219" y="165"/>
                </a:cxn>
                <a:cxn ang="0">
                  <a:pos x="196" y="213"/>
                </a:cxn>
                <a:cxn ang="0">
                  <a:pos x="139" y="209"/>
                </a:cxn>
                <a:cxn ang="0">
                  <a:pos x="128" y="253"/>
                </a:cxn>
                <a:cxn ang="0">
                  <a:pos x="108" y="281"/>
                </a:cxn>
              </a:cxnLst>
              <a:rect l="0" t="0" r="r" b="b"/>
              <a:pathLst>
                <a:path w="511" h="575">
                  <a:moveTo>
                    <a:pt x="108" y="281"/>
                  </a:moveTo>
                  <a:lnTo>
                    <a:pt x="13" y="278"/>
                  </a:lnTo>
                  <a:lnTo>
                    <a:pt x="0" y="352"/>
                  </a:lnTo>
                  <a:lnTo>
                    <a:pt x="33" y="373"/>
                  </a:lnTo>
                  <a:lnTo>
                    <a:pt x="37" y="428"/>
                  </a:lnTo>
                  <a:lnTo>
                    <a:pt x="75" y="435"/>
                  </a:lnTo>
                  <a:lnTo>
                    <a:pt x="83" y="503"/>
                  </a:lnTo>
                  <a:lnTo>
                    <a:pt x="107" y="507"/>
                  </a:lnTo>
                  <a:lnTo>
                    <a:pt x="127" y="535"/>
                  </a:lnTo>
                  <a:lnTo>
                    <a:pt x="195" y="551"/>
                  </a:lnTo>
                  <a:lnTo>
                    <a:pt x="217" y="519"/>
                  </a:lnTo>
                  <a:lnTo>
                    <a:pt x="258" y="527"/>
                  </a:lnTo>
                  <a:lnTo>
                    <a:pt x="281" y="575"/>
                  </a:lnTo>
                  <a:lnTo>
                    <a:pt x="340" y="570"/>
                  </a:lnTo>
                  <a:lnTo>
                    <a:pt x="352" y="531"/>
                  </a:lnTo>
                  <a:lnTo>
                    <a:pt x="376" y="492"/>
                  </a:lnTo>
                  <a:lnTo>
                    <a:pt x="376" y="448"/>
                  </a:lnTo>
                  <a:lnTo>
                    <a:pt x="416" y="413"/>
                  </a:lnTo>
                  <a:lnTo>
                    <a:pt x="436" y="337"/>
                  </a:lnTo>
                  <a:lnTo>
                    <a:pt x="475" y="321"/>
                  </a:lnTo>
                  <a:lnTo>
                    <a:pt x="475" y="273"/>
                  </a:lnTo>
                  <a:lnTo>
                    <a:pt x="431" y="242"/>
                  </a:lnTo>
                  <a:lnTo>
                    <a:pt x="428" y="162"/>
                  </a:lnTo>
                  <a:lnTo>
                    <a:pt x="468" y="134"/>
                  </a:lnTo>
                  <a:lnTo>
                    <a:pt x="511" y="99"/>
                  </a:lnTo>
                  <a:lnTo>
                    <a:pt x="500" y="51"/>
                  </a:lnTo>
                  <a:lnTo>
                    <a:pt x="445" y="40"/>
                  </a:lnTo>
                  <a:lnTo>
                    <a:pt x="413" y="27"/>
                  </a:lnTo>
                  <a:lnTo>
                    <a:pt x="358" y="0"/>
                  </a:lnTo>
                  <a:lnTo>
                    <a:pt x="349" y="40"/>
                  </a:lnTo>
                  <a:lnTo>
                    <a:pt x="314" y="60"/>
                  </a:lnTo>
                  <a:lnTo>
                    <a:pt x="301" y="115"/>
                  </a:lnTo>
                  <a:lnTo>
                    <a:pt x="263" y="134"/>
                  </a:lnTo>
                  <a:lnTo>
                    <a:pt x="219" y="165"/>
                  </a:lnTo>
                  <a:lnTo>
                    <a:pt x="196" y="213"/>
                  </a:lnTo>
                  <a:lnTo>
                    <a:pt x="139" y="209"/>
                  </a:lnTo>
                  <a:lnTo>
                    <a:pt x="128" y="253"/>
                  </a:lnTo>
                  <a:lnTo>
                    <a:pt x="108" y="28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 143"/>
            <p:cNvSpPr>
              <a:spLocks noChangeAspect="1"/>
            </p:cNvSpPr>
            <p:nvPr/>
          </p:nvSpPr>
          <p:spPr bwMode="auto">
            <a:xfrm>
              <a:off x="3895853" y="4359973"/>
              <a:ext cx="177583" cy="228969"/>
            </a:xfrm>
            <a:custGeom>
              <a:avLst/>
              <a:gdLst/>
              <a:ahLst/>
              <a:cxnLst>
                <a:cxn ang="0">
                  <a:pos x="76" y="51"/>
                </a:cxn>
                <a:cxn ang="0">
                  <a:pos x="68" y="114"/>
                </a:cxn>
                <a:cxn ang="0">
                  <a:pos x="44" y="142"/>
                </a:cxn>
                <a:cxn ang="0">
                  <a:pos x="37" y="189"/>
                </a:cxn>
                <a:cxn ang="0">
                  <a:pos x="0" y="213"/>
                </a:cxn>
                <a:cxn ang="0">
                  <a:pos x="0" y="296"/>
                </a:cxn>
                <a:cxn ang="0">
                  <a:pos x="41" y="316"/>
                </a:cxn>
                <a:cxn ang="0">
                  <a:pos x="48" y="371"/>
                </a:cxn>
                <a:cxn ang="0">
                  <a:pos x="88" y="379"/>
                </a:cxn>
                <a:cxn ang="0">
                  <a:pos x="103" y="289"/>
                </a:cxn>
                <a:cxn ang="0">
                  <a:pos x="135" y="281"/>
                </a:cxn>
                <a:cxn ang="0">
                  <a:pos x="131" y="351"/>
                </a:cxn>
                <a:cxn ang="0">
                  <a:pos x="167" y="364"/>
                </a:cxn>
                <a:cxn ang="0">
                  <a:pos x="179" y="388"/>
                </a:cxn>
                <a:cxn ang="0">
                  <a:pos x="219" y="379"/>
                </a:cxn>
                <a:cxn ang="0">
                  <a:pos x="214" y="328"/>
                </a:cxn>
                <a:cxn ang="0">
                  <a:pos x="159" y="226"/>
                </a:cxn>
                <a:cxn ang="0">
                  <a:pos x="186" y="202"/>
                </a:cxn>
                <a:cxn ang="0">
                  <a:pos x="214" y="150"/>
                </a:cxn>
                <a:cxn ang="0">
                  <a:pos x="195" y="130"/>
                </a:cxn>
                <a:cxn ang="0">
                  <a:pos x="162" y="147"/>
                </a:cxn>
                <a:cxn ang="0">
                  <a:pos x="131" y="162"/>
                </a:cxn>
                <a:cxn ang="0">
                  <a:pos x="112" y="103"/>
                </a:cxn>
                <a:cxn ang="0">
                  <a:pos x="103" y="48"/>
                </a:cxn>
                <a:cxn ang="0">
                  <a:pos x="127" y="55"/>
                </a:cxn>
                <a:cxn ang="0">
                  <a:pos x="155" y="75"/>
                </a:cxn>
                <a:cxn ang="0">
                  <a:pos x="203" y="68"/>
                </a:cxn>
                <a:cxn ang="0">
                  <a:pos x="226" y="83"/>
                </a:cxn>
                <a:cxn ang="0">
                  <a:pos x="278" y="68"/>
                </a:cxn>
                <a:cxn ang="0">
                  <a:pos x="305" y="51"/>
                </a:cxn>
                <a:cxn ang="0">
                  <a:pos x="293" y="0"/>
                </a:cxn>
                <a:cxn ang="0">
                  <a:pos x="265" y="0"/>
                </a:cxn>
                <a:cxn ang="0">
                  <a:pos x="246" y="35"/>
                </a:cxn>
                <a:cxn ang="0">
                  <a:pos x="144" y="27"/>
                </a:cxn>
                <a:cxn ang="0">
                  <a:pos x="85" y="31"/>
                </a:cxn>
                <a:cxn ang="0">
                  <a:pos x="76" y="51"/>
                </a:cxn>
              </a:cxnLst>
              <a:rect l="0" t="0" r="r" b="b"/>
              <a:pathLst>
                <a:path w="305" h="388">
                  <a:moveTo>
                    <a:pt x="76" y="51"/>
                  </a:moveTo>
                  <a:lnTo>
                    <a:pt x="68" y="114"/>
                  </a:lnTo>
                  <a:lnTo>
                    <a:pt x="44" y="142"/>
                  </a:lnTo>
                  <a:lnTo>
                    <a:pt x="37" y="189"/>
                  </a:lnTo>
                  <a:lnTo>
                    <a:pt x="0" y="213"/>
                  </a:lnTo>
                  <a:lnTo>
                    <a:pt x="0" y="296"/>
                  </a:lnTo>
                  <a:lnTo>
                    <a:pt x="41" y="316"/>
                  </a:lnTo>
                  <a:lnTo>
                    <a:pt x="48" y="371"/>
                  </a:lnTo>
                  <a:lnTo>
                    <a:pt x="88" y="379"/>
                  </a:lnTo>
                  <a:lnTo>
                    <a:pt x="103" y="289"/>
                  </a:lnTo>
                  <a:lnTo>
                    <a:pt x="135" y="281"/>
                  </a:lnTo>
                  <a:lnTo>
                    <a:pt x="131" y="351"/>
                  </a:lnTo>
                  <a:lnTo>
                    <a:pt x="167" y="364"/>
                  </a:lnTo>
                  <a:lnTo>
                    <a:pt x="179" y="388"/>
                  </a:lnTo>
                  <a:lnTo>
                    <a:pt x="219" y="379"/>
                  </a:lnTo>
                  <a:lnTo>
                    <a:pt x="214" y="328"/>
                  </a:lnTo>
                  <a:lnTo>
                    <a:pt x="159" y="226"/>
                  </a:lnTo>
                  <a:lnTo>
                    <a:pt x="186" y="202"/>
                  </a:lnTo>
                  <a:lnTo>
                    <a:pt x="214" y="150"/>
                  </a:lnTo>
                  <a:lnTo>
                    <a:pt x="195" y="130"/>
                  </a:lnTo>
                  <a:lnTo>
                    <a:pt x="162" y="147"/>
                  </a:lnTo>
                  <a:lnTo>
                    <a:pt x="131" y="162"/>
                  </a:lnTo>
                  <a:lnTo>
                    <a:pt x="112" y="103"/>
                  </a:lnTo>
                  <a:lnTo>
                    <a:pt x="103" y="48"/>
                  </a:lnTo>
                  <a:lnTo>
                    <a:pt x="127" y="55"/>
                  </a:lnTo>
                  <a:lnTo>
                    <a:pt x="155" y="75"/>
                  </a:lnTo>
                  <a:lnTo>
                    <a:pt x="203" y="68"/>
                  </a:lnTo>
                  <a:lnTo>
                    <a:pt x="226" y="83"/>
                  </a:lnTo>
                  <a:lnTo>
                    <a:pt x="278" y="68"/>
                  </a:lnTo>
                  <a:lnTo>
                    <a:pt x="305" y="51"/>
                  </a:lnTo>
                  <a:lnTo>
                    <a:pt x="293" y="0"/>
                  </a:lnTo>
                  <a:lnTo>
                    <a:pt x="265" y="0"/>
                  </a:lnTo>
                  <a:lnTo>
                    <a:pt x="246" y="35"/>
                  </a:lnTo>
                  <a:lnTo>
                    <a:pt x="144" y="27"/>
                  </a:lnTo>
                  <a:lnTo>
                    <a:pt x="85" y="31"/>
                  </a:lnTo>
                  <a:lnTo>
                    <a:pt x="76" y="5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 144"/>
            <p:cNvSpPr>
              <a:spLocks noChangeAspect="1"/>
            </p:cNvSpPr>
            <p:nvPr/>
          </p:nvSpPr>
          <p:spPr bwMode="auto">
            <a:xfrm>
              <a:off x="3438710" y="3964158"/>
              <a:ext cx="151209" cy="134897"/>
            </a:xfrm>
            <a:custGeom>
              <a:avLst/>
              <a:gdLst/>
              <a:ahLst/>
              <a:cxnLst>
                <a:cxn ang="0">
                  <a:pos x="107" y="189"/>
                </a:cxn>
                <a:cxn ang="0">
                  <a:pos x="48" y="206"/>
                </a:cxn>
                <a:cxn ang="0">
                  <a:pos x="40" y="130"/>
                </a:cxn>
                <a:cxn ang="0">
                  <a:pos x="0" y="99"/>
                </a:cxn>
                <a:cxn ang="0">
                  <a:pos x="20" y="44"/>
                </a:cxn>
                <a:cxn ang="0">
                  <a:pos x="64" y="0"/>
                </a:cxn>
                <a:cxn ang="0">
                  <a:pos x="107" y="27"/>
                </a:cxn>
                <a:cxn ang="0">
                  <a:pos x="154" y="20"/>
                </a:cxn>
                <a:cxn ang="0">
                  <a:pos x="186" y="55"/>
                </a:cxn>
                <a:cxn ang="0">
                  <a:pos x="234" y="20"/>
                </a:cxn>
                <a:cxn ang="0">
                  <a:pos x="254" y="35"/>
                </a:cxn>
                <a:cxn ang="0">
                  <a:pos x="257" y="123"/>
                </a:cxn>
                <a:cxn ang="0">
                  <a:pos x="226" y="147"/>
                </a:cxn>
                <a:cxn ang="0">
                  <a:pos x="182" y="189"/>
                </a:cxn>
                <a:cxn ang="0">
                  <a:pos x="139" y="226"/>
                </a:cxn>
                <a:cxn ang="0">
                  <a:pos x="107" y="189"/>
                </a:cxn>
              </a:cxnLst>
              <a:rect l="0" t="0" r="r" b="b"/>
              <a:pathLst>
                <a:path w="257" h="226">
                  <a:moveTo>
                    <a:pt x="107" y="189"/>
                  </a:moveTo>
                  <a:lnTo>
                    <a:pt x="48" y="206"/>
                  </a:lnTo>
                  <a:lnTo>
                    <a:pt x="40" y="130"/>
                  </a:lnTo>
                  <a:lnTo>
                    <a:pt x="0" y="99"/>
                  </a:lnTo>
                  <a:lnTo>
                    <a:pt x="20" y="44"/>
                  </a:lnTo>
                  <a:lnTo>
                    <a:pt x="64" y="0"/>
                  </a:lnTo>
                  <a:lnTo>
                    <a:pt x="107" y="27"/>
                  </a:lnTo>
                  <a:lnTo>
                    <a:pt x="154" y="20"/>
                  </a:lnTo>
                  <a:lnTo>
                    <a:pt x="186" y="55"/>
                  </a:lnTo>
                  <a:lnTo>
                    <a:pt x="234" y="20"/>
                  </a:lnTo>
                  <a:lnTo>
                    <a:pt x="254" y="35"/>
                  </a:lnTo>
                  <a:lnTo>
                    <a:pt x="257" y="123"/>
                  </a:lnTo>
                  <a:lnTo>
                    <a:pt x="226" y="147"/>
                  </a:lnTo>
                  <a:lnTo>
                    <a:pt x="182" y="189"/>
                  </a:lnTo>
                  <a:lnTo>
                    <a:pt x="139" y="226"/>
                  </a:lnTo>
                  <a:lnTo>
                    <a:pt x="107" y="18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 145"/>
            <p:cNvSpPr>
              <a:spLocks noChangeAspect="1"/>
            </p:cNvSpPr>
            <p:nvPr/>
          </p:nvSpPr>
          <p:spPr bwMode="auto">
            <a:xfrm>
              <a:off x="3433435" y="3692589"/>
              <a:ext cx="202198" cy="468588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27" y="111"/>
                </a:cxn>
                <a:cxn ang="0">
                  <a:pos x="106" y="139"/>
                </a:cxn>
                <a:cxn ang="0">
                  <a:pos x="114" y="170"/>
                </a:cxn>
                <a:cxn ang="0">
                  <a:pos x="103" y="221"/>
                </a:cxn>
                <a:cxn ang="0">
                  <a:pos x="134" y="258"/>
                </a:cxn>
                <a:cxn ang="0">
                  <a:pos x="206" y="360"/>
                </a:cxn>
                <a:cxn ang="0">
                  <a:pos x="245" y="388"/>
                </a:cxn>
                <a:cxn ang="0">
                  <a:pos x="245" y="479"/>
                </a:cxn>
                <a:cxn ang="0">
                  <a:pos x="265" y="494"/>
                </a:cxn>
                <a:cxn ang="0">
                  <a:pos x="268" y="582"/>
                </a:cxn>
                <a:cxn ang="0">
                  <a:pos x="237" y="606"/>
                </a:cxn>
                <a:cxn ang="0">
                  <a:pos x="193" y="648"/>
                </a:cxn>
                <a:cxn ang="0">
                  <a:pos x="150" y="685"/>
                </a:cxn>
                <a:cxn ang="0">
                  <a:pos x="169" y="712"/>
                </a:cxn>
                <a:cxn ang="0">
                  <a:pos x="145" y="744"/>
                </a:cxn>
                <a:cxn ang="0">
                  <a:pos x="162" y="792"/>
                </a:cxn>
                <a:cxn ang="0">
                  <a:pos x="245" y="727"/>
                </a:cxn>
                <a:cxn ang="0">
                  <a:pos x="316" y="665"/>
                </a:cxn>
                <a:cxn ang="0">
                  <a:pos x="335" y="637"/>
                </a:cxn>
                <a:cxn ang="0">
                  <a:pos x="347" y="518"/>
                </a:cxn>
                <a:cxn ang="0">
                  <a:pos x="324" y="416"/>
                </a:cxn>
                <a:cxn ang="0">
                  <a:pos x="257" y="344"/>
                </a:cxn>
                <a:cxn ang="0">
                  <a:pos x="178" y="253"/>
                </a:cxn>
                <a:cxn ang="0">
                  <a:pos x="178" y="190"/>
                </a:cxn>
                <a:cxn ang="0">
                  <a:pos x="201" y="162"/>
                </a:cxn>
                <a:cxn ang="0">
                  <a:pos x="257" y="124"/>
                </a:cxn>
                <a:cxn ang="0">
                  <a:pos x="189" y="24"/>
                </a:cxn>
                <a:cxn ang="0">
                  <a:pos x="118" y="0"/>
                </a:cxn>
                <a:cxn ang="0">
                  <a:pos x="71" y="0"/>
                </a:cxn>
                <a:cxn ang="0">
                  <a:pos x="0" y="41"/>
                </a:cxn>
              </a:cxnLst>
              <a:rect l="0" t="0" r="r" b="b"/>
              <a:pathLst>
                <a:path w="347" h="792">
                  <a:moveTo>
                    <a:pt x="0" y="41"/>
                  </a:moveTo>
                  <a:lnTo>
                    <a:pt x="27" y="111"/>
                  </a:lnTo>
                  <a:lnTo>
                    <a:pt x="106" y="139"/>
                  </a:lnTo>
                  <a:lnTo>
                    <a:pt x="114" y="170"/>
                  </a:lnTo>
                  <a:lnTo>
                    <a:pt x="103" y="221"/>
                  </a:lnTo>
                  <a:lnTo>
                    <a:pt x="134" y="258"/>
                  </a:lnTo>
                  <a:lnTo>
                    <a:pt x="206" y="360"/>
                  </a:lnTo>
                  <a:lnTo>
                    <a:pt x="245" y="388"/>
                  </a:lnTo>
                  <a:lnTo>
                    <a:pt x="245" y="479"/>
                  </a:lnTo>
                  <a:lnTo>
                    <a:pt x="265" y="494"/>
                  </a:lnTo>
                  <a:lnTo>
                    <a:pt x="268" y="582"/>
                  </a:lnTo>
                  <a:lnTo>
                    <a:pt x="237" y="606"/>
                  </a:lnTo>
                  <a:lnTo>
                    <a:pt x="193" y="648"/>
                  </a:lnTo>
                  <a:lnTo>
                    <a:pt x="150" y="685"/>
                  </a:lnTo>
                  <a:lnTo>
                    <a:pt x="169" y="712"/>
                  </a:lnTo>
                  <a:lnTo>
                    <a:pt x="145" y="744"/>
                  </a:lnTo>
                  <a:lnTo>
                    <a:pt x="162" y="792"/>
                  </a:lnTo>
                  <a:lnTo>
                    <a:pt x="245" y="727"/>
                  </a:lnTo>
                  <a:lnTo>
                    <a:pt x="316" y="665"/>
                  </a:lnTo>
                  <a:lnTo>
                    <a:pt x="335" y="637"/>
                  </a:lnTo>
                  <a:lnTo>
                    <a:pt x="347" y="518"/>
                  </a:lnTo>
                  <a:lnTo>
                    <a:pt x="324" y="416"/>
                  </a:lnTo>
                  <a:lnTo>
                    <a:pt x="257" y="344"/>
                  </a:lnTo>
                  <a:lnTo>
                    <a:pt x="178" y="253"/>
                  </a:lnTo>
                  <a:lnTo>
                    <a:pt x="178" y="190"/>
                  </a:lnTo>
                  <a:lnTo>
                    <a:pt x="201" y="162"/>
                  </a:lnTo>
                  <a:lnTo>
                    <a:pt x="257" y="124"/>
                  </a:lnTo>
                  <a:lnTo>
                    <a:pt x="189" y="24"/>
                  </a:lnTo>
                  <a:lnTo>
                    <a:pt x="118" y="0"/>
                  </a:lnTo>
                  <a:lnTo>
                    <a:pt x="71" y="0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 146"/>
            <p:cNvSpPr>
              <a:spLocks noChangeAspect="1"/>
            </p:cNvSpPr>
            <p:nvPr/>
          </p:nvSpPr>
          <p:spPr bwMode="auto">
            <a:xfrm>
              <a:off x="4300249" y="4457595"/>
              <a:ext cx="265495" cy="241394"/>
            </a:xfrm>
            <a:custGeom>
              <a:avLst/>
              <a:gdLst/>
              <a:ahLst/>
              <a:cxnLst>
                <a:cxn ang="0">
                  <a:pos x="397" y="77"/>
                </a:cxn>
                <a:cxn ang="0">
                  <a:pos x="348" y="60"/>
                </a:cxn>
                <a:cxn ang="0">
                  <a:pos x="254" y="20"/>
                </a:cxn>
                <a:cxn ang="0">
                  <a:pos x="226" y="0"/>
                </a:cxn>
                <a:cxn ang="0">
                  <a:pos x="175" y="12"/>
                </a:cxn>
                <a:cxn ang="0">
                  <a:pos x="127" y="64"/>
                </a:cxn>
                <a:cxn ang="0">
                  <a:pos x="72" y="95"/>
                </a:cxn>
                <a:cxn ang="0">
                  <a:pos x="20" y="103"/>
                </a:cxn>
                <a:cxn ang="0">
                  <a:pos x="0" y="110"/>
                </a:cxn>
                <a:cxn ang="0">
                  <a:pos x="20" y="146"/>
                </a:cxn>
                <a:cxn ang="0">
                  <a:pos x="68" y="138"/>
                </a:cxn>
                <a:cxn ang="0">
                  <a:pos x="131" y="174"/>
                </a:cxn>
                <a:cxn ang="0">
                  <a:pos x="175" y="202"/>
                </a:cxn>
                <a:cxn ang="0">
                  <a:pos x="217" y="241"/>
                </a:cxn>
                <a:cxn ang="0">
                  <a:pos x="222" y="292"/>
                </a:cxn>
                <a:cxn ang="0">
                  <a:pos x="210" y="316"/>
                </a:cxn>
                <a:cxn ang="0">
                  <a:pos x="171" y="332"/>
                </a:cxn>
                <a:cxn ang="0">
                  <a:pos x="178" y="371"/>
                </a:cxn>
                <a:cxn ang="0">
                  <a:pos x="237" y="367"/>
                </a:cxn>
                <a:cxn ang="0">
                  <a:pos x="293" y="367"/>
                </a:cxn>
                <a:cxn ang="0">
                  <a:pos x="313" y="391"/>
                </a:cxn>
                <a:cxn ang="0">
                  <a:pos x="352" y="406"/>
                </a:cxn>
                <a:cxn ang="0">
                  <a:pos x="407" y="388"/>
                </a:cxn>
                <a:cxn ang="0">
                  <a:pos x="431" y="344"/>
                </a:cxn>
                <a:cxn ang="0">
                  <a:pos x="452" y="311"/>
                </a:cxn>
                <a:cxn ang="0">
                  <a:pos x="397" y="77"/>
                </a:cxn>
              </a:cxnLst>
              <a:rect l="0" t="0" r="r" b="b"/>
              <a:pathLst>
                <a:path w="452" h="406">
                  <a:moveTo>
                    <a:pt x="397" y="77"/>
                  </a:moveTo>
                  <a:lnTo>
                    <a:pt x="348" y="60"/>
                  </a:lnTo>
                  <a:lnTo>
                    <a:pt x="254" y="20"/>
                  </a:lnTo>
                  <a:lnTo>
                    <a:pt x="226" y="0"/>
                  </a:lnTo>
                  <a:lnTo>
                    <a:pt x="175" y="12"/>
                  </a:lnTo>
                  <a:lnTo>
                    <a:pt x="127" y="64"/>
                  </a:lnTo>
                  <a:lnTo>
                    <a:pt x="72" y="95"/>
                  </a:lnTo>
                  <a:lnTo>
                    <a:pt x="20" y="103"/>
                  </a:lnTo>
                  <a:lnTo>
                    <a:pt x="0" y="110"/>
                  </a:lnTo>
                  <a:lnTo>
                    <a:pt x="20" y="146"/>
                  </a:lnTo>
                  <a:lnTo>
                    <a:pt x="68" y="138"/>
                  </a:lnTo>
                  <a:lnTo>
                    <a:pt x="131" y="174"/>
                  </a:lnTo>
                  <a:lnTo>
                    <a:pt x="175" y="202"/>
                  </a:lnTo>
                  <a:lnTo>
                    <a:pt x="217" y="241"/>
                  </a:lnTo>
                  <a:lnTo>
                    <a:pt x="222" y="292"/>
                  </a:lnTo>
                  <a:lnTo>
                    <a:pt x="210" y="316"/>
                  </a:lnTo>
                  <a:lnTo>
                    <a:pt x="171" y="332"/>
                  </a:lnTo>
                  <a:lnTo>
                    <a:pt x="178" y="371"/>
                  </a:lnTo>
                  <a:lnTo>
                    <a:pt x="237" y="367"/>
                  </a:lnTo>
                  <a:lnTo>
                    <a:pt x="293" y="367"/>
                  </a:lnTo>
                  <a:lnTo>
                    <a:pt x="313" y="391"/>
                  </a:lnTo>
                  <a:lnTo>
                    <a:pt x="352" y="406"/>
                  </a:lnTo>
                  <a:lnTo>
                    <a:pt x="407" y="388"/>
                  </a:lnTo>
                  <a:lnTo>
                    <a:pt x="431" y="344"/>
                  </a:lnTo>
                  <a:lnTo>
                    <a:pt x="452" y="311"/>
                  </a:lnTo>
                  <a:lnTo>
                    <a:pt x="397" y="7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 147"/>
            <p:cNvSpPr>
              <a:spLocks noChangeAspect="1"/>
            </p:cNvSpPr>
            <p:nvPr/>
          </p:nvSpPr>
          <p:spPr bwMode="auto">
            <a:xfrm>
              <a:off x="4124425" y="4328024"/>
              <a:ext cx="47473" cy="97623"/>
            </a:xfrm>
            <a:custGeom>
              <a:avLst/>
              <a:gdLst/>
              <a:ahLst/>
              <a:cxnLst>
                <a:cxn ang="0">
                  <a:pos x="40" y="67"/>
                </a:cxn>
                <a:cxn ang="0">
                  <a:pos x="0" y="86"/>
                </a:cxn>
                <a:cxn ang="0">
                  <a:pos x="13" y="134"/>
                </a:cxn>
                <a:cxn ang="0">
                  <a:pos x="59" y="165"/>
                </a:cxn>
                <a:cxn ang="0">
                  <a:pos x="75" y="99"/>
                </a:cxn>
                <a:cxn ang="0">
                  <a:pos x="79" y="43"/>
                </a:cxn>
                <a:cxn ang="0">
                  <a:pos x="63" y="0"/>
                </a:cxn>
                <a:cxn ang="0">
                  <a:pos x="40" y="20"/>
                </a:cxn>
                <a:cxn ang="0">
                  <a:pos x="40" y="67"/>
                </a:cxn>
              </a:cxnLst>
              <a:rect l="0" t="0" r="r" b="b"/>
              <a:pathLst>
                <a:path w="79" h="165">
                  <a:moveTo>
                    <a:pt x="40" y="67"/>
                  </a:moveTo>
                  <a:lnTo>
                    <a:pt x="0" y="86"/>
                  </a:lnTo>
                  <a:lnTo>
                    <a:pt x="13" y="134"/>
                  </a:lnTo>
                  <a:lnTo>
                    <a:pt x="59" y="165"/>
                  </a:lnTo>
                  <a:lnTo>
                    <a:pt x="75" y="99"/>
                  </a:lnTo>
                  <a:lnTo>
                    <a:pt x="79" y="43"/>
                  </a:lnTo>
                  <a:lnTo>
                    <a:pt x="63" y="0"/>
                  </a:lnTo>
                  <a:lnTo>
                    <a:pt x="40" y="20"/>
                  </a:lnTo>
                  <a:lnTo>
                    <a:pt x="40" y="6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Freeform 148"/>
            <p:cNvSpPr>
              <a:spLocks noChangeAspect="1"/>
            </p:cNvSpPr>
            <p:nvPr/>
          </p:nvSpPr>
          <p:spPr bwMode="auto">
            <a:xfrm>
              <a:off x="4161348" y="4493094"/>
              <a:ext cx="66813" cy="33724"/>
            </a:xfrm>
            <a:custGeom>
              <a:avLst/>
              <a:gdLst/>
              <a:ahLst/>
              <a:cxnLst>
                <a:cxn ang="0">
                  <a:pos x="12" y="11"/>
                </a:cxn>
                <a:cxn ang="0">
                  <a:pos x="51" y="0"/>
                </a:cxn>
                <a:cxn ang="0">
                  <a:pos x="84" y="0"/>
                </a:cxn>
                <a:cxn ang="0">
                  <a:pos x="107" y="31"/>
                </a:cxn>
                <a:cxn ang="0">
                  <a:pos x="112" y="55"/>
                </a:cxn>
                <a:cxn ang="0">
                  <a:pos x="75" y="39"/>
                </a:cxn>
                <a:cxn ang="0">
                  <a:pos x="40" y="31"/>
                </a:cxn>
                <a:cxn ang="0">
                  <a:pos x="0" y="39"/>
                </a:cxn>
                <a:cxn ang="0">
                  <a:pos x="12" y="11"/>
                </a:cxn>
              </a:cxnLst>
              <a:rect l="0" t="0" r="r" b="b"/>
              <a:pathLst>
                <a:path w="112" h="55">
                  <a:moveTo>
                    <a:pt x="12" y="11"/>
                  </a:moveTo>
                  <a:lnTo>
                    <a:pt x="51" y="0"/>
                  </a:lnTo>
                  <a:lnTo>
                    <a:pt x="84" y="0"/>
                  </a:lnTo>
                  <a:lnTo>
                    <a:pt x="107" y="31"/>
                  </a:lnTo>
                  <a:lnTo>
                    <a:pt x="112" y="55"/>
                  </a:lnTo>
                  <a:lnTo>
                    <a:pt x="75" y="39"/>
                  </a:lnTo>
                  <a:lnTo>
                    <a:pt x="40" y="31"/>
                  </a:lnTo>
                  <a:lnTo>
                    <a:pt x="0" y="39"/>
                  </a:lnTo>
                  <a:lnTo>
                    <a:pt x="12" y="1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Freeform 149"/>
            <p:cNvSpPr>
              <a:spLocks noChangeAspect="1"/>
            </p:cNvSpPr>
            <p:nvPr/>
          </p:nvSpPr>
          <p:spPr bwMode="auto">
            <a:xfrm>
              <a:off x="4064645" y="4466470"/>
              <a:ext cx="49231" cy="8875"/>
            </a:xfrm>
            <a:custGeom>
              <a:avLst/>
              <a:gdLst/>
              <a:ahLst/>
              <a:cxnLst>
                <a:cxn ang="0">
                  <a:pos x="42" y="17"/>
                </a:cxn>
                <a:cxn ang="0">
                  <a:pos x="42" y="17"/>
                </a:cxn>
                <a:cxn ang="0">
                  <a:pos x="25" y="17"/>
                </a:cxn>
                <a:cxn ang="0">
                  <a:pos x="13" y="14"/>
                </a:cxn>
                <a:cxn ang="0">
                  <a:pos x="3" y="12"/>
                </a:cxn>
                <a:cxn ang="0">
                  <a:pos x="1" y="10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1" y="7"/>
                </a:cxn>
                <a:cxn ang="0">
                  <a:pos x="3" y="5"/>
                </a:cxn>
                <a:cxn ang="0">
                  <a:pos x="13" y="3"/>
                </a:cxn>
                <a:cxn ang="0">
                  <a:pos x="25" y="0"/>
                </a:cxn>
                <a:cxn ang="0">
                  <a:pos x="42" y="0"/>
                </a:cxn>
                <a:cxn ang="0">
                  <a:pos x="42" y="0"/>
                </a:cxn>
                <a:cxn ang="0">
                  <a:pos x="58" y="0"/>
                </a:cxn>
                <a:cxn ang="0">
                  <a:pos x="72" y="3"/>
                </a:cxn>
                <a:cxn ang="0">
                  <a:pos x="81" y="5"/>
                </a:cxn>
                <a:cxn ang="0">
                  <a:pos x="83" y="7"/>
                </a:cxn>
                <a:cxn ang="0">
                  <a:pos x="84" y="9"/>
                </a:cxn>
                <a:cxn ang="0">
                  <a:pos x="84" y="9"/>
                </a:cxn>
                <a:cxn ang="0">
                  <a:pos x="83" y="10"/>
                </a:cxn>
                <a:cxn ang="0">
                  <a:pos x="81" y="12"/>
                </a:cxn>
                <a:cxn ang="0">
                  <a:pos x="72" y="14"/>
                </a:cxn>
                <a:cxn ang="0">
                  <a:pos x="58" y="17"/>
                </a:cxn>
                <a:cxn ang="0">
                  <a:pos x="42" y="17"/>
                </a:cxn>
                <a:cxn ang="0">
                  <a:pos x="42" y="17"/>
                </a:cxn>
              </a:cxnLst>
              <a:rect l="0" t="0" r="r" b="b"/>
              <a:pathLst>
                <a:path w="84" h="17">
                  <a:moveTo>
                    <a:pt x="42" y="17"/>
                  </a:moveTo>
                  <a:lnTo>
                    <a:pt x="42" y="17"/>
                  </a:lnTo>
                  <a:lnTo>
                    <a:pt x="25" y="17"/>
                  </a:lnTo>
                  <a:lnTo>
                    <a:pt x="13" y="14"/>
                  </a:lnTo>
                  <a:lnTo>
                    <a:pt x="3" y="12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7"/>
                  </a:lnTo>
                  <a:lnTo>
                    <a:pt x="3" y="5"/>
                  </a:lnTo>
                  <a:lnTo>
                    <a:pt x="13" y="3"/>
                  </a:lnTo>
                  <a:lnTo>
                    <a:pt x="25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8" y="0"/>
                  </a:lnTo>
                  <a:lnTo>
                    <a:pt x="72" y="3"/>
                  </a:lnTo>
                  <a:lnTo>
                    <a:pt x="81" y="5"/>
                  </a:lnTo>
                  <a:lnTo>
                    <a:pt x="83" y="7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3" y="10"/>
                  </a:lnTo>
                  <a:lnTo>
                    <a:pt x="81" y="12"/>
                  </a:lnTo>
                  <a:lnTo>
                    <a:pt x="72" y="14"/>
                  </a:lnTo>
                  <a:lnTo>
                    <a:pt x="58" y="17"/>
                  </a:lnTo>
                  <a:lnTo>
                    <a:pt x="42" y="17"/>
                  </a:lnTo>
                  <a:lnTo>
                    <a:pt x="42" y="1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Freeform 150"/>
            <p:cNvSpPr>
              <a:spLocks noChangeAspect="1"/>
            </p:cNvSpPr>
            <p:nvPr/>
          </p:nvSpPr>
          <p:spPr bwMode="auto">
            <a:xfrm>
              <a:off x="4314315" y="4436296"/>
              <a:ext cx="66813" cy="46149"/>
            </a:xfrm>
            <a:custGeom>
              <a:avLst/>
              <a:gdLst/>
              <a:ahLst/>
              <a:cxnLst>
                <a:cxn ang="0">
                  <a:pos x="44" y="72"/>
                </a:cxn>
                <a:cxn ang="0">
                  <a:pos x="0" y="76"/>
                </a:cxn>
                <a:cxn ang="0">
                  <a:pos x="8" y="39"/>
                </a:cxn>
                <a:cxn ang="0">
                  <a:pos x="28" y="0"/>
                </a:cxn>
                <a:cxn ang="0">
                  <a:pos x="75" y="8"/>
                </a:cxn>
                <a:cxn ang="0">
                  <a:pos x="114" y="20"/>
                </a:cxn>
                <a:cxn ang="0">
                  <a:pos x="103" y="48"/>
                </a:cxn>
                <a:cxn ang="0">
                  <a:pos x="72" y="76"/>
                </a:cxn>
                <a:cxn ang="0">
                  <a:pos x="44" y="72"/>
                </a:cxn>
              </a:cxnLst>
              <a:rect l="0" t="0" r="r" b="b"/>
              <a:pathLst>
                <a:path w="114" h="76">
                  <a:moveTo>
                    <a:pt x="44" y="72"/>
                  </a:moveTo>
                  <a:lnTo>
                    <a:pt x="0" y="76"/>
                  </a:lnTo>
                  <a:lnTo>
                    <a:pt x="8" y="39"/>
                  </a:lnTo>
                  <a:lnTo>
                    <a:pt x="28" y="0"/>
                  </a:lnTo>
                  <a:lnTo>
                    <a:pt x="75" y="8"/>
                  </a:lnTo>
                  <a:lnTo>
                    <a:pt x="114" y="20"/>
                  </a:lnTo>
                  <a:lnTo>
                    <a:pt x="103" y="48"/>
                  </a:lnTo>
                  <a:lnTo>
                    <a:pt x="72" y="76"/>
                  </a:lnTo>
                  <a:lnTo>
                    <a:pt x="44" y="7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Freeform 151"/>
            <p:cNvSpPr>
              <a:spLocks noChangeAspect="1"/>
            </p:cNvSpPr>
            <p:nvPr/>
          </p:nvSpPr>
          <p:spPr bwMode="auto">
            <a:xfrm>
              <a:off x="3605743" y="3793762"/>
              <a:ext cx="50989" cy="76323"/>
            </a:xfrm>
            <a:custGeom>
              <a:avLst/>
              <a:gdLst/>
              <a:ahLst/>
              <a:cxnLst>
                <a:cxn ang="0">
                  <a:pos x="28" y="27"/>
                </a:cxn>
                <a:cxn ang="0">
                  <a:pos x="0" y="70"/>
                </a:cxn>
                <a:cxn ang="0">
                  <a:pos x="4" y="129"/>
                </a:cxn>
                <a:cxn ang="0">
                  <a:pos x="44" y="129"/>
                </a:cxn>
                <a:cxn ang="0">
                  <a:pos x="87" y="74"/>
                </a:cxn>
                <a:cxn ang="0">
                  <a:pos x="59" y="0"/>
                </a:cxn>
                <a:cxn ang="0">
                  <a:pos x="28" y="27"/>
                </a:cxn>
              </a:cxnLst>
              <a:rect l="0" t="0" r="r" b="b"/>
              <a:pathLst>
                <a:path w="87" h="129">
                  <a:moveTo>
                    <a:pt x="28" y="27"/>
                  </a:moveTo>
                  <a:lnTo>
                    <a:pt x="0" y="70"/>
                  </a:lnTo>
                  <a:lnTo>
                    <a:pt x="4" y="129"/>
                  </a:lnTo>
                  <a:lnTo>
                    <a:pt x="44" y="129"/>
                  </a:lnTo>
                  <a:lnTo>
                    <a:pt x="87" y="74"/>
                  </a:lnTo>
                  <a:lnTo>
                    <a:pt x="59" y="0"/>
                  </a:lnTo>
                  <a:lnTo>
                    <a:pt x="28" y="2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2" name="Freeform 152"/>
            <p:cNvSpPr>
              <a:spLocks noChangeAspect="1"/>
            </p:cNvSpPr>
            <p:nvPr/>
          </p:nvSpPr>
          <p:spPr bwMode="auto">
            <a:xfrm>
              <a:off x="3802666" y="4226851"/>
              <a:ext cx="33407" cy="44374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13" y="20"/>
                </a:cxn>
                <a:cxn ang="0">
                  <a:pos x="0" y="75"/>
                </a:cxn>
                <a:cxn ang="0">
                  <a:pos x="43" y="53"/>
                </a:cxn>
                <a:cxn ang="0">
                  <a:pos x="56" y="25"/>
                </a:cxn>
                <a:cxn ang="0">
                  <a:pos x="48" y="0"/>
                </a:cxn>
              </a:cxnLst>
              <a:rect l="0" t="0" r="r" b="b"/>
              <a:pathLst>
                <a:path w="56" h="75">
                  <a:moveTo>
                    <a:pt x="48" y="0"/>
                  </a:moveTo>
                  <a:lnTo>
                    <a:pt x="13" y="20"/>
                  </a:lnTo>
                  <a:lnTo>
                    <a:pt x="0" y="75"/>
                  </a:lnTo>
                  <a:lnTo>
                    <a:pt x="43" y="53"/>
                  </a:lnTo>
                  <a:lnTo>
                    <a:pt x="56" y="25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3" name="Freeform 153"/>
            <p:cNvSpPr>
              <a:spLocks noChangeAspect="1"/>
            </p:cNvSpPr>
            <p:nvPr/>
          </p:nvSpPr>
          <p:spPr bwMode="auto">
            <a:xfrm>
              <a:off x="1865081" y="3138803"/>
              <a:ext cx="527473" cy="486338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44" y="139"/>
                </a:cxn>
                <a:cxn ang="0">
                  <a:pos x="62" y="235"/>
                </a:cxn>
                <a:cxn ang="0">
                  <a:pos x="102" y="291"/>
                </a:cxn>
                <a:cxn ang="0">
                  <a:pos x="71" y="362"/>
                </a:cxn>
                <a:cxn ang="0">
                  <a:pos x="122" y="421"/>
                </a:cxn>
                <a:cxn ang="0">
                  <a:pos x="185" y="421"/>
                </a:cxn>
                <a:cxn ang="0">
                  <a:pos x="178" y="504"/>
                </a:cxn>
                <a:cxn ang="0">
                  <a:pos x="209" y="559"/>
                </a:cxn>
                <a:cxn ang="0">
                  <a:pos x="272" y="571"/>
                </a:cxn>
                <a:cxn ang="0">
                  <a:pos x="299" y="594"/>
                </a:cxn>
                <a:cxn ang="0">
                  <a:pos x="351" y="670"/>
                </a:cxn>
                <a:cxn ang="0">
                  <a:pos x="387" y="701"/>
                </a:cxn>
                <a:cxn ang="0">
                  <a:pos x="549" y="745"/>
                </a:cxn>
                <a:cxn ang="0">
                  <a:pos x="596" y="721"/>
                </a:cxn>
                <a:cxn ang="0">
                  <a:pos x="660" y="824"/>
                </a:cxn>
                <a:cxn ang="0">
                  <a:pos x="825" y="824"/>
                </a:cxn>
                <a:cxn ang="0">
                  <a:pos x="873" y="769"/>
                </a:cxn>
                <a:cxn ang="0">
                  <a:pos x="884" y="705"/>
                </a:cxn>
                <a:cxn ang="0">
                  <a:pos x="837" y="650"/>
                </a:cxn>
                <a:cxn ang="0">
                  <a:pos x="790" y="583"/>
                </a:cxn>
                <a:cxn ang="0">
                  <a:pos x="798" y="496"/>
                </a:cxn>
                <a:cxn ang="0">
                  <a:pos x="754" y="385"/>
                </a:cxn>
                <a:cxn ang="0">
                  <a:pos x="758" y="211"/>
                </a:cxn>
                <a:cxn ang="0">
                  <a:pos x="623" y="129"/>
                </a:cxn>
                <a:cxn ang="0">
                  <a:pos x="493" y="108"/>
                </a:cxn>
                <a:cxn ang="0">
                  <a:pos x="426" y="167"/>
                </a:cxn>
                <a:cxn ang="0">
                  <a:pos x="355" y="208"/>
                </a:cxn>
                <a:cxn ang="0">
                  <a:pos x="248" y="160"/>
                </a:cxn>
                <a:cxn ang="0">
                  <a:pos x="189" y="70"/>
                </a:cxn>
                <a:cxn ang="0">
                  <a:pos x="146" y="26"/>
                </a:cxn>
                <a:cxn ang="0">
                  <a:pos x="75" y="64"/>
                </a:cxn>
                <a:cxn ang="0">
                  <a:pos x="16" y="0"/>
                </a:cxn>
              </a:cxnLst>
              <a:rect l="0" t="0" r="r" b="b"/>
              <a:pathLst>
                <a:path w="901" h="824">
                  <a:moveTo>
                    <a:pt x="16" y="0"/>
                  </a:moveTo>
                  <a:lnTo>
                    <a:pt x="0" y="21"/>
                  </a:lnTo>
                  <a:lnTo>
                    <a:pt x="21" y="80"/>
                  </a:lnTo>
                  <a:lnTo>
                    <a:pt x="44" y="139"/>
                  </a:lnTo>
                  <a:lnTo>
                    <a:pt x="56" y="199"/>
                  </a:lnTo>
                  <a:lnTo>
                    <a:pt x="62" y="235"/>
                  </a:lnTo>
                  <a:lnTo>
                    <a:pt x="110" y="243"/>
                  </a:lnTo>
                  <a:lnTo>
                    <a:pt x="102" y="291"/>
                  </a:lnTo>
                  <a:lnTo>
                    <a:pt x="71" y="314"/>
                  </a:lnTo>
                  <a:lnTo>
                    <a:pt x="71" y="362"/>
                  </a:lnTo>
                  <a:lnTo>
                    <a:pt x="113" y="381"/>
                  </a:lnTo>
                  <a:lnTo>
                    <a:pt x="122" y="421"/>
                  </a:lnTo>
                  <a:lnTo>
                    <a:pt x="154" y="429"/>
                  </a:lnTo>
                  <a:lnTo>
                    <a:pt x="185" y="421"/>
                  </a:lnTo>
                  <a:lnTo>
                    <a:pt x="193" y="460"/>
                  </a:lnTo>
                  <a:lnTo>
                    <a:pt x="178" y="504"/>
                  </a:lnTo>
                  <a:lnTo>
                    <a:pt x="205" y="515"/>
                  </a:lnTo>
                  <a:lnTo>
                    <a:pt x="209" y="559"/>
                  </a:lnTo>
                  <a:lnTo>
                    <a:pt x="229" y="579"/>
                  </a:lnTo>
                  <a:lnTo>
                    <a:pt x="272" y="571"/>
                  </a:lnTo>
                  <a:lnTo>
                    <a:pt x="275" y="552"/>
                  </a:lnTo>
                  <a:lnTo>
                    <a:pt x="299" y="594"/>
                  </a:lnTo>
                  <a:lnTo>
                    <a:pt x="312" y="658"/>
                  </a:lnTo>
                  <a:lnTo>
                    <a:pt x="351" y="670"/>
                  </a:lnTo>
                  <a:lnTo>
                    <a:pt x="347" y="697"/>
                  </a:lnTo>
                  <a:lnTo>
                    <a:pt x="387" y="701"/>
                  </a:lnTo>
                  <a:lnTo>
                    <a:pt x="410" y="738"/>
                  </a:lnTo>
                  <a:lnTo>
                    <a:pt x="549" y="745"/>
                  </a:lnTo>
                  <a:lnTo>
                    <a:pt x="568" y="709"/>
                  </a:lnTo>
                  <a:lnTo>
                    <a:pt x="596" y="721"/>
                  </a:lnTo>
                  <a:lnTo>
                    <a:pt x="612" y="793"/>
                  </a:lnTo>
                  <a:lnTo>
                    <a:pt x="660" y="824"/>
                  </a:lnTo>
                  <a:lnTo>
                    <a:pt x="798" y="815"/>
                  </a:lnTo>
                  <a:lnTo>
                    <a:pt x="825" y="824"/>
                  </a:lnTo>
                  <a:lnTo>
                    <a:pt x="837" y="780"/>
                  </a:lnTo>
                  <a:lnTo>
                    <a:pt x="873" y="769"/>
                  </a:lnTo>
                  <a:lnTo>
                    <a:pt x="901" y="733"/>
                  </a:lnTo>
                  <a:lnTo>
                    <a:pt x="884" y="705"/>
                  </a:lnTo>
                  <a:lnTo>
                    <a:pt x="849" y="701"/>
                  </a:lnTo>
                  <a:lnTo>
                    <a:pt x="837" y="650"/>
                  </a:lnTo>
                  <a:lnTo>
                    <a:pt x="785" y="626"/>
                  </a:lnTo>
                  <a:lnTo>
                    <a:pt x="790" y="583"/>
                  </a:lnTo>
                  <a:lnTo>
                    <a:pt x="813" y="552"/>
                  </a:lnTo>
                  <a:lnTo>
                    <a:pt x="798" y="496"/>
                  </a:lnTo>
                  <a:lnTo>
                    <a:pt x="742" y="496"/>
                  </a:lnTo>
                  <a:lnTo>
                    <a:pt x="754" y="385"/>
                  </a:lnTo>
                  <a:lnTo>
                    <a:pt x="742" y="314"/>
                  </a:lnTo>
                  <a:lnTo>
                    <a:pt x="758" y="211"/>
                  </a:lnTo>
                  <a:lnTo>
                    <a:pt x="695" y="180"/>
                  </a:lnTo>
                  <a:lnTo>
                    <a:pt x="623" y="129"/>
                  </a:lnTo>
                  <a:lnTo>
                    <a:pt x="572" y="125"/>
                  </a:lnTo>
                  <a:lnTo>
                    <a:pt x="493" y="108"/>
                  </a:lnTo>
                  <a:lnTo>
                    <a:pt x="474" y="149"/>
                  </a:lnTo>
                  <a:lnTo>
                    <a:pt x="426" y="167"/>
                  </a:lnTo>
                  <a:lnTo>
                    <a:pt x="378" y="184"/>
                  </a:lnTo>
                  <a:lnTo>
                    <a:pt x="355" y="208"/>
                  </a:lnTo>
                  <a:lnTo>
                    <a:pt x="299" y="199"/>
                  </a:lnTo>
                  <a:lnTo>
                    <a:pt x="248" y="160"/>
                  </a:lnTo>
                  <a:lnTo>
                    <a:pt x="205" y="129"/>
                  </a:lnTo>
                  <a:lnTo>
                    <a:pt x="189" y="70"/>
                  </a:lnTo>
                  <a:lnTo>
                    <a:pt x="174" y="9"/>
                  </a:lnTo>
                  <a:lnTo>
                    <a:pt x="146" y="26"/>
                  </a:lnTo>
                  <a:lnTo>
                    <a:pt x="134" y="64"/>
                  </a:lnTo>
                  <a:lnTo>
                    <a:pt x="75" y="64"/>
                  </a:lnTo>
                  <a:lnTo>
                    <a:pt x="54" y="26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Freeform 154"/>
            <p:cNvSpPr>
              <a:spLocks noChangeAspect="1"/>
            </p:cNvSpPr>
            <p:nvPr/>
          </p:nvSpPr>
          <p:spPr bwMode="auto">
            <a:xfrm>
              <a:off x="2049697" y="3593192"/>
              <a:ext cx="26374" cy="46149"/>
            </a:xfrm>
            <a:custGeom>
              <a:avLst/>
              <a:gdLst/>
              <a:ahLst/>
              <a:cxnLst>
                <a:cxn ang="0">
                  <a:pos x="31" y="79"/>
                </a:cxn>
                <a:cxn ang="0">
                  <a:pos x="7" y="59"/>
                </a:cxn>
                <a:cxn ang="0">
                  <a:pos x="0" y="0"/>
                </a:cxn>
                <a:cxn ang="0">
                  <a:pos x="31" y="11"/>
                </a:cxn>
                <a:cxn ang="0">
                  <a:pos x="45" y="33"/>
                </a:cxn>
                <a:cxn ang="0">
                  <a:pos x="31" y="79"/>
                </a:cxn>
              </a:cxnLst>
              <a:rect l="0" t="0" r="r" b="b"/>
              <a:pathLst>
                <a:path w="45" h="79">
                  <a:moveTo>
                    <a:pt x="31" y="79"/>
                  </a:moveTo>
                  <a:lnTo>
                    <a:pt x="7" y="59"/>
                  </a:lnTo>
                  <a:lnTo>
                    <a:pt x="0" y="0"/>
                  </a:lnTo>
                  <a:lnTo>
                    <a:pt x="31" y="11"/>
                  </a:lnTo>
                  <a:lnTo>
                    <a:pt x="45" y="33"/>
                  </a:lnTo>
                  <a:lnTo>
                    <a:pt x="31" y="7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5" name="Freeform 155"/>
            <p:cNvSpPr>
              <a:spLocks noChangeAspect="1"/>
            </p:cNvSpPr>
            <p:nvPr/>
          </p:nvSpPr>
          <p:spPr bwMode="auto">
            <a:xfrm>
              <a:off x="2049697" y="3593192"/>
              <a:ext cx="26374" cy="46149"/>
            </a:xfrm>
            <a:custGeom>
              <a:avLst/>
              <a:gdLst/>
              <a:ahLst/>
              <a:cxnLst>
                <a:cxn ang="0">
                  <a:pos x="31" y="79"/>
                </a:cxn>
                <a:cxn ang="0">
                  <a:pos x="7" y="59"/>
                </a:cxn>
                <a:cxn ang="0">
                  <a:pos x="0" y="0"/>
                </a:cxn>
                <a:cxn ang="0">
                  <a:pos x="31" y="11"/>
                </a:cxn>
                <a:cxn ang="0">
                  <a:pos x="45" y="33"/>
                </a:cxn>
                <a:cxn ang="0">
                  <a:pos x="31" y="79"/>
                </a:cxn>
              </a:cxnLst>
              <a:rect l="0" t="0" r="r" b="b"/>
              <a:pathLst>
                <a:path w="45" h="79">
                  <a:moveTo>
                    <a:pt x="31" y="79"/>
                  </a:moveTo>
                  <a:lnTo>
                    <a:pt x="7" y="59"/>
                  </a:lnTo>
                  <a:lnTo>
                    <a:pt x="0" y="0"/>
                  </a:lnTo>
                  <a:lnTo>
                    <a:pt x="31" y="11"/>
                  </a:lnTo>
                  <a:lnTo>
                    <a:pt x="45" y="33"/>
                  </a:lnTo>
                  <a:lnTo>
                    <a:pt x="31" y="79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Freeform 156"/>
            <p:cNvSpPr>
              <a:spLocks noChangeAspect="1"/>
            </p:cNvSpPr>
            <p:nvPr/>
          </p:nvSpPr>
          <p:spPr bwMode="auto">
            <a:xfrm>
              <a:off x="2098928" y="3644665"/>
              <a:ext cx="200440" cy="260919"/>
            </a:xfrm>
            <a:custGeom>
              <a:avLst/>
              <a:gdLst/>
              <a:ahLst/>
              <a:cxnLst>
                <a:cxn ang="0">
                  <a:pos x="124" y="106"/>
                </a:cxn>
                <a:cxn ang="0">
                  <a:pos x="162" y="162"/>
                </a:cxn>
                <a:cxn ang="0">
                  <a:pos x="131" y="288"/>
                </a:cxn>
                <a:cxn ang="0">
                  <a:pos x="0" y="316"/>
                </a:cxn>
                <a:cxn ang="0">
                  <a:pos x="21" y="371"/>
                </a:cxn>
                <a:cxn ang="0">
                  <a:pos x="48" y="442"/>
                </a:cxn>
                <a:cxn ang="0">
                  <a:pos x="127" y="430"/>
                </a:cxn>
                <a:cxn ang="0">
                  <a:pos x="155" y="383"/>
                </a:cxn>
                <a:cxn ang="0">
                  <a:pos x="194" y="371"/>
                </a:cxn>
                <a:cxn ang="0">
                  <a:pos x="218" y="344"/>
                </a:cxn>
                <a:cxn ang="0">
                  <a:pos x="269" y="331"/>
                </a:cxn>
                <a:cxn ang="0">
                  <a:pos x="277" y="244"/>
                </a:cxn>
                <a:cxn ang="0">
                  <a:pos x="297" y="213"/>
                </a:cxn>
                <a:cxn ang="0">
                  <a:pos x="332" y="193"/>
                </a:cxn>
                <a:cxn ang="0">
                  <a:pos x="344" y="106"/>
                </a:cxn>
                <a:cxn ang="0">
                  <a:pos x="304" y="94"/>
                </a:cxn>
                <a:cxn ang="0">
                  <a:pos x="301" y="51"/>
                </a:cxn>
                <a:cxn ang="0">
                  <a:pos x="200" y="22"/>
                </a:cxn>
                <a:cxn ang="0">
                  <a:pos x="190" y="0"/>
                </a:cxn>
                <a:cxn ang="0">
                  <a:pos x="124" y="106"/>
                </a:cxn>
              </a:cxnLst>
              <a:rect l="0" t="0" r="r" b="b"/>
              <a:pathLst>
                <a:path w="344" h="442">
                  <a:moveTo>
                    <a:pt x="124" y="106"/>
                  </a:moveTo>
                  <a:lnTo>
                    <a:pt x="162" y="162"/>
                  </a:lnTo>
                  <a:lnTo>
                    <a:pt x="131" y="288"/>
                  </a:lnTo>
                  <a:lnTo>
                    <a:pt x="0" y="316"/>
                  </a:lnTo>
                  <a:lnTo>
                    <a:pt x="21" y="371"/>
                  </a:lnTo>
                  <a:lnTo>
                    <a:pt x="48" y="442"/>
                  </a:lnTo>
                  <a:lnTo>
                    <a:pt x="127" y="430"/>
                  </a:lnTo>
                  <a:lnTo>
                    <a:pt x="155" y="383"/>
                  </a:lnTo>
                  <a:lnTo>
                    <a:pt x="194" y="371"/>
                  </a:lnTo>
                  <a:lnTo>
                    <a:pt x="218" y="344"/>
                  </a:lnTo>
                  <a:lnTo>
                    <a:pt x="269" y="331"/>
                  </a:lnTo>
                  <a:lnTo>
                    <a:pt x="277" y="244"/>
                  </a:lnTo>
                  <a:lnTo>
                    <a:pt x="297" y="213"/>
                  </a:lnTo>
                  <a:lnTo>
                    <a:pt x="332" y="193"/>
                  </a:lnTo>
                  <a:lnTo>
                    <a:pt x="344" y="106"/>
                  </a:lnTo>
                  <a:lnTo>
                    <a:pt x="304" y="94"/>
                  </a:lnTo>
                  <a:lnTo>
                    <a:pt x="301" y="51"/>
                  </a:lnTo>
                  <a:lnTo>
                    <a:pt x="200" y="22"/>
                  </a:lnTo>
                  <a:lnTo>
                    <a:pt x="190" y="0"/>
                  </a:lnTo>
                  <a:lnTo>
                    <a:pt x="124" y="10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Freeform 157"/>
            <p:cNvSpPr>
              <a:spLocks noChangeAspect="1"/>
            </p:cNvSpPr>
            <p:nvPr/>
          </p:nvSpPr>
          <p:spPr bwMode="auto">
            <a:xfrm>
              <a:off x="1726180" y="3234651"/>
              <a:ext cx="261978" cy="299968"/>
            </a:xfrm>
            <a:custGeom>
              <a:avLst/>
              <a:gdLst/>
              <a:ahLst/>
              <a:cxnLst>
                <a:cxn ang="0">
                  <a:pos x="341" y="508"/>
                </a:cxn>
                <a:cxn ang="0">
                  <a:pos x="316" y="491"/>
                </a:cxn>
                <a:cxn ang="0">
                  <a:pos x="265" y="460"/>
                </a:cxn>
                <a:cxn ang="0">
                  <a:pos x="226" y="390"/>
                </a:cxn>
                <a:cxn ang="0">
                  <a:pos x="190" y="377"/>
                </a:cxn>
                <a:cxn ang="0">
                  <a:pos x="158" y="326"/>
                </a:cxn>
                <a:cxn ang="0">
                  <a:pos x="107" y="329"/>
                </a:cxn>
                <a:cxn ang="0">
                  <a:pos x="75" y="306"/>
                </a:cxn>
                <a:cxn ang="0">
                  <a:pos x="44" y="283"/>
                </a:cxn>
                <a:cxn ang="0">
                  <a:pos x="28" y="287"/>
                </a:cxn>
                <a:cxn ang="0">
                  <a:pos x="0" y="239"/>
                </a:cxn>
                <a:cxn ang="0">
                  <a:pos x="48" y="211"/>
                </a:cxn>
                <a:cxn ang="0">
                  <a:pos x="107" y="171"/>
                </a:cxn>
                <a:cxn ang="0">
                  <a:pos x="114" y="129"/>
                </a:cxn>
                <a:cxn ang="0">
                  <a:pos x="115" y="68"/>
                </a:cxn>
                <a:cxn ang="0">
                  <a:pos x="148" y="41"/>
                </a:cxn>
                <a:cxn ang="0">
                  <a:pos x="176" y="13"/>
                </a:cxn>
                <a:cxn ang="0">
                  <a:pos x="218" y="0"/>
                </a:cxn>
                <a:cxn ang="0">
                  <a:pos x="238" y="32"/>
                </a:cxn>
                <a:cxn ang="0">
                  <a:pos x="294" y="37"/>
                </a:cxn>
                <a:cxn ang="0">
                  <a:pos x="300" y="73"/>
                </a:cxn>
                <a:cxn ang="0">
                  <a:pos x="348" y="81"/>
                </a:cxn>
                <a:cxn ang="0">
                  <a:pos x="340" y="129"/>
                </a:cxn>
                <a:cxn ang="0">
                  <a:pos x="309" y="152"/>
                </a:cxn>
                <a:cxn ang="0">
                  <a:pos x="309" y="200"/>
                </a:cxn>
                <a:cxn ang="0">
                  <a:pos x="351" y="219"/>
                </a:cxn>
                <a:cxn ang="0">
                  <a:pos x="360" y="259"/>
                </a:cxn>
                <a:cxn ang="0">
                  <a:pos x="392" y="267"/>
                </a:cxn>
                <a:cxn ang="0">
                  <a:pos x="423" y="259"/>
                </a:cxn>
                <a:cxn ang="0">
                  <a:pos x="431" y="298"/>
                </a:cxn>
                <a:cxn ang="0">
                  <a:pos x="416" y="342"/>
                </a:cxn>
                <a:cxn ang="0">
                  <a:pos x="443" y="353"/>
                </a:cxn>
                <a:cxn ang="0">
                  <a:pos x="447" y="397"/>
                </a:cxn>
                <a:cxn ang="0">
                  <a:pos x="407" y="409"/>
                </a:cxn>
                <a:cxn ang="0">
                  <a:pos x="379" y="417"/>
                </a:cxn>
                <a:cxn ang="0">
                  <a:pos x="375" y="484"/>
                </a:cxn>
                <a:cxn ang="0">
                  <a:pos x="341" y="508"/>
                </a:cxn>
              </a:cxnLst>
              <a:rect l="0" t="0" r="r" b="b"/>
              <a:pathLst>
                <a:path w="447" h="508">
                  <a:moveTo>
                    <a:pt x="341" y="508"/>
                  </a:moveTo>
                  <a:lnTo>
                    <a:pt x="316" y="491"/>
                  </a:lnTo>
                  <a:lnTo>
                    <a:pt x="265" y="460"/>
                  </a:lnTo>
                  <a:lnTo>
                    <a:pt x="226" y="390"/>
                  </a:lnTo>
                  <a:lnTo>
                    <a:pt x="190" y="377"/>
                  </a:lnTo>
                  <a:lnTo>
                    <a:pt x="158" y="326"/>
                  </a:lnTo>
                  <a:lnTo>
                    <a:pt x="107" y="329"/>
                  </a:lnTo>
                  <a:lnTo>
                    <a:pt x="75" y="306"/>
                  </a:lnTo>
                  <a:lnTo>
                    <a:pt x="44" y="283"/>
                  </a:lnTo>
                  <a:lnTo>
                    <a:pt x="28" y="287"/>
                  </a:lnTo>
                  <a:lnTo>
                    <a:pt x="0" y="239"/>
                  </a:lnTo>
                  <a:lnTo>
                    <a:pt x="48" y="211"/>
                  </a:lnTo>
                  <a:lnTo>
                    <a:pt x="107" y="171"/>
                  </a:lnTo>
                  <a:lnTo>
                    <a:pt x="114" y="129"/>
                  </a:lnTo>
                  <a:lnTo>
                    <a:pt x="115" y="68"/>
                  </a:lnTo>
                  <a:lnTo>
                    <a:pt x="148" y="41"/>
                  </a:lnTo>
                  <a:lnTo>
                    <a:pt x="176" y="13"/>
                  </a:lnTo>
                  <a:lnTo>
                    <a:pt x="218" y="0"/>
                  </a:lnTo>
                  <a:lnTo>
                    <a:pt x="238" y="32"/>
                  </a:lnTo>
                  <a:lnTo>
                    <a:pt x="294" y="37"/>
                  </a:lnTo>
                  <a:lnTo>
                    <a:pt x="300" y="73"/>
                  </a:lnTo>
                  <a:lnTo>
                    <a:pt x="348" y="81"/>
                  </a:lnTo>
                  <a:lnTo>
                    <a:pt x="340" y="129"/>
                  </a:lnTo>
                  <a:lnTo>
                    <a:pt x="309" y="152"/>
                  </a:lnTo>
                  <a:lnTo>
                    <a:pt x="309" y="200"/>
                  </a:lnTo>
                  <a:lnTo>
                    <a:pt x="351" y="219"/>
                  </a:lnTo>
                  <a:lnTo>
                    <a:pt x="360" y="259"/>
                  </a:lnTo>
                  <a:lnTo>
                    <a:pt x="392" y="267"/>
                  </a:lnTo>
                  <a:lnTo>
                    <a:pt x="423" y="259"/>
                  </a:lnTo>
                  <a:lnTo>
                    <a:pt x="431" y="298"/>
                  </a:lnTo>
                  <a:lnTo>
                    <a:pt x="416" y="342"/>
                  </a:lnTo>
                  <a:lnTo>
                    <a:pt x="443" y="353"/>
                  </a:lnTo>
                  <a:lnTo>
                    <a:pt x="447" y="397"/>
                  </a:lnTo>
                  <a:lnTo>
                    <a:pt x="407" y="409"/>
                  </a:lnTo>
                  <a:lnTo>
                    <a:pt x="379" y="417"/>
                  </a:lnTo>
                  <a:lnTo>
                    <a:pt x="375" y="484"/>
                  </a:lnTo>
                  <a:lnTo>
                    <a:pt x="341" y="50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" name="Freeform 158"/>
            <p:cNvSpPr>
              <a:spLocks noChangeAspect="1"/>
            </p:cNvSpPr>
            <p:nvPr/>
          </p:nvSpPr>
          <p:spPr bwMode="auto">
            <a:xfrm>
              <a:off x="1726180" y="3234651"/>
              <a:ext cx="261978" cy="299968"/>
            </a:xfrm>
            <a:custGeom>
              <a:avLst/>
              <a:gdLst/>
              <a:ahLst/>
              <a:cxnLst>
                <a:cxn ang="0">
                  <a:pos x="341" y="508"/>
                </a:cxn>
                <a:cxn ang="0">
                  <a:pos x="316" y="491"/>
                </a:cxn>
                <a:cxn ang="0">
                  <a:pos x="265" y="460"/>
                </a:cxn>
                <a:cxn ang="0">
                  <a:pos x="226" y="390"/>
                </a:cxn>
                <a:cxn ang="0">
                  <a:pos x="190" y="377"/>
                </a:cxn>
                <a:cxn ang="0">
                  <a:pos x="158" y="326"/>
                </a:cxn>
                <a:cxn ang="0">
                  <a:pos x="107" y="329"/>
                </a:cxn>
                <a:cxn ang="0">
                  <a:pos x="75" y="306"/>
                </a:cxn>
                <a:cxn ang="0">
                  <a:pos x="44" y="283"/>
                </a:cxn>
                <a:cxn ang="0">
                  <a:pos x="28" y="287"/>
                </a:cxn>
                <a:cxn ang="0">
                  <a:pos x="0" y="239"/>
                </a:cxn>
                <a:cxn ang="0">
                  <a:pos x="48" y="211"/>
                </a:cxn>
                <a:cxn ang="0">
                  <a:pos x="107" y="171"/>
                </a:cxn>
                <a:cxn ang="0">
                  <a:pos x="114" y="129"/>
                </a:cxn>
                <a:cxn ang="0">
                  <a:pos x="115" y="68"/>
                </a:cxn>
                <a:cxn ang="0">
                  <a:pos x="148" y="41"/>
                </a:cxn>
                <a:cxn ang="0">
                  <a:pos x="176" y="13"/>
                </a:cxn>
                <a:cxn ang="0">
                  <a:pos x="218" y="0"/>
                </a:cxn>
                <a:cxn ang="0">
                  <a:pos x="238" y="32"/>
                </a:cxn>
                <a:cxn ang="0">
                  <a:pos x="294" y="37"/>
                </a:cxn>
                <a:cxn ang="0">
                  <a:pos x="300" y="73"/>
                </a:cxn>
                <a:cxn ang="0">
                  <a:pos x="348" y="81"/>
                </a:cxn>
                <a:cxn ang="0">
                  <a:pos x="340" y="129"/>
                </a:cxn>
                <a:cxn ang="0">
                  <a:pos x="309" y="152"/>
                </a:cxn>
                <a:cxn ang="0">
                  <a:pos x="309" y="200"/>
                </a:cxn>
                <a:cxn ang="0">
                  <a:pos x="351" y="219"/>
                </a:cxn>
                <a:cxn ang="0">
                  <a:pos x="360" y="259"/>
                </a:cxn>
                <a:cxn ang="0">
                  <a:pos x="392" y="267"/>
                </a:cxn>
                <a:cxn ang="0">
                  <a:pos x="423" y="259"/>
                </a:cxn>
                <a:cxn ang="0">
                  <a:pos x="431" y="298"/>
                </a:cxn>
                <a:cxn ang="0">
                  <a:pos x="416" y="342"/>
                </a:cxn>
                <a:cxn ang="0">
                  <a:pos x="443" y="353"/>
                </a:cxn>
                <a:cxn ang="0">
                  <a:pos x="447" y="397"/>
                </a:cxn>
                <a:cxn ang="0">
                  <a:pos x="407" y="409"/>
                </a:cxn>
                <a:cxn ang="0">
                  <a:pos x="379" y="417"/>
                </a:cxn>
                <a:cxn ang="0">
                  <a:pos x="375" y="484"/>
                </a:cxn>
                <a:cxn ang="0">
                  <a:pos x="341" y="508"/>
                </a:cxn>
              </a:cxnLst>
              <a:rect l="0" t="0" r="r" b="b"/>
              <a:pathLst>
                <a:path w="447" h="508">
                  <a:moveTo>
                    <a:pt x="341" y="508"/>
                  </a:moveTo>
                  <a:lnTo>
                    <a:pt x="316" y="491"/>
                  </a:lnTo>
                  <a:lnTo>
                    <a:pt x="265" y="460"/>
                  </a:lnTo>
                  <a:lnTo>
                    <a:pt x="226" y="390"/>
                  </a:lnTo>
                  <a:lnTo>
                    <a:pt x="190" y="377"/>
                  </a:lnTo>
                  <a:lnTo>
                    <a:pt x="158" y="326"/>
                  </a:lnTo>
                  <a:lnTo>
                    <a:pt x="107" y="329"/>
                  </a:lnTo>
                  <a:lnTo>
                    <a:pt x="75" y="306"/>
                  </a:lnTo>
                  <a:lnTo>
                    <a:pt x="44" y="283"/>
                  </a:lnTo>
                  <a:lnTo>
                    <a:pt x="28" y="287"/>
                  </a:lnTo>
                  <a:lnTo>
                    <a:pt x="0" y="239"/>
                  </a:lnTo>
                  <a:lnTo>
                    <a:pt x="48" y="211"/>
                  </a:lnTo>
                  <a:lnTo>
                    <a:pt x="107" y="171"/>
                  </a:lnTo>
                  <a:lnTo>
                    <a:pt x="114" y="129"/>
                  </a:lnTo>
                  <a:lnTo>
                    <a:pt x="115" y="68"/>
                  </a:lnTo>
                  <a:lnTo>
                    <a:pt x="148" y="41"/>
                  </a:lnTo>
                  <a:lnTo>
                    <a:pt x="176" y="13"/>
                  </a:lnTo>
                  <a:lnTo>
                    <a:pt x="218" y="0"/>
                  </a:lnTo>
                  <a:lnTo>
                    <a:pt x="238" y="32"/>
                  </a:lnTo>
                  <a:lnTo>
                    <a:pt x="294" y="37"/>
                  </a:lnTo>
                  <a:lnTo>
                    <a:pt x="300" y="73"/>
                  </a:lnTo>
                  <a:lnTo>
                    <a:pt x="348" y="81"/>
                  </a:lnTo>
                  <a:lnTo>
                    <a:pt x="340" y="129"/>
                  </a:lnTo>
                  <a:lnTo>
                    <a:pt x="309" y="152"/>
                  </a:lnTo>
                  <a:lnTo>
                    <a:pt x="309" y="200"/>
                  </a:lnTo>
                  <a:lnTo>
                    <a:pt x="351" y="219"/>
                  </a:lnTo>
                  <a:lnTo>
                    <a:pt x="360" y="259"/>
                  </a:lnTo>
                  <a:lnTo>
                    <a:pt x="392" y="267"/>
                  </a:lnTo>
                  <a:lnTo>
                    <a:pt x="423" y="259"/>
                  </a:lnTo>
                  <a:lnTo>
                    <a:pt x="431" y="298"/>
                  </a:lnTo>
                  <a:lnTo>
                    <a:pt x="416" y="342"/>
                  </a:lnTo>
                  <a:lnTo>
                    <a:pt x="443" y="353"/>
                  </a:lnTo>
                  <a:lnTo>
                    <a:pt x="447" y="397"/>
                  </a:lnTo>
                  <a:lnTo>
                    <a:pt x="407" y="409"/>
                  </a:lnTo>
                  <a:lnTo>
                    <a:pt x="379" y="417"/>
                  </a:lnTo>
                  <a:lnTo>
                    <a:pt x="375" y="484"/>
                  </a:lnTo>
                  <a:lnTo>
                    <a:pt x="341" y="508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" name="Freeform 159"/>
            <p:cNvSpPr>
              <a:spLocks noChangeAspect="1"/>
            </p:cNvSpPr>
            <p:nvPr/>
          </p:nvSpPr>
          <p:spPr bwMode="auto">
            <a:xfrm>
              <a:off x="723981" y="4109704"/>
              <a:ext cx="43956" cy="131347"/>
            </a:xfrm>
            <a:custGeom>
              <a:avLst/>
              <a:gdLst/>
              <a:ahLst/>
              <a:cxnLst>
                <a:cxn ang="0">
                  <a:pos x="44" y="222"/>
                </a:cxn>
                <a:cxn ang="0">
                  <a:pos x="29" y="162"/>
                </a:cxn>
                <a:cxn ang="0">
                  <a:pos x="21" y="99"/>
                </a:cxn>
                <a:cxn ang="0">
                  <a:pos x="24" y="60"/>
                </a:cxn>
                <a:cxn ang="0">
                  <a:pos x="6" y="47"/>
                </a:cxn>
                <a:cxn ang="0">
                  <a:pos x="0" y="3"/>
                </a:cxn>
                <a:cxn ang="0">
                  <a:pos x="22" y="0"/>
                </a:cxn>
                <a:cxn ang="0">
                  <a:pos x="42" y="31"/>
                </a:cxn>
                <a:cxn ang="0">
                  <a:pos x="53" y="94"/>
                </a:cxn>
                <a:cxn ang="0">
                  <a:pos x="58" y="153"/>
                </a:cxn>
                <a:cxn ang="0">
                  <a:pos x="73" y="212"/>
                </a:cxn>
                <a:cxn ang="0">
                  <a:pos x="44" y="222"/>
                </a:cxn>
              </a:cxnLst>
              <a:rect l="0" t="0" r="r" b="b"/>
              <a:pathLst>
                <a:path w="73" h="222">
                  <a:moveTo>
                    <a:pt x="44" y="222"/>
                  </a:moveTo>
                  <a:lnTo>
                    <a:pt x="29" y="162"/>
                  </a:lnTo>
                  <a:lnTo>
                    <a:pt x="21" y="99"/>
                  </a:lnTo>
                  <a:lnTo>
                    <a:pt x="24" y="60"/>
                  </a:lnTo>
                  <a:lnTo>
                    <a:pt x="6" y="47"/>
                  </a:lnTo>
                  <a:lnTo>
                    <a:pt x="0" y="3"/>
                  </a:lnTo>
                  <a:lnTo>
                    <a:pt x="22" y="0"/>
                  </a:lnTo>
                  <a:lnTo>
                    <a:pt x="42" y="31"/>
                  </a:lnTo>
                  <a:lnTo>
                    <a:pt x="53" y="94"/>
                  </a:lnTo>
                  <a:lnTo>
                    <a:pt x="58" y="153"/>
                  </a:lnTo>
                  <a:lnTo>
                    <a:pt x="73" y="212"/>
                  </a:lnTo>
                  <a:lnTo>
                    <a:pt x="44" y="22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" name="Freeform 160"/>
            <p:cNvSpPr>
              <a:spLocks noChangeAspect="1"/>
            </p:cNvSpPr>
            <p:nvPr/>
          </p:nvSpPr>
          <p:spPr bwMode="auto">
            <a:xfrm>
              <a:off x="437387" y="4168277"/>
              <a:ext cx="121319" cy="138447"/>
            </a:xfrm>
            <a:custGeom>
              <a:avLst/>
              <a:gdLst/>
              <a:ahLst/>
              <a:cxnLst>
                <a:cxn ang="0">
                  <a:pos x="0" y="83"/>
                </a:cxn>
                <a:cxn ang="0">
                  <a:pos x="44" y="0"/>
                </a:cxn>
                <a:cxn ang="0">
                  <a:pos x="71" y="55"/>
                </a:cxn>
                <a:cxn ang="0">
                  <a:pos x="108" y="66"/>
                </a:cxn>
                <a:cxn ang="0">
                  <a:pos x="120" y="109"/>
                </a:cxn>
                <a:cxn ang="0">
                  <a:pos x="148" y="117"/>
                </a:cxn>
                <a:cxn ang="0">
                  <a:pos x="156" y="168"/>
                </a:cxn>
                <a:cxn ang="0">
                  <a:pos x="207" y="188"/>
                </a:cxn>
                <a:cxn ang="0">
                  <a:pos x="198" y="213"/>
                </a:cxn>
                <a:cxn ang="0">
                  <a:pos x="171" y="233"/>
                </a:cxn>
                <a:cxn ang="0">
                  <a:pos x="114" y="217"/>
                </a:cxn>
                <a:cxn ang="0">
                  <a:pos x="0" y="83"/>
                </a:cxn>
              </a:cxnLst>
              <a:rect l="0" t="0" r="r" b="b"/>
              <a:pathLst>
                <a:path w="207" h="233">
                  <a:moveTo>
                    <a:pt x="0" y="83"/>
                  </a:moveTo>
                  <a:lnTo>
                    <a:pt x="44" y="0"/>
                  </a:lnTo>
                  <a:lnTo>
                    <a:pt x="71" y="55"/>
                  </a:lnTo>
                  <a:lnTo>
                    <a:pt x="108" y="66"/>
                  </a:lnTo>
                  <a:lnTo>
                    <a:pt x="120" y="109"/>
                  </a:lnTo>
                  <a:lnTo>
                    <a:pt x="148" y="117"/>
                  </a:lnTo>
                  <a:lnTo>
                    <a:pt x="156" y="168"/>
                  </a:lnTo>
                  <a:lnTo>
                    <a:pt x="207" y="188"/>
                  </a:lnTo>
                  <a:lnTo>
                    <a:pt x="198" y="213"/>
                  </a:lnTo>
                  <a:lnTo>
                    <a:pt x="171" y="233"/>
                  </a:lnTo>
                  <a:lnTo>
                    <a:pt x="114" y="217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" name="Freeform 161"/>
            <p:cNvSpPr>
              <a:spLocks noChangeAspect="1"/>
            </p:cNvSpPr>
            <p:nvPr/>
          </p:nvSpPr>
          <p:spPr bwMode="auto">
            <a:xfrm>
              <a:off x="7058297" y="3681611"/>
              <a:ext cx="274286" cy="118922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44" y="20"/>
                </a:cxn>
                <a:cxn ang="0">
                  <a:pos x="83" y="0"/>
                </a:cxn>
                <a:cxn ang="0">
                  <a:pos x="147" y="7"/>
                </a:cxn>
                <a:cxn ang="0">
                  <a:pos x="238" y="28"/>
                </a:cxn>
                <a:cxn ang="0">
                  <a:pos x="317" y="71"/>
                </a:cxn>
                <a:cxn ang="0">
                  <a:pos x="447" y="134"/>
                </a:cxn>
                <a:cxn ang="0">
                  <a:pos x="467" y="166"/>
                </a:cxn>
                <a:cxn ang="0">
                  <a:pos x="403" y="201"/>
                </a:cxn>
                <a:cxn ang="0">
                  <a:pos x="309" y="193"/>
                </a:cxn>
                <a:cxn ang="0">
                  <a:pos x="317" y="142"/>
                </a:cxn>
                <a:cxn ang="0">
                  <a:pos x="285" y="110"/>
                </a:cxn>
                <a:cxn ang="0">
                  <a:pos x="218" y="63"/>
                </a:cxn>
                <a:cxn ang="0">
                  <a:pos x="190" y="51"/>
                </a:cxn>
                <a:cxn ang="0">
                  <a:pos x="56" y="44"/>
                </a:cxn>
                <a:cxn ang="0">
                  <a:pos x="0" y="59"/>
                </a:cxn>
              </a:cxnLst>
              <a:rect l="0" t="0" r="r" b="b"/>
              <a:pathLst>
                <a:path w="467" h="201">
                  <a:moveTo>
                    <a:pt x="0" y="59"/>
                  </a:moveTo>
                  <a:lnTo>
                    <a:pt x="44" y="20"/>
                  </a:lnTo>
                  <a:lnTo>
                    <a:pt x="83" y="0"/>
                  </a:lnTo>
                  <a:lnTo>
                    <a:pt x="147" y="7"/>
                  </a:lnTo>
                  <a:lnTo>
                    <a:pt x="238" y="28"/>
                  </a:lnTo>
                  <a:lnTo>
                    <a:pt x="317" y="71"/>
                  </a:lnTo>
                  <a:lnTo>
                    <a:pt x="447" y="134"/>
                  </a:lnTo>
                  <a:lnTo>
                    <a:pt x="467" y="166"/>
                  </a:lnTo>
                  <a:lnTo>
                    <a:pt x="403" y="201"/>
                  </a:lnTo>
                  <a:lnTo>
                    <a:pt x="309" y="193"/>
                  </a:lnTo>
                  <a:lnTo>
                    <a:pt x="317" y="142"/>
                  </a:lnTo>
                  <a:lnTo>
                    <a:pt x="285" y="110"/>
                  </a:lnTo>
                  <a:lnTo>
                    <a:pt x="218" y="63"/>
                  </a:lnTo>
                  <a:lnTo>
                    <a:pt x="190" y="51"/>
                  </a:lnTo>
                  <a:lnTo>
                    <a:pt x="56" y="44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" name="Freeform 162"/>
            <p:cNvSpPr>
              <a:spLocks noChangeAspect="1"/>
            </p:cNvSpPr>
            <p:nvPr/>
          </p:nvSpPr>
          <p:spPr bwMode="auto">
            <a:xfrm>
              <a:off x="1604861" y="4729164"/>
              <a:ext cx="86154" cy="207670"/>
            </a:xfrm>
            <a:custGeom>
              <a:avLst/>
              <a:gdLst/>
              <a:ahLst/>
              <a:cxnLst>
                <a:cxn ang="0">
                  <a:pos x="0" y="223"/>
                </a:cxn>
                <a:cxn ang="0">
                  <a:pos x="5" y="138"/>
                </a:cxn>
                <a:cxn ang="0">
                  <a:pos x="32" y="116"/>
                </a:cxn>
                <a:cxn ang="0">
                  <a:pos x="19" y="62"/>
                </a:cxn>
                <a:cxn ang="0">
                  <a:pos x="23" y="0"/>
                </a:cxn>
                <a:cxn ang="0">
                  <a:pos x="47" y="10"/>
                </a:cxn>
                <a:cxn ang="0">
                  <a:pos x="83" y="31"/>
                </a:cxn>
                <a:cxn ang="0">
                  <a:pos x="91" y="76"/>
                </a:cxn>
                <a:cxn ang="0">
                  <a:pos x="81" y="116"/>
                </a:cxn>
                <a:cxn ang="0">
                  <a:pos x="74" y="149"/>
                </a:cxn>
                <a:cxn ang="0">
                  <a:pos x="94" y="173"/>
                </a:cxn>
                <a:cxn ang="0">
                  <a:pos x="107" y="189"/>
                </a:cxn>
                <a:cxn ang="0">
                  <a:pos x="126" y="217"/>
                </a:cxn>
                <a:cxn ang="0">
                  <a:pos x="138" y="248"/>
                </a:cxn>
                <a:cxn ang="0">
                  <a:pos x="146" y="290"/>
                </a:cxn>
                <a:cxn ang="0">
                  <a:pos x="116" y="311"/>
                </a:cxn>
                <a:cxn ang="0">
                  <a:pos x="102" y="345"/>
                </a:cxn>
                <a:cxn ang="0">
                  <a:pos x="71" y="351"/>
                </a:cxn>
                <a:cxn ang="0">
                  <a:pos x="51" y="330"/>
                </a:cxn>
                <a:cxn ang="0">
                  <a:pos x="67" y="283"/>
                </a:cxn>
                <a:cxn ang="0">
                  <a:pos x="69" y="248"/>
                </a:cxn>
                <a:cxn ang="0">
                  <a:pos x="33" y="238"/>
                </a:cxn>
                <a:cxn ang="0">
                  <a:pos x="0" y="223"/>
                </a:cxn>
              </a:cxnLst>
              <a:rect l="0" t="0" r="r" b="b"/>
              <a:pathLst>
                <a:path w="146" h="351">
                  <a:moveTo>
                    <a:pt x="0" y="223"/>
                  </a:moveTo>
                  <a:lnTo>
                    <a:pt x="5" y="138"/>
                  </a:lnTo>
                  <a:lnTo>
                    <a:pt x="32" y="116"/>
                  </a:lnTo>
                  <a:lnTo>
                    <a:pt x="19" y="62"/>
                  </a:lnTo>
                  <a:lnTo>
                    <a:pt x="23" y="0"/>
                  </a:lnTo>
                  <a:lnTo>
                    <a:pt x="47" y="10"/>
                  </a:lnTo>
                  <a:lnTo>
                    <a:pt x="83" y="31"/>
                  </a:lnTo>
                  <a:lnTo>
                    <a:pt x="91" y="76"/>
                  </a:lnTo>
                  <a:lnTo>
                    <a:pt x="81" y="116"/>
                  </a:lnTo>
                  <a:lnTo>
                    <a:pt x="74" y="149"/>
                  </a:lnTo>
                  <a:lnTo>
                    <a:pt x="94" y="173"/>
                  </a:lnTo>
                  <a:lnTo>
                    <a:pt x="107" y="189"/>
                  </a:lnTo>
                  <a:lnTo>
                    <a:pt x="126" y="217"/>
                  </a:lnTo>
                  <a:lnTo>
                    <a:pt x="138" y="248"/>
                  </a:lnTo>
                  <a:lnTo>
                    <a:pt x="146" y="290"/>
                  </a:lnTo>
                  <a:lnTo>
                    <a:pt x="116" y="311"/>
                  </a:lnTo>
                  <a:lnTo>
                    <a:pt x="102" y="345"/>
                  </a:lnTo>
                  <a:lnTo>
                    <a:pt x="71" y="351"/>
                  </a:lnTo>
                  <a:lnTo>
                    <a:pt x="51" y="330"/>
                  </a:lnTo>
                  <a:lnTo>
                    <a:pt x="67" y="283"/>
                  </a:lnTo>
                  <a:lnTo>
                    <a:pt x="69" y="248"/>
                  </a:lnTo>
                  <a:lnTo>
                    <a:pt x="33" y="238"/>
                  </a:lnTo>
                  <a:lnTo>
                    <a:pt x="0" y="22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" name="Freeform 163"/>
            <p:cNvSpPr>
              <a:spLocks noChangeAspect="1"/>
            </p:cNvSpPr>
            <p:nvPr/>
          </p:nvSpPr>
          <p:spPr bwMode="auto">
            <a:xfrm>
              <a:off x="1413213" y="4897784"/>
              <a:ext cx="196923" cy="232519"/>
            </a:xfrm>
            <a:custGeom>
              <a:avLst/>
              <a:gdLst/>
              <a:ahLst/>
              <a:cxnLst>
                <a:cxn ang="0">
                  <a:pos x="206" y="0"/>
                </a:cxn>
                <a:cxn ang="0">
                  <a:pos x="189" y="25"/>
                </a:cxn>
                <a:cxn ang="0">
                  <a:pos x="147" y="31"/>
                </a:cxn>
                <a:cxn ang="0">
                  <a:pos x="143" y="63"/>
                </a:cxn>
                <a:cxn ang="0">
                  <a:pos x="125" y="75"/>
                </a:cxn>
                <a:cxn ang="0">
                  <a:pos x="102" y="82"/>
                </a:cxn>
                <a:cxn ang="0">
                  <a:pos x="96" y="114"/>
                </a:cxn>
                <a:cxn ang="0">
                  <a:pos x="69" y="124"/>
                </a:cxn>
                <a:cxn ang="0">
                  <a:pos x="28" y="124"/>
                </a:cxn>
                <a:cxn ang="0">
                  <a:pos x="0" y="134"/>
                </a:cxn>
                <a:cxn ang="0">
                  <a:pos x="18" y="203"/>
                </a:cxn>
                <a:cxn ang="0">
                  <a:pos x="23" y="238"/>
                </a:cxn>
                <a:cxn ang="0">
                  <a:pos x="48" y="251"/>
                </a:cxn>
                <a:cxn ang="0">
                  <a:pos x="58" y="289"/>
                </a:cxn>
                <a:cxn ang="0">
                  <a:pos x="86" y="290"/>
                </a:cxn>
                <a:cxn ang="0">
                  <a:pos x="100" y="340"/>
                </a:cxn>
                <a:cxn ang="0">
                  <a:pos x="120" y="344"/>
                </a:cxn>
                <a:cxn ang="0">
                  <a:pos x="165" y="364"/>
                </a:cxn>
                <a:cxn ang="0">
                  <a:pos x="195" y="378"/>
                </a:cxn>
                <a:cxn ang="0">
                  <a:pos x="209" y="393"/>
                </a:cxn>
                <a:cxn ang="0">
                  <a:pos x="258" y="393"/>
                </a:cxn>
                <a:cxn ang="0">
                  <a:pos x="268" y="358"/>
                </a:cxn>
                <a:cxn ang="0">
                  <a:pos x="293" y="341"/>
                </a:cxn>
                <a:cxn ang="0">
                  <a:pos x="292" y="280"/>
                </a:cxn>
                <a:cxn ang="0">
                  <a:pos x="321" y="261"/>
                </a:cxn>
                <a:cxn ang="0">
                  <a:pos x="337" y="237"/>
                </a:cxn>
                <a:cxn ang="0">
                  <a:pos x="319" y="196"/>
                </a:cxn>
                <a:cxn ang="0">
                  <a:pos x="317" y="162"/>
                </a:cxn>
                <a:cxn ang="0">
                  <a:pos x="333" y="99"/>
                </a:cxn>
                <a:cxn ang="0">
                  <a:pos x="309" y="54"/>
                </a:cxn>
                <a:cxn ang="0">
                  <a:pos x="244" y="41"/>
                </a:cxn>
                <a:cxn ang="0">
                  <a:pos x="224" y="6"/>
                </a:cxn>
                <a:cxn ang="0">
                  <a:pos x="206" y="0"/>
                </a:cxn>
              </a:cxnLst>
              <a:rect l="0" t="0" r="r" b="b"/>
              <a:pathLst>
                <a:path w="337" h="393">
                  <a:moveTo>
                    <a:pt x="206" y="0"/>
                  </a:moveTo>
                  <a:lnTo>
                    <a:pt x="189" y="25"/>
                  </a:lnTo>
                  <a:lnTo>
                    <a:pt x="147" y="31"/>
                  </a:lnTo>
                  <a:lnTo>
                    <a:pt x="143" y="63"/>
                  </a:lnTo>
                  <a:lnTo>
                    <a:pt x="125" y="75"/>
                  </a:lnTo>
                  <a:lnTo>
                    <a:pt x="102" y="82"/>
                  </a:lnTo>
                  <a:lnTo>
                    <a:pt x="96" y="114"/>
                  </a:lnTo>
                  <a:lnTo>
                    <a:pt x="69" y="124"/>
                  </a:lnTo>
                  <a:lnTo>
                    <a:pt x="28" y="124"/>
                  </a:lnTo>
                  <a:lnTo>
                    <a:pt x="0" y="134"/>
                  </a:lnTo>
                  <a:lnTo>
                    <a:pt x="18" y="203"/>
                  </a:lnTo>
                  <a:lnTo>
                    <a:pt x="23" y="238"/>
                  </a:lnTo>
                  <a:lnTo>
                    <a:pt x="48" y="251"/>
                  </a:lnTo>
                  <a:lnTo>
                    <a:pt x="58" y="289"/>
                  </a:lnTo>
                  <a:lnTo>
                    <a:pt x="86" y="290"/>
                  </a:lnTo>
                  <a:lnTo>
                    <a:pt x="100" y="340"/>
                  </a:lnTo>
                  <a:lnTo>
                    <a:pt x="120" y="344"/>
                  </a:lnTo>
                  <a:lnTo>
                    <a:pt x="165" y="364"/>
                  </a:lnTo>
                  <a:lnTo>
                    <a:pt x="195" y="378"/>
                  </a:lnTo>
                  <a:lnTo>
                    <a:pt x="209" y="393"/>
                  </a:lnTo>
                  <a:lnTo>
                    <a:pt x="258" y="393"/>
                  </a:lnTo>
                  <a:lnTo>
                    <a:pt x="268" y="358"/>
                  </a:lnTo>
                  <a:lnTo>
                    <a:pt x="293" y="341"/>
                  </a:lnTo>
                  <a:lnTo>
                    <a:pt x="292" y="280"/>
                  </a:lnTo>
                  <a:lnTo>
                    <a:pt x="321" y="261"/>
                  </a:lnTo>
                  <a:lnTo>
                    <a:pt x="337" y="237"/>
                  </a:lnTo>
                  <a:lnTo>
                    <a:pt x="319" y="196"/>
                  </a:lnTo>
                  <a:lnTo>
                    <a:pt x="317" y="162"/>
                  </a:lnTo>
                  <a:lnTo>
                    <a:pt x="333" y="99"/>
                  </a:lnTo>
                  <a:lnTo>
                    <a:pt x="309" y="54"/>
                  </a:lnTo>
                  <a:lnTo>
                    <a:pt x="244" y="41"/>
                  </a:lnTo>
                  <a:lnTo>
                    <a:pt x="224" y="6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" name="Freeform 164"/>
            <p:cNvSpPr>
              <a:spLocks noChangeAspect="1"/>
            </p:cNvSpPr>
            <p:nvPr/>
          </p:nvSpPr>
          <p:spPr bwMode="auto">
            <a:xfrm>
              <a:off x="309036" y="3547043"/>
              <a:ext cx="277803" cy="429539"/>
            </a:xfrm>
            <a:custGeom>
              <a:avLst/>
              <a:gdLst/>
              <a:ahLst/>
              <a:cxnLst>
                <a:cxn ang="0">
                  <a:pos x="353" y="0"/>
                </a:cxn>
                <a:cxn ang="0">
                  <a:pos x="335" y="64"/>
                </a:cxn>
                <a:cxn ang="0">
                  <a:pos x="316" y="92"/>
                </a:cxn>
                <a:cxn ang="0">
                  <a:pos x="206" y="101"/>
                </a:cxn>
                <a:cxn ang="0">
                  <a:pos x="206" y="254"/>
                </a:cxn>
                <a:cxn ang="0">
                  <a:pos x="166" y="243"/>
                </a:cxn>
                <a:cxn ang="0">
                  <a:pos x="138" y="267"/>
                </a:cxn>
                <a:cxn ang="0">
                  <a:pos x="127" y="305"/>
                </a:cxn>
                <a:cxn ang="0">
                  <a:pos x="123" y="373"/>
                </a:cxn>
                <a:cxn ang="0">
                  <a:pos x="83" y="373"/>
                </a:cxn>
                <a:cxn ang="0">
                  <a:pos x="16" y="364"/>
                </a:cxn>
                <a:cxn ang="0">
                  <a:pos x="0" y="357"/>
                </a:cxn>
                <a:cxn ang="0">
                  <a:pos x="0" y="495"/>
                </a:cxn>
                <a:cxn ang="0">
                  <a:pos x="11" y="511"/>
                </a:cxn>
                <a:cxn ang="0">
                  <a:pos x="12" y="617"/>
                </a:cxn>
                <a:cxn ang="0">
                  <a:pos x="53" y="609"/>
                </a:cxn>
                <a:cxn ang="0">
                  <a:pos x="73" y="637"/>
                </a:cxn>
                <a:cxn ang="0">
                  <a:pos x="104" y="648"/>
                </a:cxn>
                <a:cxn ang="0">
                  <a:pos x="139" y="700"/>
                </a:cxn>
                <a:cxn ang="0">
                  <a:pos x="171" y="724"/>
                </a:cxn>
                <a:cxn ang="0">
                  <a:pos x="217" y="662"/>
                </a:cxn>
                <a:cxn ang="0">
                  <a:pos x="252" y="681"/>
                </a:cxn>
                <a:cxn ang="0">
                  <a:pos x="414" y="693"/>
                </a:cxn>
                <a:cxn ang="0">
                  <a:pos x="474" y="685"/>
                </a:cxn>
                <a:cxn ang="0">
                  <a:pos x="471" y="629"/>
                </a:cxn>
                <a:cxn ang="0">
                  <a:pos x="434" y="618"/>
                </a:cxn>
                <a:cxn ang="0">
                  <a:pos x="438" y="267"/>
                </a:cxn>
                <a:cxn ang="0">
                  <a:pos x="414" y="235"/>
                </a:cxn>
                <a:cxn ang="0">
                  <a:pos x="414" y="167"/>
                </a:cxn>
                <a:cxn ang="0">
                  <a:pos x="447" y="160"/>
                </a:cxn>
                <a:cxn ang="0">
                  <a:pos x="447" y="115"/>
                </a:cxn>
                <a:cxn ang="0">
                  <a:pos x="353" y="0"/>
                </a:cxn>
              </a:cxnLst>
              <a:rect l="0" t="0" r="r" b="b"/>
              <a:pathLst>
                <a:path w="474" h="724">
                  <a:moveTo>
                    <a:pt x="353" y="0"/>
                  </a:moveTo>
                  <a:lnTo>
                    <a:pt x="335" y="64"/>
                  </a:lnTo>
                  <a:lnTo>
                    <a:pt x="316" y="92"/>
                  </a:lnTo>
                  <a:lnTo>
                    <a:pt x="206" y="101"/>
                  </a:lnTo>
                  <a:lnTo>
                    <a:pt x="206" y="254"/>
                  </a:lnTo>
                  <a:lnTo>
                    <a:pt x="166" y="243"/>
                  </a:lnTo>
                  <a:lnTo>
                    <a:pt x="138" y="267"/>
                  </a:lnTo>
                  <a:lnTo>
                    <a:pt x="127" y="305"/>
                  </a:lnTo>
                  <a:lnTo>
                    <a:pt x="123" y="373"/>
                  </a:lnTo>
                  <a:lnTo>
                    <a:pt x="83" y="373"/>
                  </a:lnTo>
                  <a:lnTo>
                    <a:pt x="16" y="364"/>
                  </a:lnTo>
                  <a:lnTo>
                    <a:pt x="0" y="357"/>
                  </a:lnTo>
                  <a:lnTo>
                    <a:pt x="0" y="495"/>
                  </a:lnTo>
                  <a:lnTo>
                    <a:pt x="11" y="511"/>
                  </a:lnTo>
                  <a:lnTo>
                    <a:pt x="12" y="617"/>
                  </a:lnTo>
                  <a:lnTo>
                    <a:pt x="53" y="609"/>
                  </a:lnTo>
                  <a:lnTo>
                    <a:pt x="73" y="637"/>
                  </a:lnTo>
                  <a:lnTo>
                    <a:pt x="104" y="648"/>
                  </a:lnTo>
                  <a:lnTo>
                    <a:pt x="139" y="700"/>
                  </a:lnTo>
                  <a:lnTo>
                    <a:pt x="171" y="724"/>
                  </a:lnTo>
                  <a:lnTo>
                    <a:pt x="217" y="662"/>
                  </a:lnTo>
                  <a:lnTo>
                    <a:pt x="252" y="681"/>
                  </a:lnTo>
                  <a:lnTo>
                    <a:pt x="414" y="693"/>
                  </a:lnTo>
                  <a:lnTo>
                    <a:pt x="474" y="685"/>
                  </a:lnTo>
                  <a:lnTo>
                    <a:pt x="471" y="629"/>
                  </a:lnTo>
                  <a:lnTo>
                    <a:pt x="434" y="618"/>
                  </a:lnTo>
                  <a:lnTo>
                    <a:pt x="438" y="267"/>
                  </a:lnTo>
                  <a:lnTo>
                    <a:pt x="414" y="235"/>
                  </a:lnTo>
                  <a:lnTo>
                    <a:pt x="414" y="167"/>
                  </a:lnTo>
                  <a:lnTo>
                    <a:pt x="447" y="160"/>
                  </a:lnTo>
                  <a:lnTo>
                    <a:pt x="447" y="115"/>
                  </a:lnTo>
                  <a:lnTo>
                    <a:pt x="353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" name="Freeform 165"/>
            <p:cNvSpPr>
              <a:spLocks noChangeAspect="1"/>
            </p:cNvSpPr>
            <p:nvPr/>
          </p:nvSpPr>
          <p:spPr bwMode="auto">
            <a:xfrm>
              <a:off x="1038707" y="4306724"/>
              <a:ext cx="189890" cy="271568"/>
            </a:xfrm>
            <a:custGeom>
              <a:avLst/>
              <a:gdLst/>
              <a:ahLst/>
              <a:cxnLst>
                <a:cxn ang="0">
                  <a:pos x="0" y="420"/>
                </a:cxn>
                <a:cxn ang="0">
                  <a:pos x="16" y="398"/>
                </a:cxn>
                <a:cxn ang="0">
                  <a:pos x="31" y="360"/>
                </a:cxn>
                <a:cxn ang="0">
                  <a:pos x="10" y="344"/>
                </a:cxn>
                <a:cxn ang="0">
                  <a:pos x="6" y="319"/>
                </a:cxn>
                <a:cxn ang="0">
                  <a:pos x="37" y="305"/>
                </a:cxn>
                <a:cxn ang="0">
                  <a:pos x="61" y="298"/>
                </a:cxn>
                <a:cxn ang="0">
                  <a:pos x="85" y="330"/>
                </a:cxn>
                <a:cxn ang="0">
                  <a:pos x="123" y="315"/>
                </a:cxn>
                <a:cxn ang="0">
                  <a:pos x="151" y="271"/>
                </a:cxn>
                <a:cxn ang="0">
                  <a:pos x="144" y="227"/>
                </a:cxn>
                <a:cxn ang="0">
                  <a:pos x="120" y="206"/>
                </a:cxn>
                <a:cxn ang="0">
                  <a:pos x="106" y="174"/>
                </a:cxn>
                <a:cxn ang="0">
                  <a:pos x="118" y="150"/>
                </a:cxn>
                <a:cxn ang="0">
                  <a:pos x="109" y="120"/>
                </a:cxn>
                <a:cxn ang="0">
                  <a:pos x="76" y="119"/>
                </a:cxn>
                <a:cxn ang="0">
                  <a:pos x="76" y="77"/>
                </a:cxn>
                <a:cxn ang="0">
                  <a:pos x="219" y="59"/>
                </a:cxn>
                <a:cxn ang="0">
                  <a:pos x="237" y="31"/>
                </a:cxn>
                <a:cxn ang="0">
                  <a:pos x="261" y="6"/>
                </a:cxn>
                <a:cxn ang="0">
                  <a:pos x="295" y="0"/>
                </a:cxn>
                <a:cxn ang="0">
                  <a:pos x="323" y="10"/>
                </a:cxn>
                <a:cxn ang="0">
                  <a:pos x="312" y="69"/>
                </a:cxn>
                <a:cxn ang="0">
                  <a:pos x="298" y="81"/>
                </a:cxn>
                <a:cxn ang="0">
                  <a:pos x="293" y="226"/>
                </a:cxn>
                <a:cxn ang="0">
                  <a:pos x="285" y="243"/>
                </a:cxn>
                <a:cxn ang="0">
                  <a:pos x="264" y="265"/>
                </a:cxn>
                <a:cxn ang="0">
                  <a:pos x="258" y="326"/>
                </a:cxn>
                <a:cxn ang="0">
                  <a:pos x="223" y="330"/>
                </a:cxn>
                <a:cxn ang="0">
                  <a:pos x="219" y="403"/>
                </a:cxn>
                <a:cxn ang="0">
                  <a:pos x="169" y="423"/>
                </a:cxn>
                <a:cxn ang="0">
                  <a:pos x="159" y="439"/>
                </a:cxn>
                <a:cxn ang="0">
                  <a:pos x="123" y="439"/>
                </a:cxn>
                <a:cxn ang="0">
                  <a:pos x="100" y="425"/>
                </a:cxn>
                <a:cxn ang="0">
                  <a:pos x="71" y="439"/>
                </a:cxn>
                <a:cxn ang="0">
                  <a:pos x="47" y="450"/>
                </a:cxn>
                <a:cxn ang="0">
                  <a:pos x="27" y="457"/>
                </a:cxn>
                <a:cxn ang="0">
                  <a:pos x="27" y="433"/>
                </a:cxn>
                <a:cxn ang="0">
                  <a:pos x="0" y="420"/>
                </a:cxn>
              </a:cxnLst>
              <a:rect l="0" t="0" r="r" b="b"/>
              <a:pathLst>
                <a:path w="323" h="457">
                  <a:moveTo>
                    <a:pt x="0" y="420"/>
                  </a:moveTo>
                  <a:lnTo>
                    <a:pt x="16" y="398"/>
                  </a:lnTo>
                  <a:lnTo>
                    <a:pt x="31" y="360"/>
                  </a:lnTo>
                  <a:lnTo>
                    <a:pt x="10" y="344"/>
                  </a:lnTo>
                  <a:lnTo>
                    <a:pt x="6" y="319"/>
                  </a:lnTo>
                  <a:lnTo>
                    <a:pt x="37" y="305"/>
                  </a:lnTo>
                  <a:lnTo>
                    <a:pt x="61" y="298"/>
                  </a:lnTo>
                  <a:lnTo>
                    <a:pt x="85" y="330"/>
                  </a:lnTo>
                  <a:lnTo>
                    <a:pt x="123" y="315"/>
                  </a:lnTo>
                  <a:lnTo>
                    <a:pt x="151" y="271"/>
                  </a:lnTo>
                  <a:lnTo>
                    <a:pt x="144" y="227"/>
                  </a:lnTo>
                  <a:lnTo>
                    <a:pt x="120" y="206"/>
                  </a:lnTo>
                  <a:lnTo>
                    <a:pt x="106" y="174"/>
                  </a:lnTo>
                  <a:lnTo>
                    <a:pt x="118" y="150"/>
                  </a:lnTo>
                  <a:lnTo>
                    <a:pt x="109" y="120"/>
                  </a:lnTo>
                  <a:lnTo>
                    <a:pt x="76" y="119"/>
                  </a:lnTo>
                  <a:lnTo>
                    <a:pt x="76" y="77"/>
                  </a:lnTo>
                  <a:lnTo>
                    <a:pt x="219" y="59"/>
                  </a:lnTo>
                  <a:lnTo>
                    <a:pt x="237" y="31"/>
                  </a:lnTo>
                  <a:lnTo>
                    <a:pt x="261" y="6"/>
                  </a:lnTo>
                  <a:lnTo>
                    <a:pt x="295" y="0"/>
                  </a:lnTo>
                  <a:lnTo>
                    <a:pt x="323" y="10"/>
                  </a:lnTo>
                  <a:lnTo>
                    <a:pt x="312" y="69"/>
                  </a:lnTo>
                  <a:lnTo>
                    <a:pt x="298" y="81"/>
                  </a:lnTo>
                  <a:lnTo>
                    <a:pt x="293" y="226"/>
                  </a:lnTo>
                  <a:lnTo>
                    <a:pt x="285" y="243"/>
                  </a:lnTo>
                  <a:lnTo>
                    <a:pt x="264" y="265"/>
                  </a:lnTo>
                  <a:lnTo>
                    <a:pt x="258" y="326"/>
                  </a:lnTo>
                  <a:lnTo>
                    <a:pt x="223" y="330"/>
                  </a:lnTo>
                  <a:lnTo>
                    <a:pt x="219" y="403"/>
                  </a:lnTo>
                  <a:lnTo>
                    <a:pt x="169" y="423"/>
                  </a:lnTo>
                  <a:lnTo>
                    <a:pt x="159" y="439"/>
                  </a:lnTo>
                  <a:lnTo>
                    <a:pt x="123" y="439"/>
                  </a:lnTo>
                  <a:lnTo>
                    <a:pt x="100" y="425"/>
                  </a:lnTo>
                  <a:lnTo>
                    <a:pt x="71" y="439"/>
                  </a:lnTo>
                  <a:lnTo>
                    <a:pt x="47" y="450"/>
                  </a:lnTo>
                  <a:lnTo>
                    <a:pt x="27" y="457"/>
                  </a:lnTo>
                  <a:lnTo>
                    <a:pt x="27" y="433"/>
                  </a:lnTo>
                  <a:lnTo>
                    <a:pt x="0" y="42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" name="Freeform 166"/>
            <p:cNvSpPr>
              <a:spLocks noChangeAspect="1"/>
            </p:cNvSpPr>
            <p:nvPr/>
          </p:nvSpPr>
          <p:spPr bwMode="auto">
            <a:xfrm>
              <a:off x="1052773" y="4265900"/>
              <a:ext cx="520440" cy="582186"/>
            </a:xfrm>
            <a:custGeom>
              <a:avLst/>
              <a:gdLst/>
              <a:ahLst/>
              <a:cxnLst>
                <a:cxn ang="0">
                  <a:pos x="4" y="553"/>
                </a:cxn>
                <a:cxn ang="0">
                  <a:pos x="22" y="578"/>
                </a:cxn>
                <a:cxn ang="0">
                  <a:pos x="135" y="565"/>
                </a:cxn>
                <a:cxn ang="0">
                  <a:pos x="238" y="653"/>
                </a:cxn>
                <a:cxn ang="0">
                  <a:pos x="262" y="689"/>
                </a:cxn>
                <a:cxn ang="0">
                  <a:pos x="346" y="636"/>
                </a:cxn>
                <a:cxn ang="0">
                  <a:pos x="391" y="674"/>
                </a:cxn>
                <a:cxn ang="0">
                  <a:pos x="441" y="654"/>
                </a:cxn>
                <a:cxn ang="0">
                  <a:pos x="462" y="784"/>
                </a:cxn>
                <a:cxn ang="0">
                  <a:pos x="490" y="846"/>
                </a:cxn>
                <a:cxn ang="0">
                  <a:pos x="593" y="851"/>
                </a:cxn>
                <a:cxn ang="0">
                  <a:pos x="628" y="907"/>
                </a:cxn>
                <a:cxn ang="0">
                  <a:pos x="678" y="871"/>
                </a:cxn>
                <a:cxn ang="0">
                  <a:pos x="720" y="909"/>
                </a:cxn>
                <a:cxn ang="0">
                  <a:pos x="749" y="982"/>
                </a:cxn>
                <a:cxn ang="0">
                  <a:pos x="810" y="950"/>
                </a:cxn>
                <a:cxn ang="0">
                  <a:pos x="771" y="891"/>
                </a:cxn>
                <a:cxn ang="0">
                  <a:pos x="763" y="733"/>
                </a:cxn>
                <a:cxn ang="0">
                  <a:pos x="817" y="685"/>
                </a:cxn>
                <a:cxn ang="0">
                  <a:pos x="828" y="634"/>
                </a:cxn>
                <a:cxn ang="0">
                  <a:pos x="814" y="573"/>
                </a:cxn>
                <a:cxn ang="0">
                  <a:pos x="810" y="506"/>
                </a:cxn>
                <a:cxn ang="0">
                  <a:pos x="781" y="458"/>
                </a:cxn>
                <a:cxn ang="0">
                  <a:pos x="761" y="413"/>
                </a:cxn>
                <a:cxn ang="0">
                  <a:pos x="776" y="369"/>
                </a:cxn>
                <a:cxn ang="0">
                  <a:pos x="799" y="326"/>
                </a:cxn>
                <a:cxn ang="0">
                  <a:pos x="858" y="198"/>
                </a:cxn>
                <a:cxn ang="0">
                  <a:pos x="887" y="157"/>
                </a:cxn>
                <a:cxn ang="0">
                  <a:pos x="858" y="130"/>
                </a:cxn>
                <a:cxn ang="0">
                  <a:pos x="845" y="67"/>
                </a:cxn>
                <a:cxn ang="0">
                  <a:pos x="800" y="36"/>
                </a:cxn>
                <a:cxn ang="0">
                  <a:pos x="678" y="2"/>
                </a:cxn>
                <a:cxn ang="0">
                  <a:pos x="599" y="12"/>
                </a:cxn>
                <a:cxn ang="0">
                  <a:pos x="555" y="23"/>
                </a:cxn>
                <a:cxn ang="0">
                  <a:pos x="455" y="54"/>
                </a:cxn>
                <a:cxn ang="0">
                  <a:pos x="360" y="30"/>
                </a:cxn>
                <a:cxn ang="0">
                  <a:pos x="311" y="44"/>
                </a:cxn>
                <a:cxn ang="0">
                  <a:pos x="272" y="69"/>
                </a:cxn>
                <a:cxn ang="0">
                  <a:pos x="289" y="138"/>
                </a:cxn>
                <a:cxn ang="0">
                  <a:pos x="270" y="295"/>
                </a:cxn>
                <a:cxn ang="0">
                  <a:pos x="241" y="334"/>
                </a:cxn>
                <a:cxn ang="0">
                  <a:pos x="200" y="399"/>
                </a:cxn>
                <a:cxn ang="0">
                  <a:pos x="146" y="492"/>
                </a:cxn>
                <a:cxn ang="0">
                  <a:pos x="100" y="508"/>
                </a:cxn>
                <a:cxn ang="0">
                  <a:pos x="48" y="508"/>
                </a:cxn>
                <a:cxn ang="0">
                  <a:pos x="4" y="526"/>
                </a:cxn>
                <a:cxn ang="0">
                  <a:pos x="21" y="543"/>
                </a:cxn>
              </a:cxnLst>
              <a:rect l="0" t="0" r="r" b="b"/>
              <a:pathLst>
                <a:path w="887" h="982">
                  <a:moveTo>
                    <a:pt x="21" y="543"/>
                  </a:moveTo>
                  <a:lnTo>
                    <a:pt x="4" y="553"/>
                  </a:lnTo>
                  <a:lnTo>
                    <a:pt x="0" y="573"/>
                  </a:lnTo>
                  <a:lnTo>
                    <a:pt x="22" y="578"/>
                  </a:lnTo>
                  <a:lnTo>
                    <a:pt x="87" y="582"/>
                  </a:lnTo>
                  <a:lnTo>
                    <a:pt x="135" y="565"/>
                  </a:lnTo>
                  <a:lnTo>
                    <a:pt x="220" y="575"/>
                  </a:lnTo>
                  <a:lnTo>
                    <a:pt x="238" y="653"/>
                  </a:lnTo>
                  <a:lnTo>
                    <a:pt x="257" y="660"/>
                  </a:lnTo>
                  <a:lnTo>
                    <a:pt x="262" y="689"/>
                  </a:lnTo>
                  <a:lnTo>
                    <a:pt x="342" y="688"/>
                  </a:lnTo>
                  <a:lnTo>
                    <a:pt x="346" y="636"/>
                  </a:lnTo>
                  <a:lnTo>
                    <a:pt x="368" y="619"/>
                  </a:lnTo>
                  <a:lnTo>
                    <a:pt x="391" y="674"/>
                  </a:lnTo>
                  <a:lnTo>
                    <a:pt x="411" y="660"/>
                  </a:lnTo>
                  <a:lnTo>
                    <a:pt x="441" y="654"/>
                  </a:lnTo>
                  <a:lnTo>
                    <a:pt x="459" y="681"/>
                  </a:lnTo>
                  <a:lnTo>
                    <a:pt x="462" y="784"/>
                  </a:lnTo>
                  <a:lnTo>
                    <a:pt x="462" y="822"/>
                  </a:lnTo>
                  <a:lnTo>
                    <a:pt x="490" y="846"/>
                  </a:lnTo>
                  <a:lnTo>
                    <a:pt x="544" y="846"/>
                  </a:lnTo>
                  <a:lnTo>
                    <a:pt x="593" y="851"/>
                  </a:lnTo>
                  <a:lnTo>
                    <a:pt x="607" y="899"/>
                  </a:lnTo>
                  <a:lnTo>
                    <a:pt x="628" y="907"/>
                  </a:lnTo>
                  <a:lnTo>
                    <a:pt x="642" y="880"/>
                  </a:lnTo>
                  <a:lnTo>
                    <a:pt x="678" y="871"/>
                  </a:lnTo>
                  <a:lnTo>
                    <a:pt x="683" y="889"/>
                  </a:lnTo>
                  <a:lnTo>
                    <a:pt x="720" y="909"/>
                  </a:lnTo>
                  <a:lnTo>
                    <a:pt x="730" y="958"/>
                  </a:lnTo>
                  <a:lnTo>
                    <a:pt x="749" y="982"/>
                  </a:lnTo>
                  <a:lnTo>
                    <a:pt x="799" y="980"/>
                  </a:lnTo>
                  <a:lnTo>
                    <a:pt x="810" y="950"/>
                  </a:lnTo>
                  <a:lnTo>
                    <a:pt x="803" y="895"/>
                  </a:lnTo>
                  <a:lnTo>
                    <a:pt x="771" y="891"/>
                  </a:lnTo>
                  <a:lnTo>
                    <a:pt x="751" y="871"/>
                  </a:lnTo>
                  <a:lnTo>
                    <a:pt x="763" y="733"/>
                  </a:lnTo>
                  <a:lnTo>
                    <a:pt x="781" y="701"/>
                  </a:lnTo>
                  <a:lnTo>
                    <a:pt x="817" y="685"/>
                  </a:lnTo>
                  <a:lnTo>
                    <a:pt x="824" y="658"/>
                  </a:lnTo>
                  <a:lnTo>
                    <a:pt x="828" y="634"/>
                  </a:lnTo>
                  <a:lnTo>
                    <a:pt x="824" y="602"/>
                  </a:lnTo>
                  <a:lnTo>
                    <a:pt x="814" y="573"/>
                  </a:lnTo>
                  <a:lnTo>
                    <a:pt x="806" y="550"/>
                  </a:lnTo>
                  <a:lnTo>
                    <a:pt x="810" y="506"/>
                  </a:lnTo>
                  <a:lnTo>
                    <a:pt x="799" y="474"/>
                  </a:lnTo>
                  <a:lnTo>
                    <a:pt x="781" y="458"/>
                  </a:lnTo>
                  <a:lnTo>
                    <a:pt x="789" y="409"/>
                  </a:lnTo>
                  <a:lnTo>
                    <a:pt x="761" y="413"/>
                  </a:lnTo>
                  <a:lnTo>
                    <a:pt x="759" y="385"/>
                  </a:lnTo>
                  <a:lnTo>
                    <a:pt x="776" y="369"/>
                  </a:lnTo>
                  <a:lnTo>
                    <a:pt x="771" y="340"/>
                  </a:lnTo>
                  <a:lnTo>
                    <a:pt x="799" y="326"/>
                  </a:lnTo>
                  <a:lnTo>
                    <a:pt x="810" y="216"/>
                  </a:lnTo>
                  <a:lnTo>
                    <a:pt x="858" y="198"/>
                  </a:lnTo>
                  <a:lnTo>
                    <a:pt x="886" y="184"/>
                  </a:lnTo>
                  <a:lnTo>
                    <a:pt x="887" y="157"/>
                  </a:lnTo>
                  <a:lnTo>
                    <a:pt x="858" y="152"/>
                  </a:lnTo>
                  <a:lnTo>
                    <a:pt x="858" y="130"/>
                  </a:lnTo>
                  <a:lnTo>
                    <a:pt x="848" y="75"/>
                  </a:lnTo>
                  <a:lnTo>
                    <a:pt x="845" y="67"/>
                  </a:lnTo>
                  <a:lnTo>
                    <a:pt x="817" y="59"/>
                  </a:lnTo>
                  <a:lnTo>
                    <a:pt x="800" y="36"/>
                  </a:lnTo>
                  <a:lnTo>
                    <a:pt x="696" y="27"/>
                  </a:lnTo>
                  <a:lnTo>
                    <a:pt x="678" y="2"/>
                  </a:lnTo>
                  <a:lnTo>
                    <a:pt x="652" y="0"/>
                  </a:lnTo>
                  <a:lnTo>
                    <a:pt x="599" y="12"/>
                  </a:lnTo>
                  <a:lnTo>
                    <a:pt x="559" y="6"/>
                  </a:lnTo>
                  <a:lnTo>
                    <a:pt x="555" y="23"/>
                  </a:lnTo>
                  <a:lnTo>
                    <a:pt x="461" y="33"/>
                  </a:lnTo>
                  <a:lnTo>
                    <a:pt x="455" y="54"/>
                  </a:lnTo>
                  <a:lnTo>
                    <a:pt x="376" y="61"/>
                  </a:lnTo>
                  <a:lnTo>
                    <a:pt x="360" y="30"/>
                  </a:lnTo>
                  <a:lnTo>
                    <a:pt x="331" y="17"/>
                  </a:lnTo>
                  <a:lnTo>
                    <a:pt x="311" y="44"/>
                  </a:lnTo>
                  <a:lnTo>
                    <a:pt x="289" y="55"/>
                  </a:lnTo>
                  <a:lnTo>
                    <a:pt x="272" y="69"/>
                  </a:lnTo>
                  <a:lnTo>
                    <a:pt x="300" y="79"/>
                  </a:lnTo>
                  <a:lnTo>
                    <a:pt x="289" y="138"/>
                  </a:lnTo>
                  <a:lnTo>
                    <a:pt x="275" y="150"/>
                  </a:lnTo>
                  <a:lnTo>
                    <a:pt x="270" y="295"/>
                  </a:lnTo>
                  <a:lnTo>
                    <a:pt x="262" y="312"/>
                  </a:lnTo>
                  <a:lnTo>
                    <a:pt x="241" y="334"/>
                  </a:lnTo>
                  <a:lnTo>
                    <a:pt x="235" y="395"/>
                  </a:lnTo>
                  <a:lnTo>
                    <a:pt x="200" y="399"/>
                  </a:lnTo>
                  <a:lnTo>
                    <a:pt x="196" y="472"/>
                  </a:lnTo>
                  <a:lnTo>
                    <a:pt x="146" y="492"/>
                  </a:lnTo>
                  <a:lnTo>
                    <a:pt x="136" y="508"/>
                  </a:lnTo>
                  <a:lnTo>
                    <a:pt x="100" y="508"/>
                  </a:lnTo>
                  <a:lnTo>
                    <a:pt x="77" y="494"/>
                  </a:lnTo>
                  <a:lnTo>
                    <a:pt x="48" y="508"/>
                  </a:lnTo>
                  <a:lnTo>
                    <a:pt x="24" y="519"/>
                  </a:lnTo>
                  <a:lnTo>
                    <a:pt x="4" y="526"/>
                  </a:lnTo>
                  <a:lnTo>
                    <a:pt x="16" y="541"/>
                  </a:lnTo>
                  <a:lnTo>
                    <a:pt x="21" y="54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" name="Freeform 167"/>
            <p:cNvSpPr>
              <a:spLocks noChangeAspect="1"/>
            </p:cNvSpPr>
            <p:nvPr/>
          </p:nvSpPr>
          <p:spPr bwMode="auto">
            <a:xfrm>
              <a:off x="1052773" y="4265900"/>
              <a:ext cx="520440" cy="582186"/>
            </a:xfrm>
            <a:custGeom>
              <a:avLst/>
              <a:gdLst/>
              <a:ahLst/>
              <a:cxnLst>
                <a:cxn ang="0">
                  <a:pos x="4" y="553"/>
                </a:cxn>
                <a:cxn ang="0">
                  <a:pos x="22" y="578"/>
                </a:cxn>
                <a:cxn ang="0">
                  <a:pos x="135" y="565"/>
                </a:cxn>
                <a:cxn ang="0">
                  <a:pos x="238" y="653"/>
                </a:cxn>
                <a:cxn ang="0">
                  <a:pos x="262" y="689"/>
                </a:cxn>
                <a:cxn ang="0">
                  <a:pos x="346" y="636"/>
                </a:cxn>
                <a:cxn ang="0">
                  <a:pos x="391" y="674"/>
                </a:cxn>
                <a:cxn ang="0">
                  <a:pos x="441" y="654"/>
                </a:cxn>
                <a:cxn ang="0">
                  <a:pos x="462" y="784"/>
                </a:cxn>
                <a:cxn ang="0">
                  <a:pos x="490" y="846"/>
                </a:cxn>
                <a:cxn ang="0">
                  <a:pos x="593" y="851"/>
                </a:cxn>
                <a:cxn ang="0">
                  <a:pos x="628" y="907"/>
                </a:cxn>
                <a:cxn ang="0">
                  <a:pos x="678" y="871"/>
                </a:cxn>
                <a:cxn ang="0">
                  <a:pos x="720" y="909"/>
                </a:cxn>
                <a:cxn ang="0">
                  <a:pos x="749" y="982"/>
                </a:cxn>
                <a:cxn ang="0">
                  <a:pos x="810" y="950"/>
                </a:cxn>
                <a:cxn ang="0">
                  <a:pos x="771" y="891"/>
                </a:cxn>
                <a:cxn ang="0">
                  <a:pos x="763" y="733"/>
                </a:cxn>
                <a:cxn ang="0">
                  <a:pos x="817" y="685"/>
                </a:cxn>
                <a:cxn ang="0">
                  <a:pos x="828" y="634"/>
                </a:cxn>
                <a:cxn ang="0">
                  <a:pos x="814" y="573"/>
                </a:cxn>
                <a:cxn ang="0">
                  <a:pos x="810" y="506"/>
                </a:cxn>
                <a:cxn ang="0">
                  <a:pos x="781" y="458"/>
                </a:cxn>
                <a:cxn ang="0">
                  <a:pos x="761" y="413"/>
                </a:cxn>
                <a:cxn ang="0">
                  <a:pos x="776" y="369"/>
                </a:cxn>
                <a:cxn ang="0">
                  <a:pos x="799" y="326"/>
                </a:cxn>
                <a:cxn ang="0">
                  <a:pos x="858" y="198"/>
                </a:cxn>
                <a:cxn ang="0">
                  <a:pos x="887" y="157"/>
                </a:cxn>
                <a:cxn ang="0">
                  <a:pos x="858" y="130"/>
                </a:cxn>
                <a:cxn ang="0">
                  <a:pos x="845" y="67"/>
                </a:cxn>
                <a:cxn ang="0">
                  <a:pos x="800" y="36"/>
                </a:cxn>
                <a:cxn ang="0">
                  <a:pos x="678" y="2"/>
                </a:cxn>
                <a:cxn ang="0">
                  <a:pos x="599" y="12"/>
                </a:cxn>
                <a:cxn ang="0">
                  <a:pos x="555" y="23"/>
                </a:cxn>
                <a:cxn ang="0">
                  <a:pos x="455" y="54"/>
                </a:cxn>
                <a:cxn ang="0">
                  <a:pos x="360" y="30"/>
                </a:cxn>
                <a:cxn ang="0">
                  <a:pos x="311" y="44"/>
                </a:cxn>
                <a:cxn ang="0">
                  <a:pos x="272" y="69"/>
                </a:cxn>
                <a:cxn ang="0">
                  <a:pos x="289" y="138"/>
                </a:cxn>
                <a:cxn ang="0">
                  <a:pos x="270" y="295"/>
                </a:cxn>
                <a:cxn ang="0">
                  <a:pos x="241" y="334"/>
                </a:cxn>
                <a:cxn ang="0">
                  <a:pos x="200" y="399"/>
                </a:cxn>
                <a:cxn ang="0">
                  <a:pos x="146" y="492"/>
                </a:cxn>
                <a:cxn ang="0">
                  <a:pos x="100" y="508"/>
                </a:cxn>
                <a:cxn ang="0">
                  <a:pos x="48" y="508"/>
                </a:cxn>
                <a:cxn ang="0">
                  <a:pos x="4" y="526"/>
                </a:cxn>
              </a:cxnLst>
              <a:rect l="0" t="0" r="r" b="b"/>
              <a:pathLst>
                <a:path w="887" h="982">
                  <a:moveTo>
                    <a:pt x="21" y="543"/>
                  </a:moveTo>
                  <a:lnTo>
                    <a:pt x="4" y="553"/>
                  </a:lnTo>
                  <a:lnTo>
                    <a:pt x="0" y="573"/>
                  </a:lnTo>
                  <a:lnTo>
                    <a:pt x="22" y="578"/>
                  </a:lnTo>
                  <a:lnTo>
                    <a:pt x="87" y="582"/>
                  </a:lnTo>
                  <a:lnTo>
                    <a:pt x="135" y="565"/>
                  </a:lnTo>
                  <a:lnTo>
                    <a:pt x="220" y="575"/>
                  </a:lnTo>
                  <a:lnTo>
                    <a:pt x="238" y="653"/>
                  </a:lnTo>
                  <a:lnTo>
                    <a:pt x="257" y="660"/>
                  </a:lnTo>
                  <a:lnTo>
                    <a:pt x="262" y="689"/>
                  </a:lnTo>
                  <a:lnTo>
                    <a:pt x="342" y="688"/>
                  </a:lnTo>
                  <a:lnTo>
                    <a:pt x="346" y="636"/>
                  </a:lnTo>
                  <a:lnTo>
                    <a:pt x="368" y="619"/>
                  </a:lnTo>
                  <a:lnTo>
                    <a:pt x="391" y="674"/>
                  </a:lnTo>
                  <a:lnTo>
                    <a:pt x="411" y="660"/>
                  </a:lnTo>
                  <a:lnTo>
                    <a:pt x="441" y="654"/>
                  </a:lnTo>
                  <a:lnTo>
                    <a:pt x="459" y="681"/>
                  </a:lnTo>
                  <a:lnTo>
                    <a:pt x="462" y="784"/>
                  </a:lnTo>
                  <a:lnTo>
                    <a:pt x="462" y="822"/>
                  </a:lnTo>
                  <a:lnTo>
                    <a:pt x="490" y="846"/>
                  </a:lnTo>
                  <a:lnTo>
                    <a:pt x="544" y="846"/>
                  </a:lnTo>
                  <a:lnTo>
                    <a:pt x="593" y="851"/>
                  </a:lnTo>
                  <a:lnTo>
                    <a:pt x="607" y="899"/>
                  </a:lnTo>
                  <a:lnTo>
                    <a:pt x="628" y="907"/>
                  </a:lnTo>
                  <a:lnTo>
                    <a:pt x="642" y="880"/>
                  </a:lnTo>
                  <a:lnTo>
                    <a:pt x="678" y="871"/>
                  </a:lnTo>
                  <a:lnTo>
                    <a:pt x="683" y="889"/>
                  </a:lnTo>
                  <a:lnTo>
                    <a:pt x="720" y="909"/>
                  </a:lnTo>
                  <a:lnTo>
                    <a:pt x="730" y="958"/>
                  </a:lnTo>
                  <a:lnTo>
                    <a:pt x="749" y="982"/>
                  </a:lnTo>
                  <a:lnTo>
                    <a:pt x="799" y="980"/>
                  </a:lnTo>
                  <a:lnTo>
                    <a:pt x="810" y="950"/>
                  </a:lnTo>
                  <a:lnTo>
                    <a:pt x="803" y="895"/>
                  </a:lnTo>
                  <a:lnTo>
                    <a:pt x="771" y="891"/>
                  </a:lnTo>
                  <a:lnTo>
                    <a:pt x="751" y="871"/>
                  </a:lnTo>
                  <a:lnTo>
                    <a:pt x="763" y="733"/>
                  </a:lnTo>
                  <a:lnTo>
                    <a:pt x="781" y="701"/>
                  </a:lnTo>
                  <a:lnTo>
                    <a:pt x="817" y="685"/>
                  </a:lnTo>
                  <a:lnTo>
                    <a:pt x="824" y="658"/>
                  </a:lnTo>
                  <a:lnTo>
                    <a:pt x="828" y="634"/>
                  </a:lnTo>
                  <a:lnTo>
                    <a:pt x="824" y="602"/>
                  </a:lnTo>
                  <a:lnTo>
                    <a:pt x="814" y="573"/>
                  </a:lnTo>
                  <a:lnTo>
                    <a:pt x="806" y="550"/>
                  </a:lnTo>
                  <a:lnTo>
                    <a:pt x="810" y="506"/>
                  </a:lnTo>
                  <a:lnTo>
                    <a:pt x="799" y="474"/>
                  </a:lnTo>
                  <a:lnTo>
                    <a:pt x="781" y="458"/>
                  </a:lnTo>
                  <a:lnTo>
                    <a:pt x="789" y="409"/>
                  </a:lnTo>
                  <a:lnTo>
                    <a:pt x="761" y="413"/>
                  </a:lnTo>
                  <a:lnTo>
                    <a:pt x="759" y="385"/>
                  </a:lnTo>
                  <a:lnTo>
                    <a:pt x="776" y="369"/>
                  </a:lnTo>
                  <a:lnTo>
                    <a:pt x="771" y="340"/>
                  </a:lnTo>
                  <a:lnTo>
                    <a:pt x="799" y="326"/>
                  </a:lnTo>
                  <a:lnTo>
                    <a:pt x="810" y="216"/>
                  </a:lnTo>
                  <a:lnTo>
                    <a:pt x="858" y="198"/>
                  </a:lnTo>
                  <a:lnTo>
                    <a:pt x="886" y="184"/>
                  </a:lnTo>
                  <a:lnTo>
                    <a:pt x="887" y="157"/>
                  </a:lnTo>
                  <a:lnTo>
                    <a:pt x="858" y="152"/>
                  </a:lnTo>
                  <a:lnTo>
                    <a:pt x="858" y="130"/>
                  </a:lnTo>
                  <a:lnTo>
                    <a:pt x="848" y="75"/>
                  </a:lnTo>
                  <a:lnTo>
                    <a:pt x="845" y="67"/>
                  </a:lnTo>
                  <a:lnTo>
                    <a:pt x="817" y="59"/>
                  </a:lnTo>
                  <a:lnTo>
                    <a:pt x="800" y="36"/>
                  </a:lnTo>
                  <a:lnTo>
                    <a:pt x="696" y="27"/>
                  </a:lnTo>
                  <a:lnTo>
                    <a:pt x="678" y="2"/>
                  </a:lnTo>
                  <a:lnTo>
                    <a:pt x="652" y="0"/>
                  </a:lnTo>
                  <a:lnTo>
                    <a:pt x="599" y="12"/>
                  </a:lnTo>
                  <a:lnTo>
                    <a:pt x="559" y="6"/>
                  </a:lnTo>
                  <a:lnTo>
                    <a:pt x="555" y="23"/>
                  </a:lnTo>
                  <a:lnTo>
                    <a:pt x="461" y="33"/>
                  </a:lnTo>
                  <a:lnTo>
                    <a:pt x="455" y="54"/>
                  </a:lnTo>
                  <a:lnTo>
                    <a:pt x="376" y="61"/>
                  </a:lnTo>
                  <a:lnTo>
                    <a:pt x="360" y="30"/>
                  </a:lnTo>
                  <a:lnTo>
                    <a:pt x="331" y="17"/>
                  </a:lnTo>
                  <a:lnTo>
                    <a:pt x="311" y="44"/>
                  </a:lnTo>
                  <a:lnTo>
                    <a:pt x="289" y="55"/>
                  </a:lnTo>
                  <a:lnTo>
                    <a:pt x="272" y="69"/>
                  </a:lnTo>
                  <a:lnTo>
                    <a:pt x="300" y="79"/>
                  </a:lnTo>
                  <a:lnTo>
                    <a:pt x="289" y="138"/>
                  </a:lnTo>
                  <a:lnTo>
                    <a:pt x="275" y="150"/>
                  </a:lnTo>
                  <a:lnTo>
                    <a:pt x="270" y="295"/>
                  </a:lnTo>
                  <a:lnTo>
                    <a:pt x="262" y="312"/>
                  </a:lnTo>
                  <a:lnTo>
                    <a:pt x="241" y="334"/>
                  </a:lnTo>
                  <a:lnTo>
                    <a:pt x="235" y="395"/>
                  </a:lnTo>
                  <a:lnTo>
                    <a:pt x="200" y="399"/>
                  </a:lnTo>
                  <a:lnTo>
                    <a:pt x="196" y="472"/>
                  </a:lnTo>
                  <a:lnTo>
                    <a:pt x="146" y="492"/>
                  </a:lnTo>
                  <a:lnTo>
                    <a:pt x="136" y="508"/>
                  </a:lnTo>
                  <a:lnTo>
                    <a:pt x="100" y="508"/>
                  </a:lnTo>
                  <a:lnTo>
                    <a:pt x="77" y="494"/>
                  </a:lnTo>
                  <a:lnTo>
                    <a:pt x="48" y="508"/>
                  </a:lnTo>
                  <a:lnTo>
                    <a:pt x="24" y="519"/>
                  </a:lnTo>
                  <a:lnTo>
                    <a:pt x="4" y="526"/>
                  </a:lnTo>
                  <a:lnTo>
                    <a:pt x="16" y="541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" name="Freeform 168"/>
            <p:cNvSpPr>
              <a:spLocks noChangeAspect="1"/>
            </p:cNvSpPr>
            <p:nvPr/>
          </p:nvSpPr>
          <p:spPr bwMode="auto">
            <a:xfrm>
              <a:off x="1038707" y="4601367"/>
              <a:ext cx="332308" cy="379841"/>
            </a:xfrm>
            <a:custGeom>
              <a:avLst/>
              <a:gdLst/>
              <a:ahLst/>
              <a:cxnLst>
                <a:cxn ang="0">
                  <a:pos x="23" y="8"/>
                </a:cxn>
                <a:cxn ang="0">
                  <a:pos x="45" y="13"/>
                </a:cxn>
                <a:cxn ang="0">
                  <a:pos x="110" y="17"/>
                </a:cxn>
                <a:cxn ang="0">
                  <a:pos x="158" y="0"/>
                </a:cxn>
                <a:cxn ang="0">
                  <a:pos x="243" y="10"/>
                </a:cxn>
                <a:cxn ang="0">
                  <a:pos x="261" y="88"/>
                </a:cxn>
                <a:cxn ang="0">
                  <a:pos x="280" y="95"/>
                </a:cxn>
                <a:cxn ang="0">
                  <a:pos x="285" y="124"/>
                </a:cxn>
                <a:cxn ang="0">
                  <a:pos x="365" y="123"/>
                </a:cxn>
                <a:cxn ang="0">
                  <a:pos x="369" y="71"/>
                </a:cxn>
                <a:cxn ang="0">
                  <a:pos x="391" y="54"/>
                </a:cxn>
                <a:cxn ang="0">
                  <a:pos x="414" y="109"/>
                </a:cxn>
                <a:cxn ang="0">
                  <a:pos x="434" y="95"/>
                </a:cxn>
                <a:cxn ang="0">
                  <a:pos x="464" y="89"/>
                </a:cxn>
                <a:cxn ang="0">
                  <a:pos x="482" y="116"/>
                </a:cxn>
                <a:cxn ang="0">
                  <a:pos x="485" y="219"/>
                </a:cxn>
                <a:cxn ang="0">
                  <a:pos x="485" y="257"/>
                </a:cxn>
                <a:cxn ang="0">
                  <a:pos x="513" y="281"/>
                </a:cxn>
                <a:cxn ang="0">
                  <a:pos x="567" y="281"/>
                </a:cxn>
                <a:cxn ang="0">
                  <a:pos x="561" y="388"/>
                </a:cxn>
                <a:cxn ang="0">
                  <a:pos x="519" y="388"/>
                </a:cxn>
                <a:cxn ang="0">
                  <a:pos x="503" y="360"/>
                </a:cxn>
                <a:cxn ang="0">
                  <a:pos x="485" y="361"/>
                </a:cxn>
                <a:cxn ang="0">
                  <a:pos x="484" y="388"/>
                </a:cxn>
                <a:cxn ang="0">
                  <a:pos x="454" y="391"/>
                </a:cxn>
                <a:cxn ang="0">
                  <a:pos x="452" y="513"/>
                </a:cxn>
                <a:cxn ang="0">
                  <a:pos x="457" y="553"/>
                </a:cxn>
                <a:cxn ang="0">
                  <a:pos x="492" y="599"/>
                </a:cxn>
                <a:cxn ang="0">
                  <a:pos x="493" y="622"/>
                </a:cxn>
                <a:cxn ang="0">
                  <a:pos x="442" y="644"/>
                </a:cxn>
                <a:cxn ang="0">
                  <a:pos x="404" y="638"/>
                </a:cxn>
                <a:cxn ang="0">
                  <a:pos x="307" y="625"/>
                </a:cxn>
                <a:cxn ang="0">
                  <a:pos x="291" y="600"/>
                </a:cxn>
                <a:cxn ang="0">
                  <a:pos x="174" y="604"/>
                </a:cxn>
                <a:cxn ang="0">
                  <a:pos x="94" y="596"/>
                </a:cxn>
                <a:cxn ang="0">
                  <a:pos x="46" y="573"/>
                </a:cxn>
                <a:cxn ang="0">
                  <a:pos x="1" y="591"/>
                </a:cxn>
                <a:cxn ang="0">
                  <a:pos x="0" y="513"/>
                </a:cxn>
                <a:cxn ang="0">
                  <a:pos x="51" y="425"/>
                </a:cxn>
                <a:cxn ang="0">
                  <a:pos x="76" y="365"/>
                </a:cxn>
                <a:cxn ang="0">
                  <a:pos x="81" y="350"/>
                </a:cxn>
                <a:cxn ang="0">
                  <a:pos x="103" y="344"/>
                </a:cxn>
                <a:cxn ang="0">
                  <a:pos x="113" y="298"/>
                </a:cxn>
                <a:cxn ang="0">
                  <a:pos x="82" y="250"/>
                </a:cxn>
                <a:cxn ang="0">
                  <a:pos x="72" y="188"/>
                </a:cxn>
                <a:cxn ang="0">
                  <a:pos x="65" y="120"/>
                </a:cxn>
                <a:cxn ang="0">
                  <a:pos x="41" y="106"/>
                </a:cxn>
                <a:cxn ang="0">
                  <a:pos x="41" y="36"/>
                </a:cxn>
                <a:cxn ang="0">
                  <a:pos x="16" y="36"/>
                </a:cxn>
                <a:cxn ang="0">
                  <a:pos x="23" y="8"/>
                </a:cxn>
              </a:cxnLst>
              <a:rect l="0" t="0" r="r" b="b"/>
              <a:pathLst>
                <a:path w="567" h="644">
                  <a:moveTo>
                    <a:pt x="23" y="8"/>
                  </a:moveTo>
                  <a:lnTo>
                    <a:pt x="45" y="13"/>
                  </a:lnTo>
                  <a:lnTo>
                    <a:pt x="110" y="17"/>
                  </a:lnTo>
                  <a:lnTo>
                    <a:pt x="158" y="0"/>
                  </a:lnTo>
                  <a:lnTo>
                    <a:pt x="243" y="10"/>
                  </a:lnTo>
                  <a:lnTo>
                    <a:pt x="261" y="88"/>
                  </a:lnTo>
                  <a:lnTo>
                    <a:pt x="280" y="95"/>
                  </a:lnTo>
                  <a:lnTo>
                    <a:pt x="285" y="124"/>
                  </a:lnTo>
                  <a:lnTo>
                    <a:pt x="365" y="123"/>
                  </a:lnTo>
                  <a:lnTo>
                    <a:pt x="369" y="71"/>
                  </a:lnTo>
                  <a:lnTo>
                    <a:pt x="391" y="54"/>
                  </a:lnTo>
                  <a:lnTo>
                    <a:pt x="414" y="109"/>
                  </a:lnTo>
                  <a:lnTo>
                    <a:pt x="434" y="95"/>
                  </a:lnTo>
                  <a:lnTo>
                    <a:pt x="464" y="89"/>
                  </a:lnTo>
                  <a:lnTo>
                    <a:pt x="482" y="116"/>
                  </a:lnTo>
                  <a:lnTo>
                    <a:pt x="485" y="219"/>
                  </a:lnTo>
                  <a:lnTo>
                    <a:pt x="485" y="257"/>
                  </a:lnTo>
                  <a:lnTo>
                    <a:pt x="513" y="281"/>
                  </a:lnTo>
                  <a:lnTo>
                    <a:pt x="567" y="281"/>
                  </a:lnTo>
                  <a:lnTo>
                    <a:pt x="561" y="388"/>
                  </a:lnTo>
                  <a:lnTo>
                    <a:pt x="519" y="388"/>
                  </a:lnTo>
                  <a:lnTo>
                    <a:pt x="503" y="360"/>
                  </a:lnTo>
                  <a:lnTo>
                    <a:pt x="485" y="361"/>
                  </a:lnTo>
                  <a:lnTo>
                    <a:pt x="484" y="388"/>
                  </a:lnTo>
                  <a:lnTo>
                    <a:pt x="454" y="391"/>
                  </a:lnTo>
                  <a:lnTo>
                    <a:pt x="452" y="513"/>
                  </a:lnTo>
                  <a:lnTo>
                    <a:pt x="457" y="553"/>
                  </a:lnTo>
                  <a:lnTo>
                    <a:pt x="492" y="599"/>
                  </a:lnTo>
                  <a:lnTo>
                    <a:pt x="493" y="622"/>
                  </a:lnTo>
                  <a:lnTo>
                    <a:pt x="442" y="644"/>
                  </a:lnTo>
                  <a:lnTo>
                    <a:pt x="404" y="638"/>
                  </a:lnTo>
                  <a:lnTo>
                    <a:pt x="307" y="625"/>
                  </a:lnTo>
                  <a:lnTo>
                    <a:pt x="291" y="600"/>
                  </a:lnTo>
                  <a:lnTo>
                    <a:pt x="174" y="604"/>
                  </a:lnTo>
                  <a:lnTo>
                    <a:pt x="94" y="596"/>
                  </a:lnTo>
                  <a:lnTo>
                    <a:pt x="46" y="573"/>
                  </a:lnTo>
                  <a:lnTo>
                    <a:pt x="1" y="591"/>
                  </a:lnTo>
                  <a:lnTo>
                    <a:pt x="0" y="513"/>
                  </a:lnTo>
                  <a:lnTo>
                    <a:pt x="51" y="425"/>
                  </a:lnTo>
                  <a:lnTo>
                    <a:pt x="76" y="365"/>
                  </a:lnTo>
                  <a:lnTo>
                    <a:pt x="81" y="350"/>
                  </a:lnTo>
                  <a:lnTo>
                    <a:pt x="103" y="344"/>
                  </a:lnTo>
                  <a:lnTo>
                    <a:pt x="113" y="298"/>
                  </a:lnTo>
                  <a:lnTo>
                    <a:pt x="82" y="250"/>
                  </a:lnTo>
                  <a:lnTo>
                    <a:pt x="72" y="188"/>
                  </a:lnTo>
                  <a:lnTo>
                    <a:pt x="65" y="120"/>
                  </a:lnTo>
                  <a:lnTo>
                    <a:pt x="41" y="106"/>
                  </a:lnTo>
                  <a:lnTo>
                    <a:pt x="41" y="36"/>
                  </a:lnTo>
                  <a:lnTo>
                    <a:pt x="16" y="36"/>
                  </a:lnTo>
                  <a:lnTo>
                    <a:pt x="23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" name="Freeform 169"/>
            <p:cNvSpPr>
              <a:spLocks noChangeAspect="1"/>
            </p:cNvSpPr>
            <p:nvPr/>
          </p:nvSpPr>
          <p:spPr bwMode="auto">
            <a:xfrm>
              <a:off x="1538048" y="5236801"/>
              <a:ext cx="40440" cy="49699"/>
            </a:xfrm>
            <a:custGeom>
              <a:avLst/>
              <a:gdLst/>
              <a:ahLst/>
              <a:cxnLst>
                <a:cxn ang="0">
                  <a:pos x="69" y="72"/>
                </a:cxn>
                <a:cxn ang="0">
                  <a:pos x="59" y="34"/>
                </a:cxn>
                <a:cxn ang="0">
                  <a:pos x="41" y="0"/>
                </a:cxn>
                <a:cxn ang="0">
                  <a:pos x="6" y="17"/>
                </a:cxn>
                <a:cxn ang="0">
                  <a:pos x="0" y="47"/>
                </a:cxn>
                <a:cxn ang="0">
                  <a:pos x="4" y="68"/>
                </a:cxn>
                <a:cxn ang="0">
                  <a:pos x="24" y="76"/>
                </a:cxn>
                <a:cxn ang="0">
                  <a:pos x="54" y="85"/>
                </a:cxn>
                <a:cxn ang="0">
                  <a:pos x="69" y="72"/>
                </a:cxn>
              </a:cxnLst>
              <a:rect l="0" t="0" r="r" b="b"/>
              <a:pathLst>
                <a:path w="69" h="85">
                  <a:moveTo>
                    <a:pt x="69" y="72"/>
                  </a:moveTo>
                  <a:lnTo>
                    <a:pt x="59" y="34"/>
                  </a:lnTo>
                  <a:lnTo>
                    <a:pt x="41" y="0"/>
                  </a:lnTo>
                  <a:lnTo>
                    <a:pt x="6" y="17"/>
                  </a:lnTo>
                  <a:lnTo>
                    <a:pt x="0" y="47"/>
                  </a:lnTo>
                  <a:lnTo>
                    <a:pt x="4" y="68"/>
                  </a:lnTo>
                  <a:lnTo>
                    <a:pt x="24" y="76"/>
                  </a:lnTo>
                  <a:lnTo>
                    <a:pt x="54" y="85"/>
                  </a:lnTo>
                  <a:lnTo>
                    <a:pt x="69" y="7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" name="Freeform 170"/>
            <p:cNvSpPr>
              <a:spLocks noChangeAspect="1"/>
            </p:cNvSpPr>
            <p:nvPr/>
          </p:nvSpPr>
          <p:spPr bwMode="auto">
            <a:xfrm>
              <a:off x="1629477" y="4273000"/>
              <a:ext cx="212748" cy="283993"/>
            </a:xfrm>
            <a:custGeom>
              <a:avLst/>
              <a:gdLst/>
              <a:ahLst/>
              <a:cxnLst>
                <a:cxn ang="0">
                  <a:pos x="260" y="480"/>
                </a:cxn>
                <a:cxn ang="0">
                  <a:pos x="191" y="441"/>
                </a:cxn>
                <a:cxn ang="0">
                  <a:pos x="186" y="403"/>
                </a:cxn>
                <a:cxn ang="0">
                  <a:pos x="138" y="389"/>
                </a:cxn>
                <a:cxn ang="0">
                  <a:pos x="46" y="312"/>
                </a:cxn>
                <a:cxn ang="0">
                  <a:pos x="11" y="312"/>
                </a:cxn>
                <a:cxn ang="0">
                  <a:pos x="0" y="283"/>
                </a:cxn>
                <a:cxn ang="0">
                  <a:pos x="9" y="232"/>
                </a:cxn>
                <a:cxn ang="0">
                  <a:pos x="34" y="180"/>
                </a:cxn>
                <a:cxn ang="0">
                  <a:pos x="34" y="93"/>
                </a:cxn>
                <a:cxn ang="0">
                  <a:pos x="9" y="48"/>
                </a:cxn>
                <a:cxn ang="0">
                  <a:pos x="69" y="0"/>
                </a:cxn>
                <a:cxn ang="0">
                  <a:pos x="118" y="11"/>
                </a:cxn>
                <a:cxn ang="0">
                  <a:pos x="159" y="43"/>
                </a:cxn>
                <a:cxn ang="0">
                  <a:pos x="165" y="74"/>
                </a:cxn>
                <a:cxn ang="0">
                  <a:pos x="263" y="67"/>
                </a:cxn>
                <a:cxn ang="0">
                  <a:pos x="263" y="47"/>
                </a:cxn>
                <a:cxn ang="0">
                  <a:pos x="325" y="43"/>
                </a:cxn>
                <a:cxn ang="0">
                  <a:pos x="341" y="60"/>
                </a:cxn>
                <a:cxn ang="0">
                  <a:pos x="361" y="74"/>
                </a:cxn>
                <a:cxn ang="0">
                  <a:pos x="337" y="97"/>
                </a:cxn>
                <a:cxn ang="0">
                  <a:pos x="324" y="126"/>
                </a:cxn>
                <a:cxn ang="0">
                  <a:pos x="334" y="325"/>
                </a:cxn>
                <a:cxn ang="0">
                  <a:pos x="351" y="338"/>
                </a:cxn>
                <a:cxn ang="0">
                  <a:pos x="331" y="357"/>
                </a:cxn>
                <a:cxn ang="0">
                  <a:pos x="317" y="388"/>
                </a:cxn>
                <a:cxn ang="0">
                  <a:pos x="283" y="417"/>
                </a:cxn>
                <a:cxn ang="0">
                  <a:pos x="276" y="448"/>
                </a:cxn>
                <a:cxn ang="0">
                  <a:pos x="260" y="480"/>
                </a:cxn>
              </a:cxnLst>
              <a:rect l="0" t="0" r="r" b="b"/>
              <a:pathLst>
                <a:path w="361" h="480">
                  <a:moveTo>
                    <a:pt x="260" y="480"/>
                  </a:moveTo>
                  <a:lnTo>
                    <a:pt x="191" y="441"/>
                  </a:lnTo>
                  <a:lnTo>
                    <a:pt x="186" y="403"/>
                  </a:lnTo>
                  <a:lnTo>
                    <a:pt x="138" y="389"/>
                  </a:lnTo>
                  <a:lnTo>
                    <a:pt x="46" y="312"/>
                  </a:lnTo>
                  <a:lnTo>
                    <a:pt x="11" y="312"/>
                  </a:lnTo>
                  <a:lnTo>
                    <a:pt x="0" y="283"/>
                  </a:lnTo>
                  <a:lnTo>
                    <a:pt x="9" y="232"/>
                  </a:lnTo>
                  <a:lnTo>
                    <a:pt x="34" y="180"/>
                  </a:lnTo>
                  <a:lnTo>
                    <a:pt x="34" y="93"/>
                  </a:lnTo>
                  <a:lnTo>
                    <a:pt x="9" y="48"/>
                  </a:lnTo>
                  <a:lnTo>
                    <a:pt x="69" y="0"/>
                  </a:lnTo>
                  <a:lnTo>
                    <a:pt x="118" y="11"/>
                  </a:lnTo>
                  <a:lnTo>
                    <a:pt x="159" y="43"/>
                  </a:lnTo>
                  <a:lnTo>
                    <a:pt x="165" y="74"/>
                  </a:lnTo>
                  <a:lnTo>
                    <a:pt x="263" y="67"/>
                  </a:lnTo>
                  <a:lnTo>
                    <a:pt x="263" y="47"/>
                  </a:lnTo>
                  <a:lnTo>
                    <a:pt x="325" y="43"/>
                  </a:lnTo>
                  <a:lnTo>
                    <a:pt x="341" y="60"/>
                  </a:lnTo>
                  <a:lnTo>
                    <a:pt x="361" y="74"/>
                  </a:lnTo>
                  <a:lnTo>
                    <a:pt x="337" y="97"/>
                  </a:lnTo>
                  <a:lnTo>
                    <a:pt x="324" y="126"/>
                  </a:lnTo>
                  <a:lnTo>
                    <a:pt x="334" y="325"/>
                  </a:lnTo>
                  <a:lnTo>
                    <a:pt x="351" y="338"/>
                  </a:lnTo>
                  <a:lnTo>
                    <a:pt x="331" y="357"/>
                  </a:lnTo>
                  <a:lnTo>
                    <a:pt x="317" y="388"/>
                  </a:lnTo>
                  <a:lnTo>
                    <a:pt x="283" y="417"/>
                  </a:lnTo>
                  <a:lnTo>
                    <a:pt x="276" y="448"/>
                  </a:lnTo>
                  <a:lnTo>
                    <a:pt x="260" y="48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" name="Freeform 171"/>
            <p:cNvSpPr>
              <a:spLocks noChangeAspect="1"/>
            </p:cNvSpPr>
            <p:nvPr/>
          </p:nvSpPr>
          <p:spPr bwMode="auto">
            <a:xfrm>
              <a:off x="1608378" y="3800862"/>
              <a:ext cx="376264" cy="516512"/>
            </a:xfrm>
            <a:custGeom>
              <a:avLst/>
              <a:gdLst/>
              <a:ahLst/>
              <a:cxnLst>
                <a:cxn ang="0">
                  <a:pos x="399" y="872"/>
                </a:cxn>
                <a:cxn ang="0">
                  <a:pos x="379" y="858"/>
                </a:cxn>
                <a:cxn ang="0">
                  <a:pos x="363" y="841"/>
                </a:cxn>
                <a:cxn ang="0">
                  <a:pos x="301" y="845"/>
                </a:cxn>
                <a:cxn ang="0">
                  <a:pos x="301" y="865"/>
                </a:cxn>
                <a:cxn ang="0">
                  <a:pos x="203" y="872"/>
                </a:cxn>
                <a:cxn ang="0">
                  <a:pos x="197" y="841"/>
                </a:cxn>
                <a:cxn ang="0">
                  <a:pos x="156" y="809"/>
                </a:cxn>
                <a:cxn ang="0">
                  <a:pos x="107" y="798"/>
                </a:cxn>
                <a:cxn ang="0">
                  <a:pos x="111" y="771"/>
                </a:cxn>
                <a:cxn ang="0">
                  <a:pos x="89" y="734"/>
                </a:cxn>
                <a:cxn ang="0">
                  <a:pos x="73" y="723"/>
                </a:cxn>
                <a:cxn ang="0">
                  <a:pos x="52" y="705"/>
                </a:cxn>
                <a:cxn ang="0">
                  <a:pos x="49" y="669"/>
                </a:cxn>
                <a:cxn ang="0">
                  <a:pos x="25" y="664"/>
                </a:cxn>
                <a:cxn ang="0">
                  <a:pos x="0" y="617"/>
                </a:cxn>
                <a:cxn ang="0">
                  <a:pos x="47" y="614"/>
                </a:cxn>
                <a:cxn ang="0">
                  <a:pos x="59" y="511"/>
                </a:cxn>
                <a:cxn ang="0">
                  <a:pos x="97" y="509"/>
                </a:cxn>
                <a:cxn ang="0">
                  <a:pos x="104" y="404"/>
                </a:cxn>
                <a:cxn ang="0">
                  <a:pos x="162" y="395"/>
                </a:cxn>
                <a:cxn ang="0">
                  <a:pos x="156" y="269"/>
                </a:cxn>
                <a:cxn ang="0">
                  <a:pos x="124" y="262"/>
                </a:cxn>
                <a:cxn ang="0">
                  <a:pos x="126" y="227"/>
                </a:cxn>
                <a:cxn ang="0">
                  <a:pos x="167" y="228"/>
                </a:cxn>
                <a:cxn ang="0">
                  <a:pos x="163" y="190"/>
                </a:cxn>
                <a:cxn ang="0">
                  <a:pos x="146" y="145"/>
                </a:cxn>
                <a:cxn ang="0">
                  <a:pos x="142" y="86"/>
                </a:cxn>
                <a:cxn ang="0">
                  <a:pos x="173" y="0"/>
                </a:cxn>
                <a:cxn ang="0">
                  <a:pos x="191" y="37"/>
                </a:cxn>
                <a:cxn ang="0">
                  <a:pos x="215" y="79"/>
                </a:cxn>
                <a:cxn ang="0">
                  <a:pos x="237" y="106"/>
                </a:cxn>
                <a:cxn ang="0">
                  <a:pos x="265" y="163"/>
                </a:cxn>
                <a:cxn ang="0">
                  <a:pos x="283" y="200"/>
                </a:cxn>
                <a:cxn ang="0">
                  <a:pos x="286" y="242"/>
                </a:cxn>
                <a:cxn ang="0">
                  <a:pos x="344" y="258"/>
                </a:cxn>
                <a:cxn ang="0">
                  <a:pos x="367" y="316"/>
                </a:cxn>
                <a:cxn ang="0">
                  <a:pos x="403" y="385"/>
                </a:cxn>
                <a:cxn ang="0">
                  <a:pos x="391" y="418"/>
                </a:cxn>
                <a:cxn ang="0">
                  <a:pos x="383" y="506"/>
                </a:cxn>
                <a:cxn ang="0">
                  <a:pos x="434" y="513"/>
                </a:cxn>
                <a:cxn ang="0">
                  <a:pos x="470" y="544"/>
                </a:cxn>
                <a:cxn ang="0">
                  <a:pos x="545" y="620"/>
                </a:cxn>
                <a:cxn ang="0">
                  <a:pos x="600" y="616"/>
                </a:cxn>
                <a:cxn ang="0">
                  <a:pos x="644" y="659"/>
                </a:cxn>
                <a:cxn ang="0">
                  <a:pos x="596" y="699"/>
                </a:cxn>
                <a:cxn ang="0">
                  <a:pos x="589" y="762"/>
                </a:cxn>
                <a:cxn ang="0">
                  <a:pos x="541" y="809"/>
                </a:cxn>
                <a:cxn ang="0">
                  <a:pos x="482" y="826"/>
                </a:cxn>
                <a:cxn ang="0">
                  <a:pos x="434" y="826"/>
                </a:cxn>
                <a:cxn ang="0">
                  <a:pos x="399" y="872"/>
                </a:cxn>
              </a:cxnLst>
              <a:rect l="0" t="0" r="r" b="b"/>
              <a:pathLst>
                <a:path w="644" h="872">
                  <a:moveTo>
                    <a:pt x="399" y="872"/>
                  </a:moveTo>
                  <a:lnTo>
                    <a:pt x="379" y="858"/>
                  </a:lnTo>
                  <a:lnTo>
                    <a:pt x="363" y="841"/>
                  </a:lnTo>
                  <a:lnTo>
                    <a:pt x="301" y="845"/>
                  </a:lnTo>
                  <a:lnTo>
                    <a:pt x="301" y="865"/>
                  </a:lnTo>
                  <a:lnTo>
                    <a:pt x="203" y="872"/>
                  </a:lnTo>
                  <a:lnTo>
                    <a:pt x="197" y="841"/>
                  </a:lnTo>
                  <a:lnTo>
                    <a:pt x="156" y="809"/>
                  </a:lnTo>
                  <a:lnTo>
                    <a:pt x="107" y="798"/>
                  </a:lnTo>
                  <a:lnTo>
                    <a:pt x="111" y="771"/>
                  </a:lnTo>
                  <a:lnTo>
                    <a:pt x="89" y="734"/>
                  </a:lnTo>
                  <a:lnTo>
                    <a:pt x="73" y="723"/>
                  </a:lnTo>
                  <a:lnTo>
                    <a:pt x="52" y="705"/>
                  </a:lnTo>
                  <a:lnTo>
                    <a:pt x="49" y="669"/>
                  </a:lnTo>
                  <a:lnTo>
                    <a:pt x="25" y="664"/>
                  </a:lnTo>
                  <a:lnTo>
                    <a:pt x="0" y="617"/>
                  </a:lnTo>
                  <a:lnTo>
                    <a:pt x="47" y="614"/>
                  </a:lnTo>
                  <a:lnTo>
                    <a:pt x="59" y="511"/>
                  </a:lnTo>
                  <a:lnTo>
                    <a:pt x="97" y="509"/>
                  </a:lnTo>
                  <a:lnTo>
                    <a:pt x="104" y="404"/>
                  </a:lnTo>
                  <a:lnTo>
                    <a:pt x="162" y="395"/>
                  </a:lnTo>
                  <a:lnTo>
                    <a:pt x="156" y="269"/>
                  </a:lnTo>
                  <a:lnTo>
                    <a:pt x="124" y="262"/>
                  </a:lnTo>
                  <a:lnTo>
                    <a:pt x="126" y="227"/>
                  </a:lnTo>
                  <a:lnTo>
                    <a:pt x="167" y="228"/>
                  </a:lnTo>
                  <a:lnTo>
                    <a:pt x="163" y="190"/>
                  </a:lnTo>
                  <a:lnTo>
                    <a:pt x="146" y="145"/>
                  </a:lnTo>
                  <a:lnTo>
                    <a:pt x="142" y="86"/>
                  </a:lnTo>
                  <a:lnTo>
                    <a:pt x="173" y="0"/>
                  </a:lnTo>
                  <a:lnTo>
                    <a:pt x="191" y="37"/>
                  </a:lnTo>
                  <a:lnTo>
                    <a:pt x="215" y="79"/>
                  </a:lnTo>
                  <a:lnTo>
                    <a:pt x="237" y="106"/>
                  </a:lnTo>
                  <a:lnTo>
                    <a:pt x="265" y="163"/>
                  </a:lnTo>
                  <a:lnTo>
                    <a:pt x="283" y="200"/>
                  </a:lnTo>
                  <a:lnTo>
                    <a:pt x="286" y="242"/>
                  </a:lnTo>
                  <a:lnTo>
                    <a:pt x="344" y="258"/>
                  </a:lnTo>
                  <a:lnTo>
                    <a:pt x="367" y="316"/>
                  </a:lnTo>
                  <a:lnTo>
                    <a:pt x="403" y="385"/>
                  </a:lnTo>
                  <a:lnTo>
                    <a:pt x="391" y="418"/>
                  </a:lnTo>
                  <a:lnTo>
                    <a:pt x="383" y="506"/>
                  </a:lnTo>
                  <a:lnTo>
                    <a:pt x="434" y="513"/>
                  </a:lnTo>
                  <a:lnTo>
                    <a:pt x="470" y="544"/>
                  </a:lnTo>
                  <a:lnTo>
                    <a:pt x="545" y="620"/>
                  </a:lnTo>
                  <a:lnTo>
                    <a:pt x="600" y="616"/>
                  </a:lnTo>
                  <a:lnTo>
                    <a:pt x="644" y="659"/>
                  </a:lnTo>
                  <a:lnTo>
                    <a:pt x="596" y="699"/>
                  </a:lnTo>
                  <a:lnTo>
                    <a:pt x="589" y="762"/>
                  </a:lnTo>
                  <a:lnTo>
                    <a:pt x="541" y="809"/>
                  </a:lnTo>
                  <a:lnTo>
                    <a:pt x="482" y="826"/>
                  </a:lnTo>
                  <a:lnTo>
                    <a:pt x="434" y="826"/>
                  </a:lnTo>
                  <a:lnTo>
                    <a:pt x="399" y="87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" name="Freeform 172"/>
            <p:cNvSpPr>
              <a:spLocks noChangeAspect="1"/>
            </p:cNvSpPr>
            <p:nvPr/>
          </p:nvSpPr>
          <p:spPr bwMode="auto">
            <a:xfrm>
              <a:off x="1608378" y="3800862"/>
              <a:ext cx="376264" cy="516512"/>
            </a:xfrm>
            <a:custGeom>
              <a:avLst/>
              <a:gdLst/>
              <a:ahLst/>
              <a:cxnLst>
                <a:cxn ang="0">
                  <a:pos x="399" y="872"/>
                </a:cxn>
                <a:cxn ang="0">
                  <a:pos x="379" y="858"/>
                </a:cxn>
                <a:cxn ang="0">
                  <a:pos x="363" y="841"/>
                </a:cxn>
                <a:cxn ang="0">
                  <a:pos x="301" y="845"/>
                </a:cxn>
                <a:cxn ang="0">
                  <a:pos x="301" y="865"/>
                </a:cxn>
                <a:cxn ang="0">
                  <a:pos x="203" y="872"/>
                </a:cxn>
                <a:cxn ang="0">
                  <a:pos x="197" y="841"/>
                </a:cxn>
                <a:cxn ang="0">
                  <a:pos x="156" y="809"/>
                </a:cxn>
                <a:cxn ang="0">
                  <a:pos x="107" y="798"/>
                </a:cxn>
                <a:cxn ang="0">
                  <a:pos x="111" y="771"/>
                </a:cxn>
                <a:cxn ang="0">
                  <a:pos x="89" y="734"/>
                </a:cxn>
                <a:cxn ang="0">
                  <a:pos x="73" y="723"/>
                </a:cxn>
                <a:cxn ang="0">
                  <a:pos x="52" y="705"/>
                </a:cxn>
                <a:cxn ang="0">
                  <a:pos x="49" y="669"/>
                </a:cxn>
                <a:cxn ang="0">
                  <a:pos x="25" y="664"/>
                </a:cxn>
                <a:cxn ang="0">
                  <a:pos x="0" y="617"/>
                </a:cxn>
                <a:cxn ang="0">
                  <a:pos x="47" y="614"/>
                </a:cxn>
                <a:cxn ang="0">
                  <a:pos x="59" y="511"/>
                </a:cxn>
                <a:cxn ang="0">
                  <a:pos x="97" y="509"/>
                </a:cxn>
                <a:cxn ang="0">
                  <a:pos x="104" y="404"/>
                </a:cxn>
                <a:cxn ang="0">
                  <a:pos x="162" y="395"/>
                </a:cxn>
                <a:cxn ang="0">
                  <a:pos x="156" y="269"/>
                </a:cxn>
                <a:cxn ang="0">
                  <a:pos x="124" y="262"/>
                </a:cxn>
                <a:cxn ang="0">
                  <a:pos x="126" y="227"/>
                </a:cxn>
                <a:cxn ang="0">
                  <a:pos x="167" y="228"/>
                </a:cxn>
                <a:cxn ang="0">
                  <a:pos x="163" y="190"/>
                </a:cxn>
                <a:cxn ang="0">
                  <a:pos x="146" y="145"/>
                </a:cxn>
                <a:cxn ang="0">
                  <a:pos x="142" y="86"/>
                </a:cxn>
                <a:cxn ang="0">
                  <a:pos x="173" y="0"/>
                </a:cxn>
                <a:cxn ang="0">
                  <a:pos x="191" y="37"/>
                </a:cxn>
                <a:cxn ang="0">
                  <a:pos x="215" y="79"/>
                </a:cxn>
                <a:cxn ang="0">
                  <a:pos x="237" y="106"/>
                </a:cxn>
                <a:cxn ang="0">
                  <a:pos x="265" y="163"/>
                </a:cxn>
                <a:cxn ang="0">
                  <a:pos x="283" y="200"/>
                </a:cxn>
                <a:cxn ang="0">
                  <a:pos x="286" y="242"/>
                </a:cxn>
                <a:cxn ang="0">
                  <a:pos x="344" y="258"/>
                </a:cxn>
                <a:cxn ang="0">
                  <a:pos x="367" y="316"/>
                </a:cxn>
                <a:cxn ang="0">
                  <a:pos x="403" y="385"/>
                </a:cxn>
                <a:cxn ang="0">
                  <a:pos x="391" y="418"/>
                </a:cxn>
                <a:cxn ang="0">
                  <a:pos x="383" y="506"/>
                </a:cxn>
                <a:cxn ang="0">
                  <a:pos x="434" y="513"/>
                </a:cxn>
                <a:cxn ang="0">
                  <a:pos x="470" y="544"/>
                </a:cxn>
                <a:cxn ang="0">
                  <a:pos x="545" y="620"/>
                </a:cxn>
                <a:cxn ang="0">
                  <a:pos x="600" y="616"/>
                </a:cxn>
                <a:cxn ang="0">
                  <a:pos x="644" y="659"/>
                </a:cxn>
                <a:cxn ang="0">
                  <a:pos x="596" y="699"/>
                </a:cxn>
                <a:cxn ang="0">
                  <a:pos x="589" y="762"/>
                </a:cxn>
                <a:cxn ang="0">
                  <a:pos x="541" y="809"/>
                </a:cxn>
                <a:cxn ang="0">
                  <a:pos x="482" y="826"/>
                </a:cxn>
                <a:cxn ang="0">
                  <a:pos x="434" y="826"/>
                </a:cxn>
                <a:cxn ang="0">
                  <a:pos x="399" y="872"/>
                </a:cxn>
              </a:cxnLst>
              <a:rect l="0" t="0" r="r" b="b"/>
              <a:pathLst>
                <a:path w="644" h="872">
                  <a:moveTo>
                    <a:pt x="399" y="872"/>
                  </a:moveTo>
                  <a:lnTo>
                    <a:pt x="379" y="858"/>
                  </a:lnTo>
                  <a:lnTo>
                    <a:pt x="363" y="841"/>
                  </a:lnTo>
                  <a:lnTo>
                    <a:pt x="301" y="845"/>
                  </a:lnTo>
                  <a:lnTo>
                    <a:pt x="301" y="865"/>
                  </a:lnTo>
                  <a:lnTo>
                    <a:pt x="203" y="872"/>
                  </a:lnTo>
                  <a:lnTo>
                    <a:pt x="197" y="841"/>
                  </a:lnTo>
                  <a:lnTo>
                    <a:pt x="156" y="809"/>
                  </a:lnTo>
                  <a:lnTo>
                    <a:pt x="107" y="798"/>
                  </a:lnTo>
                  <a:lnTo>
                    <a:pt x="111" y="771"/>
                  </a:lnTo>
                  <a:lnTo>
                    <a:pt x="89" y="734"/>
                  </a:lnTo>
                  <a:lnTo>
                    <a:pt x="73" y="723"/>
                  </a:lnTo>
                  <a:lnTo>
                    <a:pt x="52" y="705"/>
                  </a:lnTo>
                  <a:lnTo>
                    <a:pt x="49" y="669"/>
                  </a:lnTo>
                  <a:lnTo>
                    <a:pt x="25" y="664"/>
                  </a:lnTo>
                  <a:lnTo>
                    <a:pt x="0" y="617"/>
                  </a:lnTo>
                  <a:lnTo>
                    <a:pt x="47" y="614"/>
                  </a:lnTo>
                  <a:lnTo>
                    <a:pt x="59" y="511"/>
                  </a:lnTo>
                  <a:lnTo>
                    <a:pt x="97" y="509"/>
                  </a:lnTo>
                  <a:lnTo>
                    <a:pt x="104" y="404"/>
                  </a:lnTo>
                  <a:lnTo>
                    <a:pt x="162" y="395"/>
                  </a:lnTo>
                  <a:lnTo>
                    <a:pt x="156" y="269"/>
                  </a:lnTo>
                  <a:lnTo>
                    <a:pt x="124" y="262"/>
                  </a:lnTo>
                  <a:lnTo>
                    <a:pt x="126" y="227"/>
                  </a:lnTo>
                  <a:lnTo>
                    <a:pt x="167" y="228"/>
                  </a:lnTo>
                  <a:lnTo>
                    <a:pt x="163" y="190"/>
                  </a:lnTo>
                  <a:lnTo>
                    <a:pt x="146" y="145"/>
                  </a:lnTo>
                  <a:lnTo>
                    <a:pt x="142" y="86"/>
                  </a:lnTo>
                  <a:lnTo>
                    <a:pt x="173" y="0"/>
                  </a:lnTo>
                  <a:lnTo>
                    <a:pt x="191" y="37"/>
                  </a:lnTo>
                  <a:lnTo>
                    <a:pt x="215" y="79"/>
                  </a:lnTo>
                  <a:lnTo>
                    <a:pt x="237" y="106"/>
                  </a:lnTo>
                  <a:lnTo>
                    <a:pt x="265" y="163"/>
                  </a:lnTo>
                  <a:lnTo>
                    <a:pt x="283" y="200"/>
                  </a:lnTo>
                  <a:lnTo>
                    <a:pt x="286" y="242"/>
                  </a:lnTo>
                  <a:lnTo>
                    <a:pt x="344" y="258"/>
                  </a:lnTo>
                  <a:lnTo>
                    <a:pt x="367" y="316"/>
                  </a:lnTo>
                  <a:lnTo>
                    <a:pt x="403" y="385"/>
                  </a:lnTo>
                  <a:lnTo>
                    <a:pt x="391" y="418"/>
                  </a:lnTo>
                  <a:lnTo>
                    <a:pt x="383" y="506"/>
                  </a:lnTo>
                  <a:lnTo>
                    <a:pt x="434" y="513"/>
                  </a:lnTo>
                  <a:lnTo>
                    <a:pt x="470" y="544"/>
                  </a:lnTo>
                  <a:lnTo>
                    <a:pt x="545" y="620"/>
                  </a:lnTo>
                  <a:lnTo>
                    <a:pt x="600" y="616"/>
                  </a:lnTo>
                  <a:lnTo>
                    <a:pt x="644" y="659"/>
                  </a:lnTo>
                  <a:lnTo>
                    <a:pt x="596" y="699"/>
                  </a:lnTo>
                  <a:lnTo>
                    <a:pt x="589" y="762"/>
                  </a:lnTo>
                  <a:lnTo>
                    <a:pt x="541" y="809"/>
                  </a:lnTo>
                  <a:lnTo>
                    <a:pt x="482" y="826"/>
                  </a:lnTo>
                  <a:lnTo>
                    <a:pt x="434" y="826"/>
                  </a:lnTo>
                  <a:lnTo>
                    <a:pt x="399" y="872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" name="Freeform 173"/>
            <p:cNvSpPr>
              <a:spLocks noChangeAspect="1"/>
            </p:cNvSpPr>
            <p:nvPr/>
          </p:nvSpPr>
          <p:spPr bwMode="auto">
            <a:xfrm>
              <a:off x="1819367" y="4044031"/>
              <a:ext cx="286594" cy="429539"/>
            </a:xfrm>
            <a:custGeom>
              <a:avLst/>
              <a:gdLst/>
              <a:ahLst/>
              <a:cxnLst>
                <a:cxn ang="0">
                  <a:pos x="72" y="103"/>
                </a:cxn>
                <a:cxn ang="0">
                  <a:pos x="108" y="134"/>
                </a:cxn>
                <a:cxn ang="0">
                  <a:pos x="183" y="210"/>
                </a:cxn>
                <a:cxn ang="0">
                  <a:pos x="238" y="206"/>
                </a:cxn>
                <a:cxn ang="0">
                  <a:pos x="282" y="249"/>
                </a:cxn>
                <a:cxn ang="0">
                  <a:pos x="234" y="289"/>
                </a:cxn>
                <a:cxn ang="0">
                  <a:pos x="227" y="352"/>
                </a:cxn>
                <a:cxn ang="0">
                  <a:pos x="179" y="399"/>
                </a:cxn>
                <a:cxn ang="0">
                  <a:pos x="120" y="416"/>
                </a:cxn>
                <a:cxn ang="0">
                  <a:pos x="72" y="416"/>
                </a:cxn>
                <a:cxn ang="0">
                  <a:pos x="37" y="462"/>
                </a:cxn>
                <a:cxn ang="0">
                  <a:pos x="13" y="485"/>
                </a:cxn>
                <a:cxn ang="0">
                  <a:pos x="0" y="514"/>
                </a:cxn>
                <a:cxn ang="0">
                  <a:pos x="10" y="713"/>
                </a:cxn>
                <a:cxn ang="0">
                  <a:pos x="27" y="726"/>
                </a:cxn>
                <a:cxn ang="0">
                  <a:pos x="60" y="681"/>
                </a:cxn>
                <a:cxn ang="0">
                  <a:pos x="89" y="633"/>
                </a:cxn>
                <a:cxn ang="0">
                  <a:pos x="140" y="597"/>
                </a:cxn>
                <a:cxn ang="0">
                  <a:pos x="227" y="517"/>
                </a:cxn>
                <a:cxn ang="0">
                  <a:pos x="310" y="435"/>
                </a:cxn>
                <a:cxn ang="0">
                  <a:pos x="361" y="364"/>
                </a:cxn>
                <a:cxn ang="0">
                  <a:pos x="380" y="278"/>
                </a:cxn>
                <a:cxn ang="0">
                  <a:pos x="408" y="210"/>
                </a:cxn>
                <a:cxn ang="0">
                  <a:pos x="448" y="158"/>
                </a:cxn>
                <a:cxn ang="0">
                  <a:pos x="464" y="103"/>
                </a:cxn>
                <a:cxn ang="0">
                  <a:pos x="487" y="75"/>
                </a:cxn>
                <a:cxn ang="0">
                  <a:pos x="459" y="48"/>
                </a:cxn>
                <a:cxn ang="0">
                  <a:pos x="424" y="0"/>
                </a:cxn>
                <a:cxn ang="0">
                  <a:pos x="376" y="44"/>
                </a:cxn>
                <a:cxn ang="0">
                  <a:pos x="325" y="52"/>
                </a:cxn>
                <a:cxn ang="0">
                  <a:pos x="296" y="69"/>
                </a:cxn>
                <a:cxn ang="0">
                  <a:pos x="265" y="89"/>
                </a:cxn>
                <a:cxn ang="0">
                  <a:pos x="172" y="83"/>
                </a:cxn>
                <a:cxn ang="0">
                  <a:pos x="118" y="64"/>
                </a:cxn>
                <a:cxn ang="0">
                  <a:pos x="72" y="103"/>
                </a:cxn>
              </a:cxnLst>
              <a:rect l="0" t="0" r="r" b="b"/>
              <a:pathLst>
                <a:path w="487" h="726">
                  <a:moveTo>
                    <a:pt x="72" y="103"/>
                  </a:moveTo>
                  <a:lnTo>
                    <a:pt x="108" y="134"/>
                  </a:lnTo>
                  <a:lnTo>
                    <a:pt x="183" y="210"/>
                  </a:lnTo>
                  <a:lnTo>
                    <a:pt x="238" y="206"/>
                  </a:lnTo>
                  <a:lnTo>
                    <a:pt x="282" y="249"/>
                  </a:lnTo>
                  <a:lnTo>
                    <a:pt x="234" y="289"/>
                  </a:lnTo>
                  <a:lnTo>
                    <a:pt x="227" y="352"/>
                  </a:lnTo>
                  <a:lnTo>
                    <a:pt x="179" y="399"/>
                  </a:lnTo>
                  <a:lnTo>
                    <a:pt x="120" y="416"/>
                  </a:lnTo>
                  <a:lnTo>
                    <a:pt x="72" y="416"/>
                  </a:lnTo>
                  <a:lnTo>
                    <a:pt x="37" y="462"/>
                  </a:lnTo>
                  <a:lnTo>
                    <a:pt x="13" y="485"/>
                  </a:lnTo>
                  <a:lnTo>
                    <a:pt x="0" y="514"/>
                  </a:lnTo>
                  <a:lnTo>
                    <a:pt x="10" y="713"/>
                  </a:lnTo>
                  <a:lnTo>
                    <a:pt x="27" y="726"/>
                  </a:lnTo>
                  <a:lnTo>
                    <a:pt x="60" y="681"/>
                  </a:lnTo>
                  <a:lnTo>
                    <a:pt x="89" y="633"/>
                  </a:lnTo>
                  <a:lnTo>
                    <a:pt x="140" y="597"/>
                  </a:lnTo>
                  <a:lnTo>
                    <a:pt x="227" y="517"/>
                  </a:lnTo>
                  <a:lnTo>
                    <a:pt x="310" y="435"/>
                  </a:lnTo>
                  <a:lnTo>
                    <a:pt x="361" y="364"/>
                  </a:lnTo>
                  <a:lnTo>
                    <a:pt x="380" y="278"/>
                  </a:lnTo>
                  <a:lnTo>
                    <a:pt x="408" y="210"/>
                  </a:lnTo>
                  <a:lnTo>
                    <a:pt x="448" y="158"/>
                  </a:lnTo>
                  <a:lnTo>
                    <a:pt x="464" y="103"/>
                  </a:lnTo>
                  <a:lnTo>
                    <a:pt x="487" y="75"/>
                  </a:lnTo>
                  <a:lnTo>
                    <a:pt x="459" y="48"/>
                  </a:lnTo>
                  <a:lnTo>
                    <a:pt x="424" y="0"/>
                  </a:lnTo>
                  <a:lnTo>
                    <a:pt x="376" y="44"/>
                  </a:lnTo>
                  <a:lnTo>
                    <a:pt x="325" y="52"/>
                  </a:lnTo>
                  <a:lnTo>
                    <a:pt x="296" y="69"/>
                  </a:lnTo>
                  <a:lnTo>
                    <a:pt x="265" y="89"/>
                  </a:lnTo>
                  <a:lnTo>
                    <a:pt x="172" y="83"/>
                  </a:lnTo>
                  <a:lnTo>
                    <a:pt x="118" y="64"/>
                  </a:lnTo>
                  <a:lnTo>
                    <a:pt x="72" y="10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" name="Freeform 174"/>
            <p:cNvSpPr>
              <a:spLocks noChangeAspect="1"/>
            </p:cNvSpPr>
            <p:nvPr/>
          </p:nvSpPr>
          <p:spPr bwMode="auto">
            <a:xfrm>
              <a:off x="978926" y="3369547"/>
              <a:ext cx="407913" cy="491663"/>
            </a:xfrm>
            <a:custGeom>
              <a:avLst/>
              <a:gdLst/>
              <a:ahLst/>
              <a:cxnLst>
                <a:cxn ang="0">
                  <a:pos x="86" y="4"/>
                </a:cxn>
                <a:cxn ang="0">
                  <a:pos x="124" y="28"/>
                </a:cxn>
                <a:cxn ang="0">
                  <a:pos x="152" y="31"/>
                </a:cxn>
                <a:cxn ang="0">
                  <a:pos x="254" y="48"/>
                </a:cxn>
                <a:cxn ang="0">
                  <a:pos x="268" y="87"/>
                </a:cxn>
                <a:cxn ang="0">
                  <a:pos x="341" y="97"/>
                </a:cxn>
                <a:cxn ang="0">
                  <a:pos x="344" y="121"/>
                </a:cxn>
                <a:cxn ang="0">
                  <a:pos x="408" y="136"/>
                </a:cxn>
                <a:cxn ang="0">
                  <a:pos x="448" y="151"/>
                </a:cxn>
                <a:cxn ang="0">
                  <a:pos x="460" y="128"/>
                </a:cxn>
                <a:cxn ang="0">
                  <a:pos x="460" y="63"/>
                </a:cxn>
                <a:cxn ang="0">
                  <a:pos x="480" y="44"/>
                </a:cxn>
                <a:cxn ang="0">
                  <a:pos x="499" y="16"/>
                </a:cxn>
                <a:cxn ang="0">
                  <a:pos x="517" y="0"/>
                </a:cxn>
                <a:cxn ang="0">
                  <a:pos x="563" y="2"/>
                </a:cxn>
                <a:cxn ang="0">
                  <a:pos x="591" y="30"/>
                </a:cxn>
                <a:cxn ang="0">
                  <a:pos x="615" y="51"/>
                </a:cxn>
                <a:cxn ang="0">
                  <a:pos x="656" y="49"/>
                </a:cxn>
                <a:cxn ang="0">
                  <a:pos x="695" y="63"/>
                </a:cxn>
                <a:cxn ang="0">
                  <a:pos x="691" y="109"/>
                </a:cxn>
                <a:cxn ang="0">
                  <a:pos x="694" y="662"/>
                </a:cxn>
                <a:cxn ang="0">
                  <a:pos x="689" y="741"/>
                </a:cxn>
                <a:cxn ang="0">
                  <a:pos x="658" y="750"/>
                </a:cxn>
                <a:cxn ang="0">
                  <a:pos x="666" y="832"/>
                </a:cxn>
                <a:cxn ang="0">
                  <a:pos x="634" y="829"/>
                </a:cxn>
                <a:cxn ang="0">
                  <a:pos x="560" y="768"/>
                </a:cxn>
                <a:cxn ang="0">
                  <a:pos x="527" y="751"/>
                </a:cxn>
                <a:cxn ang="0">
                  <a:pos x="458" y="717"/>
                </a:cxn>
                <a:cxn ang="0">
                  <a:pos x="434" y="676"/>
                </a:cxn>
                <a:cxn ang="0">
                  <a:pos x="355" y="664"/>
                </a:cxn>
                <a:cxn ang="0">
                  <a:pos x="340" y="624"/>
                </a:cxn>
                <a:cxn ang="0">
                  <a:pos x="300" y="610"/>
                </a:cxn>
                <a:cxn ang="0">
                  <a:pos x="296" y="593"/>
                </a:cxn>
                <a:cxn ang="0">
                  <a:pos x="253" y="588"/>
                </a:cxn>
                <a:cxn ang="0">
                  <a:pos x="224" y="578"/>
                </a:cxn>
                <a:cxn ang="0">
                  <a:pos x="170" y="573"/>
                </a:cxn>
                <a:cxn ang="0">
                  <a:pos x="165" y="550"/>
                </a:cxn>
                <a:cxn ang="0">
                  <a:pos x="106" y="550"/>
                </a:cxn>
                <a:cxn ang="0">
                  <a:pos x="98" y="502"/>
                </a:cxn>
                <a:cxn ang="0">
                  <a:pos x="27" y="491"/>
                </a:cxn>
                <a:cxn ang="0">
                  <a:pos x="3" y="467"/>
                </a:cxn>
                <a:cxn ang="0">
                  <a:pos x="0" y="412"/>
                </a:cxn>
                <a:cxn ang="0">
                  <a:pos x="11" y="104"/>
                </a:cxn>
                <a:cxn ang="0">
                  <a:pos x="55" y="83"/>
                </a:cxn>
                <a:cxn ang="0">
                  <a:pos x="79" y="77"/>
                </a:cxn>
                <a:cxn ang="0">
                  <a:pos x="86" y="4"/>
                </a:cxn>
              </a:cxnLst>
              <a:rect l="0" t="0" r="r" b="b"/>
              <a:pathLst>
                <a:path w="695" h="832">
                  <a:moveTo>
                    <a:pt x="86" y="4"/>
                  </a:moveTo>
                  <a:lnTo>
                    <a:pt x="124" y="28"/>
                  </a:lnTo>
                  <a:lnTo>
                    <a:pt x="152" y="31"/>
                  </a:lnTo>
                  <a:lnTo>
                    <a:pt x="254" y="48"/>
                  </a:lnTo>
                  <a:lnTo>
                    <a:pt x="268" y="87"/>
                  </a:lnTo>
                  <a:lnTo>
                    <a:pt x="341" y="97"/>
                  </a:lnTo>
                  <a:lnTo>
                    <a:pt x="344" y="121"/>
                  </a:lnTo>
                  <a:lnTo>
                    <a:pt x="408" y="136"/>
                  </a:lnTo>
                  <a:lnTo>
                    <a:pt x="448" y="151"/>
                  </a:lnTo>
                  <a:lnTo>
                    <a:pt x="460" y="128"/>
                  </a:lnTo>
                  <a:lnTo>
                    <a:pt x="460" y="63"/>
                  </a:lnTo>
                  <a:lnTo>
                    <a:pt x="480" y="44"/>
                  </a:lnTo>
                  <a:lnTo>
                    <a:pt x="499" y="16"/>
                  </a:lnTo>
                  <a:lnTo>
                    <a:pt x="517" y="0"/>
                  </a:lnTo>
                  <a:lnTo>
                    <a:pt x="563" y="2"/>
                  </a:lnTo>
                  <a:lnTo>
                    <a:pt x="591" y="30"/>
                  </a:lnTo>
                  <a:lnTo>
                    <a:pt x="615" y="51"/>
                  </a:lnTo>
                  <a:lnTo>
                    <a:pt x="656" y="49"/>
                  </a:lnTo>
                  <a:lnTo>
                    <a:pt x="695" y="63"/>
                  </a:lnTo>
                  <a:lnTo>
                    <a:pt x="691" y="109"/>
                  </a:lnTo>
                  <a:lnTo>
                    <a:pt x="694" y="662"/>
                  </a:lnTo>
                  <a:lnTo>
                    <a:pt x="689" y="741"/>
                  </a:lnTo>
                  <a:lnTo>
                    <a:pt x="658" y="750"/>
                  </a:lnTo>
                  <a:lnTo>
                    <a:pt x="666" y="832"/>
                  </a:lnTo>
                  <a:lnTo>
                    <a:pt x="634" y="829"/>
                  </a:lnTo>
                  <a:lnTo>
                    <a:pt x="560" y="768"/>
                  </a:lnTo>
                  <a:lnTo>
                    <a:pt x="527" y="751"/>
                  </a:lnTo>
                  <a:lnTo>
                    <a:pt x="458" y="717"/>
                  </a:lnTo>
                  <a:lnTo>
                    <a:pt x="434" y="676"/>
                  </a:lnTo>
                  <a:lnTo>
                    <a:pt x="355" y="664"/>
                  </a:lnTo>
                  <a:lnTo>
                    <a:pt x="340" y="624"/>
                  </a:lnTo>
                  <a:lnTo>
                    <a:pt x="300" y="610"/>
                  </a:lnTo>
                  <a:lnTo>
                    <a:pt x="296" y="593"/>
                  </a:lnTo>
                  <a:lnTo>
                    <a:pt x="253" y="588"/>
                  </a:lnTo>
                  <a:lnTo>
                    <a:pt x="224" y="578"/>
                  </a:lnTo>
                  <a:lnTo>
                    <a:pt x="170" y="573"/>
                  </a:lnTo>
                  <a:lnTo>
                    <a:pt x="165" y="550"/>
                  </a:lnTo>
                  <a:lnTo>
                    <a:pt x="106" y="550"/>
                  </a:lnTo>
                  <a:lnTo>
                    <a:pt x="98" y="502"/>
                  </a:lnTo>
                  <a:lnTo>
                    <a:pt x="27" y="491"/>
                  </a:lnTo>
                  <a:lnTo>
                    <a:pt x="3" y="467"/>
                  </a:lnTo>
                  <a:lnTo>
                    <a:pt x="0" y="412"/>
                  </a:lnTo>
                  <a:lnTo>
                    <a:pt x="11" y="104"/>
                  </a:lnTo>
                  <a:lnTo>
                    <a:pt x="55" y="83"/>
                  </a:lnTo>
                  <a:lnTo>
                    <a:pt x="79" y="77"/>
                  </a:lnTo>
                  <a:lnTo>
                    <a:pt x="86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" name="Freeform 175"/>
            <p:cNvSpPr>
              <a:spLocks noChangeAspect="1"/>
            </p:cNvSpPr>
            <p:nvPr/>
          </p:nvSpPr>
          <p:spPr bwMode="auto">
            <a:xfrm>
              <a:off x="978926" y="3369547"/>
              <a:ext cx="407913" cy="491663"/>
            </a:xfrm>
            <a:custGeom>
              <a:avLst/>
              <a:gdLst/>
              <a:ahLst/>
              <a:cxnLst>
                <a:cxn ang="0">
                  <a:pos x="86" y="4"/>
                </a:cxn>
                <a:cxn ang="0">
                  <a:pos x="124" y="28"/>
                </a:cxn>
                <a:cxn ang="0">
                  <a:pos x="152" y="31"/>
                </a:cxn>
                <a:cxn ang="0">
                  <a:pos x="254" y="48"/>
                </a:cxn>
                <a:cxn ang="0">
                  <a:pos x="268" y="87"/>
                </a:cxn>
                <a:cxn ang="0">
                  <a:pos x="341" y="97"/>
                </a:cxn>
                <a:cxn ang="0">
                  <a:pos x="344" y="121"/>
                </a:cxn>
                <a:cxn ang="0">
                  <a:pos x="408" y="136"/>
                </a:cxn>
                <a:cxn ang="0">
                  <a:pos x="448" y="151"/>
                </a:cxn>
                <a:cxn ang="0">
                  <a:pos x="460" y="128"/>
                </a:cxn>
                <a:cxn ang="0">
                  <a:pos x="460" y="63"/>
                </a:cxn>
                <a:cxn ang="0">
                  <a:pos x="480" y="44"/>
                </a:cxn>
                <a:cxn ang="0">
                  <a:pos x="499" y="16"/>
                </a:cxn>
                <a:cxn ang="0">
                  <a:pos x="517" y="0"/>
                </a:cxn>
                <a:cxn ang="0">
                  <a:pos x="563" y="2"/>
                </a:cxn>
                <a:cxn ang="0">
                  <a:pos x="591" y="30"/>
                </a:cxn>
                <a:cxn ang="0">
                  <a:pos x="615" y="51"/>
                </a:cxn>
                <a:cxn ang="0">
                  <a:pos x="656" y="49"/>
                </a:cxn>
                <a:cxn ang="0">
                  <a:pos x="695" y="63"/>
                </a:cxn>
                <a:cxn ang="0">
                  <a:pos x="691" y="109"/>
                </a:cxn>
                <a:cxn ang="0">
                  <a:pos x="694" y="662"/>
                </a:cxn>
                <a:cxn ang="0">
                  <a:pos x="689" y="741"/>
                </a:cxn>
                <a:cxn ang="0">
                  <a:pos x="658" y="750"/>
                </a:cxn>
                <a:cxn ang="0">
                  <a:pos x="666" y="832"/>
                </a:cxn>
                <a:cxn ang="0">
                  <a:pos x="634" y="829"/>
                </a:cxn>
                <a:cxn ang="0">
                  <a:pos x="560" y="768"/>
                </a:cxn>
                <a:cxn ang="0">
                  <a:pos x="527" y="751"/>
                </a:cxn>
                <a:cxn ang="0">
                  <a:pos x="458" y="717"/>
                </a:cxn>
                <a:cxn ang="0">
                  <a:pos x="434" y="676"/>
                </a:cxn>
                <a:cxn ang="0">
                  <a:pos x="355" y="664"/>
                </a:cxn>
                <a:cxn ang="0">
                  <a:pos x="340" y="624"/>
                </a:cxn>
                <a:cxn ang="0">
                  <a:pos x="300" y="610"/>
                </a:cxn>
                <a:cxn ang="0">
                  <a:pos x="296" y="593"/>
                </a:cxn>
                <a:cxn ang="0">
                  <a:pos x="253" y="588"/>
                </a:cxn>
                <a:cxn ang="0">
                  <a:pos x="224" y="578"/>
                </a:cxn>
                <a:cxn ang="0">
                  <a:pos x="170" y="573"/>
                </a:cxn>
                <a:cxn ang="0">
                  <a:pos x="165" y="550"/>
                </a:cxn>
                <a:cxn ang="0">
                  <a:pos x="106" y="550"/>
                </a:cxn>
                <a:cxn ang="0">
                  <a:pos x="98" y="502"/>
                </a:cxn>
                <a:cxn ang="0">
                  <a:pos x="27" y="491"/>
                </a:cxn>
                <a:cxn ang="0">
                  <a:pos x="3" y="467"/>
                </a:cxn>
                <a:cxn ang="0">
                  <a:pos x="0" y="412"/>
                </a:cxn>
                <a:cxn ang="0">
                  <a:pos x="11" y="104"/>
                </a:cxn>
                <a:cxn ang="0">
                  <a:pos x="55" y="83"/>
                </a:cxn>
                <a:cxn ang="0">
                  <a:pos x="79" y="77"/>
                </a:cxn>
                <a:cxn ang="0">
                  <a:pos x="86" y="4"/>
                </a:cxn>
              </a:cxnLst>
              <a:rect l="0" t="0" r="r" b="b"/>
              <a:pathLst>
                <a:path w="695" h="832">
                  <a:moveTo>
                    <a:pt x="86" y="4"/>
                  </a:moveTo>
                  <a:lnTo>
                    <a:pt x="124" y="28"/>
                  </a:lnTo>
                  <a:lnTo>
                    <a:pt x="152" y="31"/>
                  </a:lnTo>
                  <a:lnTo>
                    <a:pt x="254" y="48"/>
                  </a:lnTo>
                  <a:lnTo>
                    <a:pt x="268" y="87"/>
                  </a:lnTo>
                  <a:lnTo>
                    <a:pt x="341" y="97"/>
                  </a:lnTo>
                  <a:lnTo>
                    <a:pt x="344" y="121"/>
                  </a:lnTo>
                  <a:lnTo>
                    <a:pt x="408" y="136"/>
                  </a:lnTo>
                  <a:lnTo>
                    <a:pt x="448" y="151"/>
                  </a:lnTo>
                  <a:lnTo>
                    <a:pt x="460" y="128"/>
                  </a:lnTo>
                  <a:lnTo>
                    <a:pt x="460" y="63"/>
                  </a:lnTo>
                  <a:lnTo>
                    <a:pt x="480" y="44"/>
                  </a:lnTo>
                  <a:lnTo>
                    <a:pt x="499" y="16"/>
                  </a:lnTo>
                  <a:lnTo>
                    <a:pt x="517" y="0"/>
                  </a:lnTo>
                  <a:lnTo>
                    <a:pt x="563" y="2"/>
                  </a:lnTo>
                  <a:lnTo>
                    <a:pt x="591" y="30"/>
                  </a:lnTo>
                  <a:lnTo>
                    <a:pt x="615" y="51"/>
                  </a:lnTo>
                  <a:lnTo>
                    <a:pt x="656" y="49"/>
                  </a:lnTo>
                  <a:lnTo>
                    <a:pt x="695" y="63"/>
                  </a:lnTo>
                  <a:lnTo>
                    <a:pt x="691" y="109"/>
                  </a:lnTo>
                  <a:lnTo>
                    <a:pt x="694" y="662"/>
                  </a:lnTo>
                  <a:lnTo>
                    <a:pt x="689" y="741"/>
                  </a:lnTo>
                  <a:lnTo>
                    <a:pt x="658" y="750"/>
                  </a:lnTo>
                  <a:lnTo>
                    <a:pt x="666" y="832"/>
                  </a:lnTo>
                  <a:lnTo>
                    <a:pt x="634" y="829"/>
                  </a:lnTo>
                  <a:lnTo>
                    <a:pt x="560" y="768"/>
                  </a:lnTo>
                  <a:lnTo>
                    <a:pt x="527" y="751"/>
                  </a:lnTo>
                  <a:lnTo>
                    <a:pt x="458" y="717"/>
                  </a:lnTo>
                  <a:lnTo>
                    <a:pt x="434" y="676"/>
                  </a:lnTo>
                  <a:lnTo>
                    <a:pt x="355" y="664"/>
                  </a:lnTo>
                  <a:lnTo>
                    <a:pt x="340" y="624"/>
                  </a:lnTo>
                  <a:lnTo>
                    <a:pt x="300" y="610"/>
                  </a:lnTo>
                  <a:lnTo>
                    <a:pt x="296" y="593"/>
                  </a:lnTo>
                  <a:lnTo>
                    <a:pt x="253" y="588"/>
                  </a:lnTo>
                  <a:lnTo>
                    <a:pt x="224" y="578"/>
                  </a:lnTo>
                  <a:lnTo>
                    <a:pt x="170" y="573"/>
                  </a:lnTo>
                  <a:lnTo>
                    <a:pt x="165" y="550"/>
                  </a:lnTo>
                  <a:lnTo>
                    <a:pt x="106" y="550"/>
                  </a:lnTo>
                  <a:lnTo>
                    <a:pt x="98" y="502"/>
                  </a:lnTo>
                  <a:lnTo>
                    <a:pt x="27" y="491"/>
                  </a:lnTo>
                  <a:lnTo>
                    <a:pt x="3" y="467"/>
                  </a:lnTo>
                  <a:lnTo>
                    <a:pt x="0" y="412"/>
                  </a:lnTo>
                  <a:lnTo>
                    <a:pt x="11" y="104"/>
                  </a:lnTo>
                  <a:lnTo>
                    <a:pt x="55" y="83"/>
                  </a:lnTo>
                  <a:lnTo>
                    <a:pt x="79" y="77"/>
                  </a:lnTo>
                  <a:lnTo>
                    <a:pt x="86" y="4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6" name="Freeform 176"/>
            <p:cNvSpPr>
              <a:spLocks noChangeAspect="1"/>
            </p:cNvSpPr>
            <p:nvPr/>
          </p:nvSpPr>
          <p:spPr bwMode="auto">
            <a:xfrm>
              <a:off x="1304202" y="3713889"/>
              <a:ext cx="404396" cy="598160"/>
            </a:xfrm>
            <a:custGeom>
              <a:avLst/>
              <a:gdLst/>
              <a:ahLst/>
              <a:cxnLst>
                <a:cxn ang="0">
                  <a:pos x="106" y="384"/>
                </a:cxn>
                <a:cxn ang="0">
                  <a:pos x="50" y="444"/>
                </a:cxn>
                <a:cxn ang="0">
                  <a:pos x="5" y="494"/>
                </a:cxn>
                <a:cxn ang="0">
                  <a:pos x="33" y="537"/>
                </a:cxn>
                <a:cxn ang="0">
                  <a:pos x="61" y="583"/>
                </a:cxn>
                <a:cxn ang="0">
                  <a:pos x="54" y="621"/>
                </a:cxn>
                <a:cxn ang="0">
                  <a:pos x="97" y="699"/>
                </a:cxn>
                <a:cxn ang="0">
                  <a:pos x="113" y="749"/>
                </a:cxn>
                <a:cxn ang="0">
                  <a:pos x="148" y="769"/>
                </a:cxn>
                <a:cxn ang="0">
                  <a:pos x="202" y="820"/>
                </a:cxn>
                <a:cxn ang="0">
                  <a:pos x="236" y="881"/>
                </a:cxn>
                <a:cxn ang="0">
                  <a:pos x="254" y="912"/>
                </a:cxn>
                <a:cxn ang="0">
                  <a:pos x="267" y="960"/>
                </a:cxn>
                <a:cxn ang="0">
                  <a:pos x="388" y="992"/>
                </a:cxn>
                <a:cxn ang="0">
                  <a:pos x="419" y="1008"/>
                </a:cxn>
                <a:cxn ang="0">
                  <a:pos x="512" y="1010"/>
                </a:cxn>
                <a:cxn ang="0">
                  <a:pos x="625" y="945"/>
                </a:cxn>
                <a:cxn ang="0">
                  <a:pos x="607" y="881"/>
                </a:cxn>
                <a:cxn ang="0">
                  <a:pos x="570" y="852"/>
                </a:cxn>
                <a:cxn ang="0">
                  <a:pos x="543" y="811"/>
                </a:cxn>
                <a:cxn ang="0">
                  <a:pos x="565" y="761"/>
                </a:cxn>
                <a:cxn ang="0">
                  <a:pos x="615" y="656"/>
                </a:cxn>
                <a:cxn ang="0">
                  <a:pos x="680" y="542"/>
                </a:cxn>
                <a:cxn ang="0">
                  <a:pos x="642" y="409"/>
                </a:cxn>
                <a:cxn ang="0">
                  <a:pos x="685" y="375"/>
                </a:cxn>
                <a:cxn ang="0">
                  <a:pos x="664" y="292"/>
                </a:cxn>
                <a:cxn ang="0">
                  <a:pos x="691" y="147"/>
                </a:cxn>
                <a:cxn ang="0">
                  <a:pos x="664" y="47"/>
                </a:cxn>
                <a:cxn ang="0">
                  <a:pos x="526" y="64"/>
                </a:cxn>
                <a:cxn ang="0">
                  <a:pos x="202" y="40"/>
                </a:cxn>
                <a:cxn ang="0">
                  <a:pos x="139" y="79"/>
                </a:cxn>
                <a:cxn ang="0">
                  <a:pos x="103" y="167"/>
                </a:cxn>
              </a:cxnLst>
              <a:rect l="0" t="0" r="r" b="b"/>
              <a:pathLst>
                <a:path w="691" h="1010">
                  <a:moveTo>
                    <a:pt x="111" y="249"/>
                  </a:moveTo>
                  <a:lnTo>
                    <a:pt x="106" y="384"/>
                  </a:lnTo>
                  <a:lnTo>
                    <a:pt x="77" y="394"/>
                  </a:lnTo>
                  <a:lnTo>
                    <a:pt x="50" y="444"/>
                  </a:lnTo>
                  <a:lnTo>
                    <a:pt x="37" y="492"/>
                  </a:lnTo>
                  <a:lnTo>
                    <a:pt x="5" y="494"/>
                  </a:lnTo>
                  <a:lnTo>
                    <a:pt x="0" y="523"/>
                  </a:lnTo>
                  <a:lnTo>
                    <a:pt x="33" y="537"/>
                  </a:lnTo>
                  <a:lnTo>
                    <a:pt x="41" y="573"/>
                  </a:lnTo>
                  <a:lnTo>
                    <a:pt x="61" y="583"/>
                  </a:lnTo>
                  <a:lnTo>
                    <a:pt x="64" y="605"/>
                  </a:lnTo>
                  <a:lnTo>
                    <a:pt x="54" y="621"/>
                  </a:lnTo>
                  <a:lnTo>
                    <a:pt x="75" y="654"/>
                  </a:lnTo>
                  <a:lnTo>
                    <a:pt x="97" y="699"/>
                  </a:lnTo>
                  <a:lnTo>
                    <a:pt x="92" y="739"/>
                  </a:lnTo>
                  <a:lnTo>
                    <a:pt x="113" y="749"/>
                  </a:lnTo>
                  <a:lnTo>
                    <a:pt x="116" y="774"/>
                  </a:lnTo>
                  <a:lnTo>
                    <a:pt x="148" y="769"/>
                  </a:lnTo>
                  <a:lnTo>
                    <a:pt x="160" y="812"/>
                  </a:lnTo>
                  <a:lnTo>
                    <a:pt x="202" y="820"/>
                  </a:lnTo>
                  <a:lnTo>
                    <a:pt x="209" y="871"/>
                  </a:lnTo>
                  <a:lnTo>
                    <a:pt x="236" y="881"/>
                  </a:lnTo>
                  <a:lnTo>
                    <a:pt x="247" y="899"/>
                  </a:lnTo>
                  <a:lnTo>
                    <a:pt x="254" y="912"/>
                  </a:lnTo>
                  <a:lnTo>
                    <a:pt x="249" y="935"/>
                  </a:lnTo>
                  <a:lnTo>
                    <a:pt x="267" y="960"/>
                  </a:lnTo>
                  <a:lnTo>
                    <a:pt x="371" y="969"/>
                  </a:lnTo>
                  <a:lnTo>
                    <a:pt x="388" y="992"/>
                  </a:lnTo>
                  <a:lnTo>
                    <a:pt x="416" y="1000"/>
                  </a:lnTo>
                  <a:lnTo>
                    <a:pt x="419" y="1008"/>
                  </a:lnTo>
                  <a:lnTo>
                    <a:pt x="467" y="1008"/>
                  </a:lnTo>
                  <a:lnTo>
                    <a:pt x="512" y="1010"/>
                  </a:lnTo>
                  <a:lnTo>
                    <a:pt x="565" y="993"/>
                  </a:lnTo>
                  <a:lnTo>
                    <a:pt x="625" y="945"/>
                  </a:lnTo>
                  <a:lnTo>
                    <a:pt x="629" y="918"/>
                  </a:lnTo>
                  <a:lnTo>
                    <a:pt x="607" y="881"/>
                  </a:lnTo>
                  <a:lnTo>
                    <a:pt x="591" y="870"/>
                  </a:lnTo>
                  <a:lnTo>
                    <a:pt x="570" y="852"/>
                  </a:lnTo>
                  <a:lnTo>
                    <a:pt x="567" y="816"/>
                  </a:lnTo>
                  <a:lnTo>
                    <a:pt x="543" y="811"/>
                  </a:lnTo>
                  <a:lnTo>
                    <a:pt x="518" y="764"/>
                  </a:lnTo>
                  <a:lnTo>
                    <a:pt x="565" y="761"/>
                  </a:lnTo>
                  <a:lnTo>
                    <a:pt x="577" y="658"/>
                  </a:lnTo>
                  <a:lnTo>
                    <a:pt x="615" y="656"/>
                  </a:lnTo>
                  <a:lnTo>
                    <a:pt x="622" y="551"/>
                  </a:lnTo>
                  <a:lnTo>
                    <a:pt x="680" y="542"/>
                  </a:lnTo>
                  <a:lnTo>
                    <a:pt x="674" y="416"/>
                  </a:lnTo>
                  <a:lnTo>
                    <a:pt x="642" y="409"/>
                  </a:lnTo>
                  <a:lnTo>
                    <a:pt x="644" y="374"/>
                  </a:lnTo>
                  <a:lnTo>
                    <a:pt x="685" y="375"/>
                  </a:lnTo>
                  <a:lnTo>
                    <a:pt x="681" y="337"/>
                  </a:lnTo>
                  <a:lnTo>
                    <a:pt x="664" y="292"/>
                  </a:lnTo>
                  <a:lnTo>
                    <a:pt x="660" y="233"/>
                  </a:lnTo>
                  <a:lnTo>
                    <a:pt x="691" y="147"/>
                  </a:lnTo>
                  <a:lnTo>
                    <a:pt x="688" y="103"/>
                  </a:lnTo>
                  <a:lnTo>
                    <a:pt x="664" y="47"/>
                  </a:lnTo>
                  <a:lnTo>
                    <a:pt x="605" y="0"/>
                  </a:lnTo>
                  <a:lnTo>
                    <a:pt x="526" y="64"/>
                  </a:lnTo>
                  <a:lnTo>
                    <a:pt x="498" y="40"/>
                  </a:lnTo>
                  <a:lnTo>
                    <a:pt x="202" y="40"/>
                  </a:lnTo>
                  <a:lnTo>
                    <a:pt x="167" y="64"/>
                  </a:lnTo>
                  <a:lnTo>
                    <a:pt x="139" y="79"/>
                  </a:lnTo>
                  <a:lnTo>
                    <a:pt x="134" y="158"/>
                  </a:lnTo>
                  <a:lnTo>
                    <a:pt x="103" y="167"/>
                  </a:lnTo>
                  <a:lnTo>
                    <a:pt x="111" y="24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7" name="Freeform 177"/>
            <p:cNvSpPr>
              <a:spLocks noChangeAspect="1"/>
            </p:cNvSpPr>
            <p:nvPr/>
          </p:nvSpPr>
          <p:spPr bwMode="auto">
            <a:xfrm>
              <a:off x="3069479" y="3536393"/>
              <a:ext cx="73846" cy="42599"/>
            </a:xfrm>
            <a:custGeom>
              <a:avLst/>
              <a:gdLst/>
              <a:ahLst/>
              <a:cxnLst>
                <a:cxn ang="0">
                  <a:pos x="111" y="71"/>
                </a:cxn>
                <a:cxn ang="0">
                  <a:pos x="58" y="67"/>
                </a:cxn>
                <a:cxn ang="0">
                  <a:pos x="17" y="52"/>
                </a:cxn>
                <a:cxn ang="0">
                  <a:pos x="0" y="0"/>
                </a:cxn>
                <a:cxn ang="0">
                  <a:pos x="51" y="24"/>
                </a:cxn>
                <a:cxn ang="0">
                  <a:pos x="126" y="23"/>
                </a:cxn>
                <a:cxn ang="0">
                  <a:pos x="111" y="71"/>
                </a:cxn>
              </a:cxnLst>
              <a:rect l="0" t="0" r="r" b="b"/>
              <a:pathLst>
                <a:path w="126" h="71">
                  <a:moveTo>
                    <a:pt x="111" y="71"/>
                  </a:moveTo>
                  <a:lnTo>
                    <a:pt x="58" y="67"/>
                  </a:lnTo>
                  <a:lnTo>
                    <a:pt x="17" y="52"/>
                  </a:lnTo>
                  <a:lnTo>
                    <a:pt x="0" y="0"/>
                  </a:lnTo>
                  <a:lnTo>
                    <a:pt x="51" y="24"/>
                  </a:lnTo>
                  <a:lnTo>
                    <a:pt x="126" y="23"/>
                  </a:lnTo>
                  <a:lnTo>
                    <a:pt x="111" y="7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8" name="Freeform 178"/>
            <p:cNvSpPr>
              <a:spLocks noChangeAspect="1"/>
            </p:cNvSpPr>
            <p:nvPr/>
          </p:nvSpPr>
          <p:spPr bwMode="auto">
            <a:xfrm>
              <a:off x="957828" y="4352873"/>
              <a:ext cx="170550" cy="202345"/>
            </a:xfrm>
            <a:custGeom>
              <a:avLst/>
              <a:gdLst/>
              <a:ahLst/>
              <a:cxnLst>
                <a:cxn ang="0">
                  <a:pos x="215" y="0"/>
                </a:cxn>
                <a:cxn ang="0">
                  <a:pos x="142" y="6"/>
                </a:cxn>
                <a:cxn ang="0">
                  <a:pos x="117" y="28"/>
                </a:cxn>
                <a:cxn ang="0">
                  <a:pos x="117" y="52"/>
                </a:cxn>
                <a:cxn ang="0">
                  <a:pos x="105" y="85"/>
                </a:cxn>
                <a:cxn ang="0">
                  <a:pos x="57" y="88"/>
                </a:cxn>
                <a:cxn ang="0">
                  <a:pos x="46" y="75"/>
                </a:cxn>
                <a:cxn ang="0">
                  <a:pos x="46" y="136"/>
                </a:cxn>
                <a:cxn ang="0">
                  <a:pos x="8" y="152"/>
                </a:cxn>
                <a:cxn ang="0">
                  <a:pos x="0" y="166"/>
                </a:cxn>
                <a:cxn ang="0">
                  <a:pos x="22" y="176"/>
                </a:cxn>
                <a:cxn ang="0">
                  <a:pos x="21" y="219"/>
                </a:cxn>
                <a:cxn ang="0">
                  <a:pos x="77" y="273"/>
                </a:cxn>
                <a:cxn ang="0">
                  <a:pos x="121" y="324"/>
                </a:cxn>
                <a:cxn ang="0">
                  <a:pos x="139" y="343"/>
                </a:cxn>
                <a:cxn ang="0">
                  <a:pos x="155" y="321"/>
                </a:cxn>
                <a:cxn ang="0">
                  <a:pos x="170" y="283"/>
                </a:cxn>
                <a:cxn ang="0">
                  <a:pos x="149" y="267"/>
                </a:cxn>
                <a:cxn ang="0">
                  <a:pos x="145" y="242"/>
                </a:cxn>
                <a:cxn ang="0">
                  <a:pos x="176" y="228"/>
                </a:cxn>
                <a:cxn ang="0">
                  <a:pos x="200" y="221"/>
                </a:cxn>
                <a:cxn ang="0">
                  <a:pos x="224" y="253"/>
                </a:cxn>
                <a:cxn ang="0">
                  <a:pos x="262" y="238"/>
                </a:cxn>
                <a:cxn ang="0">
                  <a:pos x="290" y="194"/>
                </a:cxn>
                <a:cxn ang="0">
                  <a:pos x="283" y="150"/>
                </a:cxn>
                <a:cxn ang="0">
                  <a:pos x="259" y="129"/>
                </a:cxn>
                <a:cxn ang="0">
                  <a:pos x="245" y="97"/>
                </a:cxn>
                <a:cxn ang="0">
                  <a:pos x="257" y="73"/>
                </a:cxn>
                <a:cxn ang="0">
                  <a:pos x="248" y="43"/>
                </a:cxn>
                <a:cxn ang="0">
                  <a:pos x="215" y="42"/>
                </a:cxn>
                <a:cxn ang="0">
                  <a:pos x="215" y="0"/>
                </a:cxn>
              </a:cxnLst>
              <a:rect l="0" t="0" r="r" b="b"/>
              <a:pathLst>
                <a:path w="290" h="343">
                  <a:moveTo>
                    <a:pt x="215" y="0"/>
                  </a:moveTo>
                  <a:lnTo>
                    <a:pt x="142" y="6"/>
                  </a:lnTo>
                  <a:lnTo>
                    <a:pt x="117" y="28"/>
                  </a:lnTo>
                  <a:lnTo>
                    <a:pt x="117" y="52"/>
                  </a:lnTo>
                  <a:lnTo>
                    <a:pt x="105" y="85"/>
                  </a:lnTo>
                  <a:lnTo>
                    <a:pt x="57" y="88"/>
                  </a:lnTo>
                  <a:lnTo>
                    <a:pt x="46" y="75"/>
                  </a:lnTo>
                  <a:lnTo>
                    <a:pt x="46" y="136"/>
                  </a:lnTo>
                  <a:lnTo>
                    <a:pt x="8" y="152"/>
                  </a:lnTo>
                  <a:lnTo>
                    <a:pt x="0" y="166"/>
                  </a:lnTo>
                  <a:lnTo>
                    <a:pt x="22" y="176"/>
                  </a:lnTo>
                  <a:lnTo>
                    <a:pt x="21" y="219"/>
                  </a:lnTo>
                  <a:lnTo>
                    <a:pt x="77" y="273"/>
                  </a:lnTo>
                  <a:lnTo>
                    <a:pt x="121" y="324"/>
                  </a:lnTo>
                  <a:lnTo>
                    <a:pt x="139" y="343"/>
                  </a:lnTo>
                  <a:lnTo>
                    <a:pt x="155" y="321"/>
                  </a:lnTo>
                  <a:lnTo>
                    <a:pt x="170" y="283"/>
                  </a:lnTo>
                  <a:lnTo>
                    <a:pt x="149" y="267"/>
                  </a:lnTo>
                  <a:lnTo>
                    <a:pt x="145" y="242"/>
                  </a:lnTo>
                  <a:lnTo>
                    <a:pt x="176" y="228"/>
                  </a:lnTo>
                  <a:lnTo>
                    <a:pt x="200" y="221"/>
                  </a:lnTo>
                  <a:lnTo>
                    <a:pt x="224" y="253"/>
                  </a:lnTo>
                  <a:lnTo>
                    <a:pt x="262" y="238"/>
                  </a:lnTo>
                  <a:lnTo>
                    <a:pt x="290" y="194"/>
                  </a:lnTo>
                  <a:lnTo>
                    <a:pt x="283" y="150"/>
                  </a:lnTo>
                  <a:lnTo>
                    <a:pt x="259" y="129"/>
                  </a:lnTo>
                  <a:lnTo>
                    <a:pt x="245" y="97"/>
                  </a:lnTo>
                  <a:lnTo>
                    <a:pt x="257" y="73"/>
                  </a:lnTo>
                  <a:lnTo>
                    <a:pt x="248" y="43"/>
                  </a:lnTo>
                  <a:lnTo>
                    <a:pt x="215" y="42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9" name="Freeform 179"/>
            <p:cNvSpPr>
              <a:spLocks noChangeAspect="1"/>
            </p:cNvSpPr>
            <p:nvPr/>
          </p:nvSpPr>
          <p:spPr bwMode="auto">
            <a:xfrm>
              <a:off x="1638268" y="3319849"/>
              <a:ext cx="38681" cy="60349"/>
            </a:xfrm>
            <a:custGeom>
              <a:avLst/>
              <a:gdLst/>
              <a:ahLst/>
              <a:cxnLst>
                <a:cxn ang="0">
                  <a:pos x="0" y="103"/>
                </a:cxn>
                <a:cxn ang="0">
                  <a:pos x="42" y="79"/>
                </a:cxn>
                <a:cxn ang="0">
                  <a:pos x="66" y="27"/>
                </a:cxn>
                <a:cxn ang="0">
                  <a:pos x="27" y="0"/>
                </a:cxn>
                <a:cxn ang="0">
                  <a:pos x="0" y="103"/>
                </a:cxn>
              </a:cxnLst>
              <a:rect l="0" t="0" r="r" b="b"/>
              <a:pathLst>
                <a:path w="66" h="103">
                  <a:moveTo>
                    <a:pt x="0" y="103"/>
                  </a:moveTo>
                  <a:lnTo>
                    <a:pt x="42" y="79"/>
                  </a:lnTo>
                  <a:lnTo>
                    <a:pt x="66" y="27"/>
                  </a:lnTo>
                  <a:lnTo>
                    <a:pt x="27" y="0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0" name="Freeform 180"/>
            <p:cNvSpPr>
              <a:spLocks noChangeAspect="1"/>
            </p:cNvSpPr>
            <p:nvPr/>
          </p:nvSpPr>
          <p:spPr bwMode="auto">
            <a:xfrm>
              <a:off x="7067088" y="4102275"/>
              <a:ext cx="158242" cy="92298"/>
            </a:xfrm>
            <a:custGeom>
              <a:avLst/>
              <a:gdLst/>
              <a:ahLst/>
              <a:cxnLst>
                <a:cxn ang="0">
                  <a:pos x="39" y="15"/>
                </a:cxn>
                <a:cxn ang="0">
                  <a:pos x="0" y="35"/>
                </a:cxn>
                <a:cxn ang="0">
                  <a:pos x="4" y="87"/>
                </a:cxn>
                <a:cxn ang="0">
                  <a:pos x="95" y="98"/>
                </a:cxn>
                <a:cxn ang="0">
                  <a:pos x="130" y="130"/>
                </a:cxn>
                <a:cxn ang="0">
                  <a:pos x="170" y="111"/>
                </a:cxn>
                <a:cxn ang="0">
                  <a:pos x="154" y="71"/>
                </a:cxn>
                <a:cxn ang="0">
                  <a:pos x="198" y="67"/>
                </a:cxn>
                <a:cxn ang="0">
                  <a:pos x="241" y="122"/>
                </a:cxn>
                <a:cxn ang="0">
                  <a:pos x="260" y="157"/>
                </a:cxn>
                <a:cxn ang="0">
                  <a:pos x="269" y="56"/>
                </a:cxn>
                <a:cxn ang="0">
                  <a:pos x="214" y="15"/>
                </a:cxn>
                <a:cxn ang="0">
                  <a:pos x="162" y="0"/>
                </a:cxn>
                <a:cxn ang="0">
                  <a:pos x="126" y="35"/>
                </a:cxn>
                <a:cxn ang="0">
                  <a:pos x="39" y="15"/>
                </a:cxn>
              </a:cxnLst>
              <a:rect l="0" t="0" r="r" b="b"/>
              <a:pathLst>
                <a:path w="269" h="157">
                  <a:moveTo>
                    <a:pt x="39" y="15"/>
                  </a:moveTo>
                  <a:lnTo>
                    <a:pt x="0" y="35"/>
                  </a:lnTo>
                  <a:lnTo>
                    <a:pt x="4" y="87"/>
                  </a:lnTo>
                  <a:lnTo>
                    <a:pt x="95" y="98"/>
                  </a:lnTo>
                  <a:lnTo>
                    <a:pt x="130" y="130"/>
                  </a:lnTo>
                  <a:lnTo>
                    <a:pt x="170" y="111"/>
                  </a:lnTo>
                  <a:lnTo>
                    <a:pt x="154" y="71"/>
                  </a:lnTo>
                  <a:lnTo>
                    <a:pt x="198" y="67"/>
                  </a:lnTo>
                  <a:lnTo>
                    <a:pt x="241" y="122"/>
                  </a:lnTo>
                  <a:lnTo>
                    <a:pt x="260" y="157"/>
                  </a:lnTo>
                  <a:lnTo>
                    <a:pt x="269" y="56"/>
                  </a:lnTo>
                  <a:lnTo>
                    <a:pt x="214" y="15"/>
                  </a:lnTo>
                  <a:lnTo>
                    <a:pt x="162" y="0"/>
                  </a:lnTo>
                  <a:lnTo>
                    <a:pt x="126" y="35"/>
                  </a:lnTo>
                  <a:lnTo>
                    <a:pt x="39" y="1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1" name="Freeform 181"/>
            <p:cNvSpPr>
              <a:spLocks noChangeAspect="1"/>
            </p:cNvSpPr>
            <p:nvPr/>
          </p:nvSpPr>
          <p:spPr bwMode="auto">
            <a:xfrm>
              <a:off x="7126869" y="4368519"/>
              <a:ext cx="203956" cy="188145"/>
            </a:xfrm>
            <a:custGeom>
              <a:avLst/>
              <a:gdLst/>
              <a:ahLst/>
              <a:cxnLst>
                <a:cxn ang="0">
                  <a:pos x="348" y="151"/>
                </a:cxn>
                <a:cxn ang="0">
                  <a:pos x="309" y="99"/>
                </a:cxn>
                <a:cxn ang="0">
                  <a:pos x="261" y="68"/>
                </a:cxn>
                <a:cxn ang="0">
                  <a:pos x="226" y="36"/>
                </a:cxn>
                <a:cxn ang="0">
                  <a:pos x="151" y="40"/>
                </a:cxn>
                <a:cxn ang="0">
                  <a:pos x="84" y="0"/>
                </a:cxn>
                <a:cxn ang="0">
                  <a:pos x="44" y="20"/>
                </a:cxn>
                <a:cxn ang="0">
                  <a:pos x="37" y="75"/>
                </a:cxn>
                <a:cxn ang="0">
                  <a:pos x="16" y="103"/>
                </a:cxn>
                <a:cxn ang="0">
                  <a:pos x="0" y="139"/>
                </a:cxn>
                <a:cxn ang="0">
                  <a:pos x="16" y="174"/>
                </a:cxn>
                <a:cxn ang="0">
                  <a:pos x="44" y="202"/>
                </a:cxn>
                <a:cxn ang="0">
                  <a:pos x="52" y="237"/>
                </a:cxn>
                <a:cxn ang="0">
                  <a:pos x="52" y="285"/>
                </a:cxn>
                <a:cxn ang="0">
                  <a:pos x="83" y="320"/>
                </a:cxn>
                <a:cxn ang="0">
                  <a:pos x="131" y="285"/>
                </a:cxn>
                <a:cxn ang="0">
                  <a:pos x="193" y="241"/>
                </a:cxn>
                <a:cxn ang="0">
                  <a:pos x="324" y="182"/>
                </a:cxn>
                <a:cxn ang="0">
                  <a:pos x="348" y="151"/>
                </a:cxn>
              </a:cxnLst>
              <a:rect l="0" t="0" r="r" b="b"/>
              <a:pathLst>
                <a:path w="348" h="320">
                  <a:moveTo>
                    <a:pt x="348" y="151"/>
                  </a:moveTo>
                  <a:lnTo>
                    <a:pt x="309" y="99"/>
                  </a:lnTo>
                  <a:lnTo>
                    <a:pt x="261" y="68"/>
                  </a:lnTo>
                  <a:lnTo>
                    <a:pt x="226" y="36"/>
                  </a:lnTo>
                  <a:lnTo>
                    <a:pt x="151" y="40"/>
                  </a:lnTo>
                  <a:lnTo>
                    <a:pt x="84" y="0"/>
                  </a:lnTo>
                  <a:lnTo>
                    <a:pt x="44" y="20"/>
                  </a:lnTo>
                  <a:lnTo>
                    <a:pt x="37" y="75"/>
                  </a:lnTo>
                  <a:lnTo>
                    <a:pt x="16" y="103"/>
                  </a:lnTo>
                  <a:lnTo>
                    <a:pt x="0" y="139"/>
                  </a:lnTo>
                  <a:lnTo>
                    <a:pt x="16" y="174"/>
                  </a:lnTo>
                  <a:lnTo>
                    <a:pt x="44" y="202"/>
                  </a:lnTo>
                  <a:lnTo>
                    <a:pt x="52" y="237"/>
                  </a:lnTo>
                  <a:lnTo>
                    <a:pt x="52" y="285"/>
                  </a:lnTo>
                  <a:lnTo>
                    <a:pt x="83" y="320"/>
                  </a:lnTo>
                  <a:lnTo>
                    <a:pt x="131" y="285"/>
                  </a:lnTo>
                  <a:lnTo>
                    <a:pt x="193" y="241"/>
                  </a:lnTo>
                  <a:lnTo>
                    <a:pt x="324" y="182"/>
                  </a:lnTo>
                  <a:lnTo>
                    <a:pt x="348" y="15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2" name="Freeform 182"/>
            <p:cNvSpPr>
              <a:spLocks noChangeAspect="1"/>
            </p:cNvSpPr>
            <p:nvPr/>
          </p:nvSpPr>
          <p:spPr bwMode="auto">
            <a:xfrm>
              <a:off x="7656100" y="4135999"/>
              <a:ext cx="116044" cy="232519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55" y="46"/>
                </a:cxn>
                <a:cxn ang="0">
                  <a:pos x="37" y="66"/>
                </a:cxn>
                <a:cxn ang="0">
                  <a:pos x="27" y="90"/>
                </a:cxn>
                <a:cxn ang="0">
                  <a:pos x="2" y="115"/>
                </a:cxn>
                <a:cxn ang="0">
                  <a:pos x="0" y="160"/>
                </a:cxn>
                <a:cxn ang="0">
                  <a:pos x="20" y="187"/>
                </a:cxn>
                <a:cxn ang="0">
                  <a:pos x="21" y="219"/>
                </a:cxn>
                <a:cxn ang="0">
                  <a:pos x="59" y="233"/>
                </a:cxn>
                <a:cxn ang="0">
                  <a:pos x="67" y="284"/>
                </a:cxn>
                <a:cxn ang="0">
                  <a:pos x="55" y="321"/>
                </a:cxn>
                <a:cxn ang="0">
                  <a:pos x="76" y="366"/>
                </a:cxn>
                <a:cxn ang="0">
                  <a:pos x="99" y="391"/>
                </a:cxn>
                <a:cxn ang="0">
                  <a:pos x="130" y="390"/>
                </a:cxn>
                <a:cxn ang="0">
                  <a:pos x="141" y="370"/>
                </a:cxn>
                <a:cxn ang="0">
                  <a:pos x="179" y="367"/>
                </a:cxn>
                <a:cxn ang="0">
                  <a:pos x="189" y="344"/>
                </a:cxn>
                <a:cxn ang="0">
                  <a:pos x="185" y="298"/>
                </a:cxn>
                <a:cxn ang="0">
                  <a:pos x="160" y="283"/>
                </a:cxn>
                <a:cxn ang="0">
                  <a:pos x="141" y="263"/>
                </a:cxn>
                <a:cxn ang="0">
                  <a:pos x="140" y="221"/>
                </a:cxn>
                <a:cxn ang="0">
                  <a:pos x="162" y="208"/>
                </a:cxn>
                <a:cxn ang="0">
                  <a:pos x="195" y="210"/>
                </a:cxn>
                <a:cxn ang="0">
                  <a:pos x="199" y="162"/>
                </a:cxn>
                <a:cxn ang="0">
                  <a:pos x="193" y="112"/>
                </a:cxn>
                <a:cxn ang="0">
                  <a:pos x="174" y="97"/>
                </a:cxn>
                <a:cxn ang="0">
                  <a:pos x="136" y="93"/>
                </a:cxn>
                <a:cxn ang="0">
                  <a:pos x="130" y="49"/>
                </a:cxn>
                <a:cxn ang="0">
                  <a:pos x="104" y="46"/>
                </a:cxn>
                <a:cxn ang="0">
                  <a:pos x="89" y="5"/>
                </a:cxn>
                <a:cxn ang="0">
                  <a:pos x="54" y="0"/>
                </a:cxn>
              </a:cxnLst>
              <a:rect l="0" t="0" r="r" b="b"/>
              <a:pathLst>
                <a:path w="199" h="391">
                  <a:moveTo>
                    <a:pt x="54" y="0"/>
                  </a:moveTo>
                  <a:lnTo>
                    <a:pt x="55" y="46"/>
                  </a:lnTo>
                  <a:lnTo>
                    <a:pt x="37" y="66"/>
                  </a:lnTo>
                  <a:lnTo>
                    <a:pt x="27" y="90"/>
                  </a:lnTo>
                  <a:lnTo>
                    <a:pt x="2" y="115"/>
                  </a:lnTo>
                  <a:lnTo>
                    <a:pt x="0" y="160"/>
                  </a:lnTo>
                  <a:lnTo>
                    <a:pt x="20" y="187"/>
                  </a:lnTo>
                  <a:lnTo>
                    <a:pt x="21" y="219"/>
                  </a:lnTo>
                  <a:lnTo>
                    <a:pt x="59" y="233"/>
                  </a:lnTo>
                  <a:lnTo>
                    <a:pt x="67" y="284"/>
                  </a:lnTo>
                  <a:lnTo>
                    <a:pt x="55" y="321"/>
                  </a:lnTo>
                  <a:lnTo>
                    <a:pt x="76" y="366"/>
                  </a:lnTo>
                  <a:lnTo>
                    <a:pt x="99" y="391"/>
                  </a:lnTo>
                  <a:lnTo>
                    <a:pt x="130" y="390"/>
                  </a:lnTo>
                  <a:lnTo>
                    <a:pt x="141" y="370"/>
                  </a:lnTo>
                  <a:lnTo>
                    <a:pt x="179" y="367"/>
                  </a:lnTo>
                  <a:lnTo>
                    <a:pt x="189" y="344"/>
                  </a:lnTo>
                  <a:lnTo>
                    <a:pt x="185" y="298"/>
                  </a:lnTo>
                  <a:lnTo>
                    <a:pt x="160" y="283"/>
                  </a:lnTo>
                  <a:lnTo>
                    <a:pt x="141" y="263"/>
                  </a:lnTo>
                  <a:lnTo>
                    <a:pt x="140" y="221"/>
                  </a:lnTo>
                  <a:lnTo>
                    <a:pt x="162" y="208"/>
                  </a:lnTo>
                  <a:lnTo>
                    <a:pt x="195" y="210"/>
                  </a:lnTo>
                  <a:lnTo>
                    <a:pt x="199" y="162"/>
                  </a:lnTo>
                  <a:lnTo>
                    <a:pt x="193" y="112"/>
                  </a:lnTo>
                  <a:lnTo>
                    <a:pt x="174" y="97"/>
                  </a:lnTo>
                  <a:lnTo>
                    <a:pt x="136" y="93"/>
                  </a:lnTo>
                  <a:lnTo>
                    <a:pt x="130" y="49"/>
                  </a:lnTo>
                  <a:lnTo>
                    <a:pt x="104" y="46"/>
                  </a:lnTo>
                  <a:lnTo>
                    <a:pt x="89" y="5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3" name="Freeform 183"/>
            <p:cNvSpPr>
              <a:spLocks noChangeAspect="1"/>
            </p:cNvSpPr>
            <p:nvPr/>
          </p:nvSpPr>
          <p:spPr bwMode="auto">
            <a:xfrm>
              <a:off x="7738738" y="4205223"/>
              <a:ext cx="110769" cy="149096"/>
            </a:xfrm>
            <a:custGeom>
              <a:avLst/>
              <a:gdLst/>
              <a:ahLst/>
              <a:cxnLst>
                <a:cxn ang="0">
                  <a:pos x="59" y="45"/>
                </a:cxn>
                <a:cxn ang="0">
                  <a:pos x="55" y="93"/>
                </a:cxn>
                <a:cxn ang="0">
                  <a:pos x="22" y="91"/>
                </a:cxn>
                <a:cxn ang="0">
                  <a:pos x="0" y="104"/>
                </a:cxn>
                <a:cxn ang="0">
                  <a:pos x="1" y="146"/>
                </a:cxn>
                <a:cxn ang="0">
                  <a:pos x="20" y="166"/>
                </a:cxn>
                <a:cxn ang="0">
                  <a:pos x="45" y="181"/>
                </a:cxn>
                <a:cxn ang="0">
                  <a:pos x="49" y="227"/>
                </a:cxn>
                <a:cxn ang="0">
                  <a:pos x="39" y="250"/>
                </a:cxn>
                <a:cxn ang="0">
                  <a:pos x="94" y="249"/>
                </a:cxn>
                <a:cxn ang="0">
                  <a:pos x="97" y="207"/>
                </a:cxn>
                <a:cxn ang="0">
                  <a:pos x="163" y="204"/>
                </a:cxn>
                <a:cxn ang="0">
                  <a:pos x="177" y="191"/>
                </a:cxn>
                <a:cxn ang="0">
                  <a:pos x="177" y="57"/>
                </a:cxn>
                <a:cxn ang="0">
                  <a:pos x="190" y="32"/>
                </a:cxn>
                <a:cxn ang="0">
                  <a:pos x="172" y="1"/>
                </a:cxn>
                <a:cxn ang="0">
                  <a:pos x="118" y="0"/>
                </a:cxn>
                <a:cxn ang="0">
                  <a:pos x="101" y="25"/>
                </a:cxn>
                <a:cxn ang="0">
                  <a:pos x="59" y="45"/>
                </a:cxn>
              </a:cxnLst>
              <a:rect l="0" t="0" r="r" b="b"/>
              <a:pathLst>
                <a:path w="190" h="250">
                  <a:moveTo>
                    <a:pt x="59" y="45"/>
                  </a:moveTo>
                  <a:lnTo>
                    <a:pt x="55" y="93"/>
                  </a:lnTo>
                  <a:lnTo>
                    <a:pt x="22" y="91"/>
                  </a:lnTo>
                  <a:lnTo>
                    <a:pt x="0" y="104"/>
                  </a:lnTo>
                  <a:lnTo>
                    <a:pt x="1" y="146"/>
                  </a:lnTo>
                  <a:lnTo>
                    <a:pt x="20" y="166"/>
                  </a:lnTo>
                  <a:lnTo>
                    <a:pt x="45" y="181"/>
                  </a:lnTo>
                  <a:lnTo>
                    <a:pt x="49" y="227"/>
                  </a:lnTo>
                  <a:lnTo>
                    <a:pt x="39" y="250"/>
                  </a:lnTo>
                  <a:lnTo>
                    <a:pt x="94" y="249"/>
                  </a:lnTo>
                  <a:lnTo>
                    <a:pt x="97" y="207"/>
                  </a:lnTo>
                  <a:lnTo>
                    <a:pt x="163" y="204"/>
                  </a:lnTo>
                  <a:lnTo>
                    <a:pt x="177" y="191"/>
                  </a:lnTo>
                  <a:lnTo>
                    <a:pt x="177" y="57"/>
                  </a:lnTo>
                  <a:lnTo>
                    <a:pt x="190" y="32"/>
                  </a:lnTo>
                  <a:lnTo>
                    <a:pt x="172" y="1"/>
                  </a:lnTo>
                  <a:lnTo>
                    <a:pt x="118" y="0"/>
                  </a:lnTo>
                  <a:lnTo>
                    <a:pt x="101" y="25"/>
                  </a:lnTo>
                  <a:lnTo>
                    <a:pt x="59" y="4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4" name="Freeform 184"/>
            <p:cNvSpPr>
              <a:spLocks noChangeAspect="1"/>
            </p:cNvSpPr>
            <p:nvPr/>
          </p:nvSpPr>
          <p:spPr bwMode="auto">
            <a:xfrm>
              <a:off x="3899370" y="3829261"/>
              <a:ext cx="93187" cy="145546"/>
            </a:xfrm>
            <a:custGeom>
              <a:avLst/>
              <a:gdLst/>
              <a:ahLst/>
              <a:cxnLst>
                <a:cxn ang="0">
                  <a:pos x="74" y="0"/>
                </a:cxn>
                <a:cxn ang="0">
                  <a:pos x="46" y="52"/>
                </a:cxn>
                <a:cxn ang="0">
                  <a:pos x="31" y="119"/>
                </a:cxn>
                <a:cxn ang="0">
                  <a:pos x="0" y="146"/>
                </a:cxn>
                <a:cxn ang="0">
                  <a:pos x="7" y="210"/>
                </a:cxn>
                <a:cxn ang="0">
                  <a:pos x="43" y="218"/>
                </a:cxn>
                <a:cxn ang="0">
                  <a:pos x="63" y="245"/>
                </a:cxn>
                <a:cxn ang="0">
                  <a:pos x="110" y="242"/>
                </a:cxn>
                <a:cxn ang="0">
                  <a:pos x="157" y="225"/>
                </a:cxn>
                <a:cxn ang="0">
                  <a:pos x="142" y="162"/>
                </a:cxn>
                <a:cxn ang="0">
                  <a:pos x="149" y="119"/>
                </a:cxn>
                <a:cxn ang="0">
                  <a:pos x="149" y="87"/>
                </a:cxn>
                <a:cxn ang="0">
                  <a:pos x="134" y="32"/>
                </a:cxn>
                <a:cxn ang="0">
                  <a:pos x="122" y="4"/>
                </a:cxn>
                <a:cxn ang="0">
                  <a:pos x="74" y="0"/>
                </a:cxn>
              </a:cxnLst>
              <a:rect l="0" t="0" r="r" b="b"/>
              <a:pathLst>
                <a:path w="157" h="245">
                  <a:moveTo>
                    <a:pt x="74" y="0"/>
                  </a:moveTo>
                  <a:lnTo>
                    <a:pt x="46" y="52"/>
                  </a:lnTo>
                  <a:lnTo>
                    <a:pt x="31" y="119"/>
                  </a:lnTo>
                  <a:lnTo>
                    <a:pt x="0" y="146"/>
                  </a:lnTo>
                  <a:lnTo>
                    <a:pt x="7" y="210"/>
                  </a:lnTo>
                  <a:lnTo>
                    <a:pt x="43" y="218"/>
                  </a:lnTo>
                  <a:lnTo>
                    <a:pt x="63" y="245"/>
                  </a:lnTo>
                  <a:lnTo>
                    <a:pt x="110" y="242"/>
                  </a:lnTo>
                  <a:lnTo>
                    <a:pt x="157" y="225"/>
                  </a:lnTo>
                  <a:lnTo>
                    <a:pt x="142" y="162"/>
                  </a:lnTo>
                  <a:lnTo>
                    <a:pt x="149" y="119"/>
                  </a:lnTo>
                  <a:lnTo>
                    <a:pt x="149" y="87"/>
                  </a:lnTo>
                  <a:lnTo>
                    <a:pt x="134" y="32"/>
                  </a:lnTo>
                  <a:lnTo>
                    <a:pt x="122" y="4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5" name="Freeform 185"/>
            <p:cNvSpPr>
              <a:spLocks noChangeAspect="1"/>
            </p:cNvSpPr>
            <p:nvPr/>
          </p:nvSpPr>
          <p:spPr bwMode="auto">
            <a:xfrm>
              <a:off x="3922227" y="4001432"/>
              <a:ext cx="52747" cy="46149"/>
            </a:xfrm>
            <a:custGeom>
              <a:avLst/>
              <a:gdLst/>
              <a:ahLst/>
              <a:cxnLst>
                <a:cxn ang="0">
                  <a:pos x="51" y="18"/>
                </a:cxn>
                <a:cxn ang="0">
                  <a:pos x="4" y="0"/>
                </a:cxn>
                <a:cxn ang="0">
                  <a:pos x="0" y="39"/>
                </a:cxn>
                <a:cxn ang="0">
                  <a:pos x="27" y="71"/>
                </a:cxn>
                <a:cxn ang="0">
                  <a:pos x="55" y="79"/>
                </a:cxn>
                <a:cxn ang="0">
                  <a:pos x="55" y="79"/>
                </a:cxn>
                <a:cxn ang="0">
                  <a:pos x="61" y="78"/>
                </a:cxn>
                <a:cxn ang="0">
                  <a:pos x="68" y="77"/>
                </a:cxn>
                <a:cxn ang="0">
                  <a:pos x="74" y="74"/>
                </a:cxn>
                <a:cxn ang="0">
                  <a:pos x="80" y="71"/>
                </a:cxn>
                <a:cxn ang="0">
                  <a:pos x="85" y="66"/>
                </a:cxn>
                <a:cxn ang="0">
                  <a:pos x="86" y="63"/>
                </a:cxn>
                <a:cxn ang="0">
                  <a:pos x="88" y="59"/>
                </a:cxn>
                <a:cxn ang="0">
                  <a:pos x="88" y="56"/>
                </a:cxn>
                <a:cxn ang="0">
                  <a:pos x="86" y="51"/>
                </a:cxn>
                <a:cxn ang="0">
                  <a:pos x="86" y="51"/>
                </a:cxn>
                <a:cxn ang="0">
                  <a:pos x="83" y="43"/>
                </a:cxn>
                <a:cxn ang="0">
                  <a:pos x="78" y="35"/>
                </a:cxn>
                <a:cxn ang="0">
                  <a:pos x="73" y="30"/>
                </a:cxn>
                <a:cxn ang="0">
                  <a:pos x="66" y="25"/>
                </a:cxn>
                <a:cxn ang="0">
                  <a:pos x="55" y="19"/>
                </a:cxn>
                <a:cxn ang="0">
                  <a:pos x="51" y="18"/>
                </a:cxn>
              </a:cxnLst>
              <a:rect l="0" t="0" r="r" b="b"/>
              <a:pathLst>
                <a:path w="88" h="79">
                  <a:moveTo>
                    <a:pt x="51" y="18"/>
                  </a:moveTo>
                  <a:lnTo>
                    <a:pt x="4" y="0"/>
                  </a:lnTo>
                  <a:lnTo>
                    <a:pt x="0" y="39"/>
                  </a:lnTo>
                  <a:lnTo>
                    <a:pt x="27" y="71"/>
                  </a:lnTo>
                  <a:lnTo>
                    <a:pt x="55" y="79"/>
                  </a:lnTo>
                  <a:lnTo>
                    <a:pt x="55" y="79"/>
                  </a:lnTo>
                  <a:lnTo>
                    <a:pt x="61" y="78"/>
                  </a:lnTo>
                  <a:lnTo>
                    <a:pt x="68" y="77"/>
                  </a:lnTo>
                  <a:lnTo>
                    <a:pt x="74" y="74"/>
                  </a:lnTo>
                  <a:lnTo>
                    <a:pt x="80" y="71"/>
                  </a:lnTo>
                  <a:lnTo>
                    <a:pt x="85" y="66"/>
                  </a:lnTo>
                  <a:lnTo>
                    <a:pt x="86" y="63"/>
                  </a:lnTo>
                  <a:lnTo>
                    <a:pt x="88" y="59"/>
                  </a:lnTo>
                  <a:lnTo>
                    <a:pt x="88" y="56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3" y="43"/>
                  </a:lnTo>
                  <a:lnTo>
                    <a:pt x="78" y="35"/>
                  </a:lnTo>
                  <a:lnTo>
                    <a:pt x="73" y="30"/>
                  </a:lnTo>
                  <a:lnTo>
                    <a:pt x="66" y="25"/>
                  </a:lnTo>
                  <a:lnTo>
                    <a:pt x="55" y="19"/>
                  </a:lnTo>
                  <a:lnTo>
                    <a:pt x="51" y="1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6" name="Freeform 186"/>
            <p:cNvSpPr>
              <a:spLocks noChangeAspect="1"/>
            </p:cNvSpPr>
            <p:nvPr/>
          </p:nvSpPr>
          <p:spPr bwMode="auto">
            <a:xfrm>
              <a:off x="3922227" y="4001432"/>
              <a:ext cx="52747" cy="46149"/>
            </a:xfrm>
            <a:custGeom>
              <a:avLst/>
              <a:gdLst/>
              <a:ahLst/>
              <a:cxnLst>
                <a:cxn ang="0">
                  <a:pos x="51" y="18"/>
                </a:cxn>
                <a:cxn ang="0">
                  <a:pos x="4" y="0"/>
                </a:cxn>
                <a:cxn ang="0">
                  <a:pos x="0" y="39"/>
                </a:cxn>
                <a:cxn ang="0">
                  <a:pos x="27" y="71"/>
                </a:cxn>
                <a:cxn ang="0">
                  <a:pos x="55" y="79"/>
                </a:cxn>
                <a:cxn ang="0">
                  <a:pos x="55" y="79"/>
                </a:cxn>
                <a:cxn ang="0">
                  <a:pos x="61" y="78"/>
                </a:cxn>
                <a:cxn ang="0">
                  <a:pos x="68" y="77"/>
                </a:cxn>
                <a:cxn ang="0">
                  <a:pos x="74" y="74"/>
                </a:cxn>
                <a:cxn ang="0">
                  <a:pos x="80" y="71"/>
                </a:cxn>
                <a:cxn ang="0">
                  <a:pos x="85" y="66"/>
                </a:cxn>
                <a:cxn ang="0">
                  <a:pos x="86" y="63"/>
                </a:cxn>
                <a:cxn ang="0">
                  <a:pos x="88" y="59"/>
                </a:cxn>
                <a:cxn ang="0">
                  <a:pos x="88" y="56"/>
                </a:cxn>
                <a:cxn ang="0">
                  <a:pos x="86" y="51"/>
                </a:cxn>
                <a:cxn ang="0">
                  <a:pos x="86" y="51"/>
                </a:cxn>
                <a:cxn ang="0">
                  <a:pos x="83" y="43"/>
                </a:cxn>
                <a:cxn ang="0">
                  <a:pos x="78" y="35"/>
                </a:cxn>
                <a:cxn ang="0">
                  <a:pos x="73" y="30"/>
                </a:cxn>
                <a:cxn ang="0">
                  <a:pos x="66" y="25"/>
                </a:cxn>
                <a:cxn ang="0">
                  <a:pos x="55" y="19"/>
                </a:cxn>
                <a:cxn ang="0">
                  <a:pos x="51" y="18"/>
                </a:cxn>
              </a:cxnLst>
              <a:rect l="0" t="0" r="r" b="b"/>
              <a:pathLst>
                <a:path w="88" h="79">
                  <a:moveTo>
                    <a:pt x="51" y="18"/>
                  </a:moveTo>
                  <a:lnTo>
                    <a:pt x="4" y="0"/>
                  </a:lnTo>
                  <a:lnTo>
                    <a:pt x="0" y="39"/>
                  </a:lnTo>
                  <a:lnTo>
                    <a:pt x="27" y="71"/>
                  </a:lnTo>
                  <a:lnTo>
                    <a:pt x="55" y="79"/>
                  </a:lnTo>
                  <a:lnTo>
                    <a:pt x="55" y="79"/>
                  </a:lnTo>
                  <a:lnTo>
                    <a:pt x="61" y="78"/>
                  </a:lnTo>
                  <a:lnTo>
                    <a:pt x="68" y="77"/>
                  </a:lnTo>
                  <a:lnTo>
                    <a:pt x="74" y="74"/>
                  </a:lnTo>
                  <a:lnTo>
                    <a:pt x="80" y="71"/>
                  </a:lnTo>
                  <a:lnTo>
                    <a:pt x="85" y="66"/>
                  </a:lnTo>
                  <a:lnTo>
                    <a:pt x="86" y="63"/>
                  </a:lnTo>
                  <a:lnTo>
                    <a:pt x="88" y="59"/>
                  </a:lnTo>
                  <a:lnTo>
                    <a:pt x="88" y="56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3" y="43"/>
                  </a:lnTo>
                  <a:lnTo>
                    <a:pt x="78" y="35"/>
                  </a:lnTo>
                  <a:lnTo>
                    <a:pt x="73" y="30"/>
                  </a:lnTo>
                  <a:lnTo>
                    <a:pt x="66" y="25"/>
                  </a:lnTo>
                  <a:lnTo>
                    <a:pt x="55" y="19"/>
                  </a:lnTo>
                  <a:lnTo>
                    <a:pt x="51" y="18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7" name="Freeform 187"/>
            <p:cNvSpPr>
              <a:spLocks noChangeAspect="1"/>
            </p:cNvSpPr>
            <p:nvPr/>
          </p:nvSpPr>
          <p:spPr bwMode="auto">
            <a:xfrm>
              <a:off x="3994315" y="3985457"/>
              <a:ext cx="56264" cy="40824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46"/>
                </a:cxn>
                <a:cxn ang="0">
                  <a:pos x="31" y="66"/>
                </a:cxn>
                <a:cxn ang="0">
                  <a:pos x="94" y="70"/>
                </a:cxn>
                <a:cxn ang="0">
                  <a:pos x="94" y="31"/>
                </a:cxn>
                <a:cxn ang="0">
                  <a:pos x="46" y="0"/>
                </a:cxn>
                <a:cxn ang="0">
                  <a:pos x="4" y="8"/>
                </a:cxn>
              </a:cxnLst>
              <a:rect l="0" t="0" r="r" b="b"/>
              <a:pathLst>
                <a:path w="94" h="70">
                  <a:moveTo>
                    <a:pt x="4" y="8"/>
                  </a:moveTo>
                  <a:lnTo>
                    <a:pt x="0" y="46"/>
                  </a:lnTo>
                  <a:lnTo>
                    <a:pt x="31" y="66"/>
                  </a:lnTo>
                  <a:lnTo>
                    <a:pt x="94" y="70"/>
                  </a:lnTo>
                  <a:lnTo>
                    <a:pt x="94" y="31"/>
                  </a:lnTo>
                  <a:lnTo>
                    <a:pt x="46" y="0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8" name="Freeform 188"/>
            <p:cNvSpPr>
              <a:spLocks noChangeAspect="1"/>
            </p:cNvSpPr>
            <p:nvPr/>
          </p:nvSpPr>
          <p:spPr bwMode="auto">
            <a:xfrm>
              <a:off x="3994315" y="3985457"/>
              <a:ext cx="56264" cy="40824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46"/>
                </a:cxn>
                <a:cxn ang="0">
                  <a:pos x="31" y="66"/>
                </a:cxn>
                <a:cxn ang="0">
                  <a:pos x="94" y="70"/>
                </a:cxn>
                <a:cxn ang="0">
                  <a:pos x="94" y="31"/>
                </a:cxn>
                <a:cxn ang="0">
                  <a:pos x="46" y="0"/>
                </a:cxn>
                <a:cxn ang="0">
                  <a:pos x="4" y="8"/>
                </a:cxn>
              </a:cxnLst>
              <a:rect l="0" t="0" r="r" b="b"/>
              <a:pathLst>
                <a:path w="94" h="70">
                  <a:moveTo>
                    <a:pt x="4" y="8"/>
                  </a:moveTo>
                  <a:lnTo>
                    <a:pt x="0" y="46"/>
                  </a:lnTo>
                  <a:lnTo>
                    <a:pt x="31" y="66"/>
                  </a:lnTo>
                  <a:lnTo>
                    <a:pt x="94" y="70"/>
                  </a:lnTo>
                  <a:lnTo>
                    <a:pt x="94" y="31"/>
                  </a:lnTo>
                  <a:lnTo>
                    <a:pt x="46" y="0"/>
                  </a:lnTo>
                  <a:lnTo>
                    <a:pt x="4" y="8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9" name="Freeform 189"/>
            <p:cNvSpPr>
              <a:spLocks noChangeAspect="1"/>
            </p:cNvSpPr>
            <p:nvPr/>
          </p:nvSpPr>
          <p:spPr bwMode="auto">
            <a:xfrm>
              <a:off x="3985524" y="4054680"/>
              <a:ext cx="36923" cy="37274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0" y="35"/>
                </a:cxn>
                <a:cxn ang="0">
                  <a:pos x="16" y="62"/>
                </a:cxn>
                <a:cxn ang="0">
                  <a:pos x="62" y="47"/>
                </a:cxn>
                <a:cxn ang="0">
                  <a:pos x="51" y="11"/>
                </a:cxn>
                <a:cxn ang="0">
                  <a:pos x="13" y="0"/>
                </a:cxn>
              </a:cxnLst>
              <a:rect l="0" t="0" r="r" b="b"/>
              <a:pathLst>
                <a:path w="62" h="62">
                  <a:moveTo>
                    <a:pt x="13" y="0"/>
                  </a:moveTo>
                  <a:lnTo>
                    <a:pt x="0" y="35"/>
                  </a:lnTo>
                  <a:lnTo>
                    <a:pt x="16" y="62"/>
                  </a:lnTo>
                  <a:lnTo>
                    <a:pt x="62" y="47"/>
                  </a:lnTo>
                  <a:lnTo>
                    <a:pt x="51" y="11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0" name="Freeform 190"/>
            <p:cNvSpPr>
              <a:spLocks noChangeAspect="1"/>
            </p:cNvSpPr>
            <p:nvPr/>
          </p:nvSpPr>
          <p:spPr bwMode="auto">
            <a:xfrm>
              <a:off x="3985524" y="4054680"/>
              <a:ext cx="36923" cy="37274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0" y="35"/>
                </a:cxn>
                <a:cxn ang="0">
                  <a:pos x="16" y="62"/>
                </a:cxn>
                <a:cxn ang="0">
                  <a:pos x="62" y="47"/>
                </a:cxn>
                <a:cxn ang="0">
                  <a:pos x="51" y="11"/>
                </a:cxn>
                <a:cxn ang="0">
                  <a:pos x="13" y="0"/>
                </a:cxn>
              </a:cxnLst>
              <a:rect l="0" t="0" r="r" b="b"/>
              <a:pathLst>
                <a:path w="62" h="62">
                  <a:moveTo>
                    <a:pt x="13" y="0"/>
                  </a:moveTo>
                  <a:lnTo>
                    <a:pt x="0" y="35"/>
                  </a:lnTo>
                  <a:lnTo>
                    <a:pt x="16" y="62"/>
                  </a:lnTo>
                  <a:lnTo>
                    <a:pt x="62" y="47"/>
                  </a:lnTo>
                  <a:lnTo>
                    <a:pt x="51" y="11"/>
                  </a:lnTo>
                  <a:lnTo>
                    <a:pt x="13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1" name="Freeform 191"/>
            <p:cNvSpPr>
              <a:spLocks noChangeAspect="1"/>
            </p:cNvSpPr>
            <p:nvPr/>
          </p:nvSpPr>
          <p:spPr bwMode="auto">
            <a:xfrm>
              <a:off x="4054095" y="4047580"/>
              <a:ext cx="33407" cy="23074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8" y="39"/>
                </a:cxn>
                <a:cxn ang="0">
                  <a:pos x="32" y="39"/>
                </a:cxn>
                <a:cxn ang="0">
                  <a:pos x="51" y="28"/>
                </a:cxn>
                <a:cxn ang="0">
                  <a:pos x="55" y="0"/>
                </a:cxn>
                <a:cxn ang="0">
                  <a:pos x="23" y="0"/>
                </a:cxn>
                <a:cxn ang="0">
                  <a:pos x="0" y="12"/>
                </a:cxn>
              </a:cxnLst>
              <a:rect l="0" t="0" r="r" b="b"/>
              <a:pathLst>
                <a:path w="55" h="39">
                  <a:moveTo>
                    <a:pt x="0" y="12"/>
                  </a:moveTo>
                  <a:lnTo>
                    <a:pt x="8" y="39"/>
                  </a:lnTo>
                  <a:lnTo>
                    <a:pt x="32" y="39"/>
                  </a:lnTo>
                  <a:lnTo>
                    <a:pt x="51" y="28"/>
                  </a:lnTo>
                  <a:lnTo>
                    <a:pt x="55" y="0"/>
                  </a:lnTo>
                  <a:lnTo>
                    <a:pt x="23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2" name="Freeform 192"/>
            <p:cNvSpPr>
              <a:spLocks noChangeAspect="1"/>
            </p:cNvSpPr>
            <p:nvPr/>
          </p:nvSpPr>
          <p:spPr bwMode="auto">
            <a:xfrm>
              <a:off x="4024205" y="4120354"/>
              <a:ext cx="87912" cy="120697"/>
            </a:xfrm>
            <a:custGeom>
              <a:avLst/>
              <a:gdLst/>
              <a:ahLst/>
              <a:cxnLst>
                <a:cxn ang="0">
                  <a:pos x="91" y="0"/>
                </a:cxn>
                <a:cxn ang="0">
                  <a:pos x="47" y="32"/>
                </a:cxn>
                <a:cxn ang="0">
                  <a:pos x="0" y="83"/>
                </a:cxn>
                <a:cxn ang="0">
                  <a:pos x="23" y="119"/>
                </a:cxn>
                <a:cxn ang="0">
                  <a:pos x="59" y="166"/>
                </a:cxn>
                <a:cxn ang="0">
                  <a:pos x="95" y="206"/>
                </a:cxn>
                <a:cxn ang="0">
                  <a:pos x="122" y="166"/>
                </a:cxn>
                <a:cxn ang="0">
                  <a:pos x="150" y="142"/>
                </a:cxn>
                <a:cxn ang="0">
                  <a:pos x="150" y="55"/>
                </a:cxn>
                <a:cxn ang="0">
                  <a:pos x="130" y="20"/>
                </a:cxn>
                <a:cxn ang="0">
                  <a:pos x="91" y="0"/>
                </a:cxn>
              </a:cxnLst>
              <a:rect l="0" t="0" r="r" b="b"/>
              <a:pathLst>
                <a:path w="150" h="206">
                  <a:moveTo>
                    <a:pt x="91" y="0"/>
                  </a:moveTo>
                  <a:lnTo>
                    <a:pt x="47" y="32"/>
                  </a:lnTo>
                  <a:lnTo>
                    <a:pt x="0" y="83"/>
                  </a:lnTo>
                  <a:lnTo>
                    <a:pt x="23" y="119"/>
                  </a:lnTo>
                  <a:lnTo>
                    <a:pt x="59" y="166"/>
                  </a:lnTo>
                  <a:lnTo>
                    <a:pt x="95" y="206"/>
                  </a:lnTo>
                  <a:lnTo>
                    <a:pt x="122" y="166"/>
                  </a:lnTo>
                  <a:lnTo>
                    <a:pt x="150" y="142"/>
                  </a:lnTo>
                  <a:lnTo>
                    <a:pt x="150" y="55"/>
                  </a:lnTo>
                  <a:lnTo>
                    <a:pt x="130" y="2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3" name="Freeform 193"/>
            <p:cNvSpPr>
              <a:spLocks noChangeAspect="1"/>
            </p:cNvSpPr>
            <p:nvPr/>
          </p:nvSpPr>
          <p:spPr bwMode="auto">
            <a:xfrm>
              <a:off x="3974974" y="4127454"/>
              <a:ext cx="49231" cy="67448"/>
            </a:xfrm>
            <a:custGeom>
              <a:avLst/>
              <a:gdLst/>
              <a:ahLst/>
              <a:cxnLst>
                <a:cxn ang="0">
                  <a:pos x="58" y="0"/>
                </a:cxn>
                <a:cxn ang="0">
                  <a:pos x="28" y="34"/>
                </a:cxn>
                <a:cxn ang="0">
                  <a:pos x="9" y="82"/>
                </a:cxn>
                <a:cxn ang="0">
                  <a:pos x="0" y="113"/>
                </a:cxn>
                <a:cxn ang="0">
                  <a:pos x="44" y="97"/>
                </a:cxn>
                <a:cxn ang="0">
                  <a:pos x="68" y="58"/>
                </a:cxn>
                <a:cxn ang="0">
                  <a:pos x="84" y="14"/>
                </a:cxn>
                <a:cxn ang="0">
                  <a:pos x="58" y="0"/>
                </a:cxn>
              </a:cxnLst>
              <a:rect l="0" t="0" r="r" b="b"/>
              <a:pathLst>
                <a:path w="84" h="113">
                  <a:moveTo>
                    <a:pt x="58" y="0"/>
                  </a:moveTo>
                  <a:lnTo>
                    <a:pt x="28" y="34"/>
                  </a:lnTo>
                  <a:lnTo>
                    <a:pt x="9" y="82"/>
                  </a:lnTo>
                  <a:lnTo>
                    <a:pt x="0" y="113"/>
                  </a:lnTo>
                  <a:lnTo>
                    <a:pt x="44" y="97"/>
                  </a:lnTo>
                  <a:lnTo>
                    <a:pt x="68" y="58"/>
                  </a:lnTo>
                  <a:lnTo>
                    <a:pt x="84" y="1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4" name="Freeform 194"/>
            <p:cNvSpPr>
              <a:spLocks noChangeAspect="1"/>
            </p:cNvSpPr>
            <p:nvPr/>
          </p:nvSpPr>
          <p:spPr bwMode="auto">
            <a:xfrm>
              <a:off x="3974974" y="4127454"/>
              <a:ext cx="49231" cy="67448"/>
            </a:xfrm>
            <a:custGeom>
              <a:avLst/>
              <a:gdLst/>
              <a:ahLst/>
              <a:cxnLst>
                <a:cxn ang="0">
                  <a:pos x="58" y="0"/>
                </a:cxn>
                <a:cxn ang="0">
                  <a:pos x="28" y="34"/>
                </a:cxn>
                <a:cxn ang="0">
                  <a:pos x="9" y="82"/>
                </a:cxn>
                <a:cxn ang="0">
                  <a:pos x="0" y="113"/>
                </a:cxn>
                <a:cxn ang="0">
                  <a:pos x="44" y="97"/>
                </a:cxn>
                <a:cxn ang="0">
                  <a:pos x="68" y="58"/>
                </a:cxn>
                <a:cxn ang="0">
                  <a:pos x="84" y="14"/>
                </a:cxn>
                <a:cxn ang="0">
                  <a:pos x="58" y="0"/>
                </a:cxn>
              </a:cxnLst>
              <a:rect l="0" t="0" r="r" b="b"/>
              <a:pathLst>
                <a:path w="84" h="113">
                  <a:moveTo>
                    <a:pt x="58" y="0"/>
                  </a:moveTo>
                  <a:lnTo>
                    <a:pt x="28" y="34"/>
                  </a:lnTo>
                  <a:lnTo>
                    <a:pt x="9" y="82"/>
                  </a:lnTo>
                  <a:lnTo>
                    <a:pt x="0" y="113"/>
                  </a:lnTo>
                  <a:lnTo>
                    <a:pt x="44" y="97"/>
                  </a:lnTo>
                  <a:lnTo>
                    <a:pt x="68" y="58"/>
                  </a:lnTo>
                  <a:lnTo>
                    <a:pt x="84" y="14"/>
                  </a:lnTo>
                  <a:lnTo>
                    <a:pt x="58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5" name="Freeform 195"/>
            <p:cNvSpPr>
              <a:spLocks noChangeAspect="1"/>
            </p:cNvSpPr>
            <p:nvPr/>
          </p:nvSpPr>
          <p:spPr bwMode="auto">
            <a:xfrm>
              <a:off x="4029480" y="4088404"/>
              <a:ext cx="19341" cy="23074"/>
            </a:xfrm>
            <a:custGeom>
              <a:avLst/>
              <a:gdLst/>
              <a:ahLst/>
              <a:cxnLst>
                <a:cxn ang="0">
                  <a:pos x="16" y="39"/>
                </a:cxn>
                <a:cxn ang="0">
                  <a:pos x="16" y="39"/>
                </a:cxn>
                <a:cxn ang="0">
                  <a:pos x="13" y="39"/>
                </a:cxn>
                <a:cxn ang="0">
                  <a:pos x="10" y="38"/>
                </a:cxn>
                <a:cxn ang="0">
                  <a:pos x="5" y="33"/>
                </a:cxn>
                <a:cxn ang="0">
                  <a:pos x="1" y="27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1" y="12"/>
                </a:cxn>
                <a:cxn ang="0">
                  <a:pos x="5" y="5"/>
                </a:cxn>
                <a:cxn ang="0">
                  <a:pos x="10" y="2"/>
                </a:cxn>
                <a:cxn ang="0">
                  <a:pos x="13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3" y="2"/>
                </a:cxn>
                <a:cxn ang="0">
                  <a:pos x="29" y="5"/>
                </a:cxn>
                <a:cxn ang="0">
                  <a:pos x="32" y="12"/>
                </a:cxn>
                <a:cxn ang="0">
                  <a:pos x="34" y="19"/>
                </a:cxn>
                <a:cxn ang="0">
                  <a:pos x="34" y="19"/>
                </a:cxn>
                <a:cxn ang="0">
                  <a:pos x="32" y="27"/>
                </a:cxn>
                <a:cxn ang="0">
                  <a:pos x="29" y="33"/>
                </a:cxn>
                <a:cxn ang="0">
                  <a:pos x="23" y="38"/>
                </a:cxn>
                <a:cxn ang="0">
                  <a:pos x="20" y="39"/>
                </a:cxn>
                <a:cxn ang="0">
                  <a:pos x="16" y="39"/>
                </a:cxn>
                <a:cxn ang="0">
                  <a:pos x="16" y="39"/>
                </a:cxn>
              </a:cxnLst>
              <a:rect l="0" t="0" r="r" b="b"/>
              <a:pathLst>
                <a:path w="34" h="39">
                  <a:moveTo>
                    <a:pt x="16" y="39"/>
                  </a:moveTo>
                  <a:lnTo>
                    <a:pt x="16" y="39"/>
                  </a:lnTo>
                  <a:lnTo>
                    <a:pt x="13" y="39"/>
                  </a:lnTo>
                  <a:lnTo>
                    <a:pt x="10" y="38"/>
                  </a:lnTo>
                  <a:lnTo>
                    <a:pt x="5" y="33"/>
                  </a:lnTo>
                  <a:lnTo>
                    <a:pt x="1" y="27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1" y="12"/>
                  </a:lnTo>
                  <a:lnTo>
                    <a:pt x="5" y="5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3" y="2"/>
                  </a:lnTo>
                  <a:lnTo>
                    <a:pt x="29" y="5"/>
                  </a:lnTo>
                  <a:lnTo>
                    <a:pt x="32" y="12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2" y="27"/>
                  </a:lnTo>
                  <a:lnTo>
                    <a:pt x="29" y="33"/>
                  </a:lnTo>
                  <a:lnTo>
                    <a:pt x="23" y="38"/>
                  </a:lnTo>
                  <a:lnTo>
                    <a:pt x="20" y="39"/>
                  </a:lnTo>
                  <a:lnTo>
                    <a:pt x="16" y="39"/>
                  </a:lnTo>
                  <a:lnTo>
                    <a:pt x="16" y="3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6" name="Freeform 196"/>
            <p:cNvSpPr>
              <a:spLocks noChangeAspect="1"/>
            </p:cNvSpPr>
            <p:nvPr/>
          </p:nvSpPr>
          <p:spPr bwMode="auto">
            <a:xfrm>
              <a:off x="500684" y="4106154"/>
              <a:ext cx="172308" cy="173946"/>
            </a:xfrm>
            <a:custGeom>
              <a:avLst/>
              <a:gdLst/>
              <a:ahLst/>
              <a:cxnLst>
                <a:cxn ang="0">
                  <a:pos x="99" y="292"/>
                </a:cxn>
                <a:cxn ang="0">
                  <a:pos x="48" y="272"/>
                </a:cxn>
                <a:cxn ang="0">
                  <a:pos x="40" y="221"/>
                </a:cxn>
                <a:cxn ang="0">
                  <a:pos x="12" y="213"/>
                </a:cxn>
                <a:cxn ang="0">
                  <a:pos x="0" y="170"/>
                </a:cxn>
                <a:cxn ang="0">
                  <a:pos x="12" y="110"/>
                </a:cxn>
                <a:cxn ang="0">
                  <a:pos x="64" y="75"/>
                </a:cxn>
                <a:cxn ang="0">
                  <a:pos x="31" y="47"/>
                </a:cxn>
                <a:cxn ang="0">
                  <a:pos x="48" y="12"/>
                </a:cxn>
                <a:cxn ang="0">
                  <a:pos x="86" y="7"/>
                </a:cxn>
                <a:cxn ang="0">
                  <a:pos x="142" y="0"/>
                </a:cxn>
                <a:cxn ang="0">
                  <a:pos x="171" y="20"/>
                </a:cxn>
                <a:cxn ang="0">
                  <a:pos x="261" y="23"/>
                </a:cxn>
                <a:cxn ang="0">
                  <a:pos x="265" y="67"/>
                </a:cxn>
                <a:cxn ang="0">
                  <a:pos x="292" y="82"/>
                </a:cxn>
                <a:cxn ang="0">
                  <a:pos x="289" y="119"/>
                </a:cxn>
                <a:cxn ang="0">
                  <a:pos x="265" y="123"/>
                </a:cxn>
                <a:cxn ang="0">
                  <a:pos x="257" y="193"/>
                </a:cxn>
                <a:cxn ang="0">
                  <a:pos x="265" y="268"/>
                </a:cxn>
                <a:cxn ang="0">
                  <a:pos x="152" y="271"/>
                </a:cxn>
                <a:cxn ang="0">
                  <a:pos x="99" y="292"/>
                </a:cxn>
              </a:cxnLst>
              <a:rect l="0" t="0" r="r" b="b"/>
              <a:pathLst>
                <a:path w="292" h="292">
                  <a:moveTo>
                    <a:pt x="99" y="292"/>
                  </a:moveTo>
                  <a:lnTo>
                    <a:pt x="48" y="272"/>
                  </a:lnTo>
                  <a:lnTo>
                    <a:pt x="40" y="221"/>
                  </a:lnTo>
                  <a:lnTo>
                    <a:pt x="12" y="213"/>
                  </a:lnTo>
                  <a:lnTo>
                    <a:pt x="0" y="170"/>
                  </a:lnTo>
                  <a:lnTo>
                    <a:pt x="12" y="110"/>
                  </a:lnTo>
                  <a:lnTo>
                    <a:pt x="64" y="75"/>
                  </a:lnTo>
                  <a:lnTo>
                    <a:pt x="31" y="47"/>
                  </a:lnTo>
                  <a:lnTo>
                    <a:pt x="48" y="12"/>
                  </a:lnTo>
                  <a:lnTo>
                    <a:pt x="86" y="7"/>
                  </a:lnTo>
                  <a:lnTo>
                    <a:pt x="142" y="0"/>
                  </a:lnTo>
                  <a:lnTo>
                    <a:pt x="171" y="20"/>
                  </a:lnTo>
                  <a:lnTo>
                    <a:pt x="261" y="23"/>
                  </a:lnTo>
                  <a:lnTo>
                    <a:pt x="265" y="67"/>
                  </a:lnTo>
                  <a:lnTo>
                    <a:pt x="292" y="82"/>
                  </a:lnTo>
                  <a:lnTo>
                    <a:pt x="289" y="119"/>
                  </a:lnTo>
                  <a:lnTo>
                    <a:pt x="265" y="123"/>
                  </a:lnTo>
                  <a:lnTo>
                    <a:pt x="257" y="193"/>
                  </a:lnTo>
                  <a:lnTo>
                    <a:pt x="265" y="268"/>
                  </a:lnTo>
                  <a:lnTo>
                    <a:pt x="152" y="271"/>
                  </a:lnTo>
                  <a:lnTo>
                    <a:pt x="99" y="29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7" name="Freeform 197"/>
            <p:cNvSpPr>
              <a:spLocks noChangeAspect="1"/>
            </p:cNvSpPr>
            <p:nvPr/>
          </p:nvSpPr>
          <p:spPr bwMode="auto">
            <a:xfrm>
              <a:off x="7313243" y="4265571"/>
              <a:ext cx="1060221" cy="1201645"/>
            </a:xfrm>
            <a:custGeom>
              <a:avLst/>
              <a:gdLst/>
              <a:ahLst/>
              <a:cxnLst>
                <a:cxn ang="0">
                  <a:pos x="186" y="184"/>
                </a:cxn>
                <a:cxn ang="0">
                  <a:pos x="199" y="315"/>
                </a:cxn>
                <a:cxn ang="0">
                  <a:pos x="183" y="419"/>
                </a:cxn>
                <a:cxn ang="0">
                  <a:pos x="93" y="471"/>
                </a:cxn>
                <a:cxn ang="0">
                  <a:pos x="58" y="565"/>
                </a:cxn>
                <a:cxn ang="0">
                  <a:pos x="0" y="636"/>
                </a:cxn>
                <a:cxn ang="0">
                  <a:pos x="56" y="726"/>
                </a:cxn>
                <a:cxn ang="0">
                  <a:pos x="135" y="763"/>
                </a:cxn>
                <a:cxn ang="0">
                  <a:pos x="228" y="820"/>
                </a:cxn>
                <a:cxn ang="0">
                  <a:pos x="306" y="798"/>
                </a:cxn>
                <a:cxn ang="0">
                  <a:pos x="347" y="747"/>
                </a:cxn>
                <a:cxn ang="0">
                  <a:pos x="430" y="881"/>
                </a:cxn>
                <a:cxn ang="0">
                  <a:pos x="519" y="908"/>
                </a:cxn>
                <a:cxn ang="0">
                  <a:pos x="602" y="949"/>
                </a:cxn>
                <a:cxn ang="0">
                  <a:pos x="657" y="1004"/>
                </a:cxn>
                <a:cxn ang="0">
                  <a:pos x="648" y="1091"/>
                </a:cxn>
                <a:cxn ang="0">
                  <a:pos x="730" y="1140"/>
                </a:cxn>
                <a:cxn ang="0">
                  <a:pos x="778" y="1191"/>
                </a:cxn>
                <a:cxn ang="0">
                  <a:pos x="732" y="1284"/>
                </a:cxn>
                <a:cxn ang="0">
                  <a:pos x="771" y="1370"/>
                </a:cxn>
                <a:cxn ang="0">
                  <a:pos x="848" y="1411"/>
                </a:cxn>
                <a:cxn ang="0">
                  <a:pos x="936" y="1470"/>
                </a:cxn>
                <a:cxn ang="0">
                  <a:pos x="957" y="1649"/>
                </a:cxn>
                <a:cxn ang="0">
                  <a:pos x="950" y="1690"/>
                </a:cxn>
                <a:cxn ang="0">
                  <a:pos x="881" y="1765"/>
                </a:cxn>
                <a:cxn ang="0">
                  <a:pos x="854" y="1849"/>
                </a:cxn>
                <a:cxn ang="0">
                  <a:pos x="1016" y="1994"/>
                </a:cxn>
                <a:cxn ang="0">
                  <a:pos x="1051" y="1937"/>
                </a:cxn>
                <a:cxn ang="0">
                  <a:pos x="1081" y="1841"/>
                </a:cxn>
                <a:cxn ang="0">
                  <a:pos x="1075" y="1910"/>
                </a:cxn>
                <a:cxn ang="0">
                  <a:pos x="1153" y="1834"/>
                </a:cxn>
                <a:cxn ang="0">
                  <a:pos x="1213" y="1586"/>
                </a:cxn>
                <a:cxn ang="0">
                  <a:pos x="1275" y="1508"/>
                </a:cxn>
                <a:cxn ang="0">
                  <a:pos x="1443" y="1443"/>
                </a:cxn>
                <a:cxn ang="0">
                  <a:pos x="1538" y="1331"/>
                </a:cxn>
                <a:cxn ang="0">
                  <a:pos x="1587" y="1159"/>
                </a:cxn>
                <a:cxn ang="0">
                  <a:pos x="1663" y="888"/>
                </a:cxn>
                <a:cxn ang="0">
                  <a:pos x="1695" y="783"/>
                </a:cxn>
                <a:cxn ang="0">
                  <a:pos x="1766" y="718"/>
                </a:cxn>
                <a:cxn ang="0">
                  <a:pos x="1783" y="630"/>
                </a:cxn>
                <a:cxn ang="0">
                  <a:pos x="1781" y="585"/>
                </a:cxn>
                <a:cxn ang="0">
                  <a:pos x="1718" y="473"/>
                </a:cxn>
                <a:cxn ang="0">
                  <a:pos x="1625" y="413"/>
                </a:cxn>
                <a:cxn ang="0">
                  <a:pos x="1540" y="364"/>
                </a:cxn>
                <a:cxn ang="0">
                  <a:pos x="1443" y="350"/>
                </a:cxn>
                <a:cxn ang="0">
                  <a:pos x="1350" y="291"/>
                </a:cxn>
                <a:cxn ang="0">
                  <a:pos x="1220" y="267"/>
                </a:cxn>
                <a:cxn ang="0">
                  <a:pos x="1133" y="325"/>
                </a:cxn>
                <a:cxn ang="0">
                  <a:pos x="1147" y="236"/>
                </a:cxn>
                <a:cxn ang="0">
                  <a:pos x="1058" y="287"/>
                </a:cxn>
                <a:cxn ang="0">
                  <a:pos x="1048" y="260"/>
                </a:cxn>
                <a:cxn ang="0">
                  <a:pos x="1105" y="157"/>
                </a:cxn>
                <a:cxn ang="0">
                  <a:pos x="1009" y="48"/>
                </a:cxn>
                <a:cxn ang="0">
                  <a:pos x="955" y="127"/>
                </a:cxn>
                <a:cxn ang="0">
                  <a:pos x="823" y="105"/>
                </a:cxn>
                <a:cxn ang="0">
                  <a:pos x="727" y="151"/>
                </a:cxn>
                <a:cxn ang="0">
                  <a:pos x="662" y="147"/>
                </a:cxn>
                <a:cxn ang="0">
                  <a:pos x="645" y="14"/>
                </a:cxn>
                <a:cxn ang="0">
                  <a:pos x="514" y="36"/>
                </a:cxn>
                <a:cxn ang="0">
                  <a:pos x="430" y="26"/>
                </a:cxn>
                <a:cxn ang="0">
                  <a:pos x="457" y="115"/>
                </a:cxn>
                <a:cxn ang="0">
                  <a:pos x="372" y="186"/>
                </a:cxn>
                <a:cxn ang="0">
                  <a:pos x="285" y="125"/>
                </a:cxn>
              </a:cxnLst>
              <a:rect l="0" t="0" r="r" b="b"/>
              <a:pathLst>
                <a:path w="1811" h="2030">
                  <a:moveTo>
                    <a:pt x="285" y="125"/>
                  </a:moveTo>
                  <a:lnTo>
                    <a:pt x="206" y="153"/>
                  </a:lnTo>
                  <a:lnTo>
                    <a:pt x="186" y="184"/>
                  </a:lnTo>
                  <a:lnTo>
                    <a:pt x="210" y="208"/>
                  </a:lnTo>
                  <a:lnTo>
                    <a:pt x="186" y="223"/>
                  </a:lnTo>
                  <a:lnTo>
                    <a:pt x="199" y="315"/>
                  </a:lnTo>
                  <a:lnTo>
                    <a:pt x="199" y="354"/>
                  </a:lnTo>
                  <a:lnTo>
                    <a:pt x="151" y="358"/>
                  </a:lnTo>
                  <a:lnTo>
                    <a:pt x="183" y="419"/>
                  </a:lnTo>
                  <a:lnTo>
                    <a:pt x="170" y="461"/>
                  </a:lnTo>
                  <a:lnTo>
                    <a:pt x="135" y="481"/>
                  </a:lnTo>
                  <a:lnTo>
                    <a:pt x="93" y="471"/>
                  </a:lnTo>
                  <a:lnTo>
                    <a:pt x="62" y="492"/>
                  </a:lnTo>
                  <a:lnTo>
                    <a:pt x="49" y="534"/>
                  </a:lnTo>
                  <a:lnTo>
                    <a:pt x="58" y="565"/>
                  </a:lnTo>
                  <a:lnTo>
                    <a:pt x="38" y="582"/>
                  </a:lnTo>
                  <a:lnTo>
                    <a:pt x="11" y="595"/>
                  </a:lnTo>
                  <a:lnTo>
                    <a:pt x="0" y="636"/>
                  </a:lnTo>
                  <a:lnTo>
                    <a:pt x="12" y="668"/>
                  </a:lnTo>
                  <a:lnTo>
                    <a:pt x="44" y="694"/>
                  </a:lnTo>
                  <a:lnTo>
                    <a:pt x="56" y="726"/>
                  </a:lnTo>
                  <a:lnTo>
                    <a:pt x="87" y="731"/>
                  </a:lnTo>
                  <a:lnTo>
                    <a:pt x="93" y="757"/>
                  </a:lnTo>
                  <a:lnTo>
                    <a:pt x="135" y="763"/>
                  </a:lnTo>
                  <a:lnTo>
                    <a:pt x="170" y="741"/>
                  </a:lnTo>
                  <a:lnTo>
                    <a:pt x="189" y="801"/>
                  </a:lnTo>
                  <a:lnTo>
                    <a:pt x="228" y="820"/>
                  </a:lnTo>
                  <a:lnTo>
                    <a:pt x="262" y="825"/>
                  </a:lnTo>
                  <a:lnTo>
                    <a:pt x="289" y="812"/>
                  </a:lnTo>
                  <a:lnTo>
                    <a:pt x="306" y="798"/>
                  </a:lnTo>
                  <a:lnTo>
                    <a:pt x="317" y="777"/>
                  </a:lnTo>
                  <a:lnTo>
                    <a:pt x="341" y="781"/>
                  </a:lnTo>
                  <a:lnTo>
                    <a:pt x="347" y="747"/>
                  </a:lnTo>
                  <a:lnTo>
                    <a:pt x="406" y="753"/>
                  </a:lnTo>
                  <a:lnTo>
                    <a:pt x="414" y="846"/>
                  </a:lnTo>
                  <a:lnTo>
                    <a:pt x="430" y="881"/>
                  </a:lnTo>
                  <a:lnTo>
                    <a:pt x="440" y="895"/>
                  </a:lnTo>
                  <a:lnTo>
                    <a:pt x="510" y="898"/>
                  </a:lnTo>
                  <a:lnTo>
                    <a:pt x="519" y="908"/>
                  </a:lnTo>
                  <a:lnTo>
                    <a:pt x="550" y="915"/>
                  </a:lnTo>
                  <a:lnTo>
                    <a:pt x="555" y="943"/>
                  </a:lnTo>
                  <a:lnTo>
                    <a:pt x="602" y="949"/>
                  </a:lnTo>
                  <a:lnTo>
                    <a:pt x="627" y="955"/>
                  </a:lnTo>
                  <a:lnTo>
                    <a:pt x="633" y="1001"/>
                  </a:lnTo>
                  <a:lnTo>
                    <a:pt x="657" y="1004"/>
                  </a:lnTo>
                  <a:lnTo>
                    <a:pt x="633" y="1022"/>
                  </a:lnTo>
                  <a:lnTo>
                    <a:pt x="635" y="1085"/>
                  </a:lnTo>
                  <a:lnTo>
                    <a:pt x="648" y="1091"/>
                  </a:lnTo>
                  <a:lnTo>
                    <a:pt x="662" y="1107"/>
                  </a:lnTo>
                  <a:lnTo>
                    <a:pt x="726" y="1105"/>
                  </a:lnTo>
                  <a:lnTo>
                    <a:pt x="730" y="1140"/>
                  </a:lnTo>
                  <a:lnTo>
                    <a:pt x="755" y="1145"/>
                  </a:lnTo>
                  <a:lnTo>
                    <a:pt x="761" y="1180"/>
                  </a:lnTo>
                  <a:lnTo>
                    <a:pt x="778" y="1191"/>
                  </a:lnTo>
                  <a:lnTo>
                    <a:pt x="774" y="1252"/>
                  </a:lnTo>
                  <a:lnTo>
                    <a:pt x="755" y="1279"/>
                  </a:lnTo>
                  <a:lnTo>
                    <a:pt x="732" y="1284"/>
                  </a:lnTo>
                  <a:lnTo>
                    <a:pt x="736" y="1318"/>
                  </a:lnTo>
                  <a:lnTo>
                    <a:pt x="768" y="1331"/>
                  </a:lnTo>
                  <a:lnTo>
                    <a:pt x="771" y="1370"/>
                  </a:lnTo>
                  <a:lnTo>
                    <a:pt x="813" y="1377"/>
                  </a:lnTo>
                  <a:lnTo>
                    <a:pt x="824" y="1401"/>
                  </a:lnTo>
                  <a:lnTo>
                    <a:pt x="848" y="1411"/>
                  </a:lnTo>
                  <a:lnTo>
                    <a:pt x="892" y="1414"/>
                  </a:lnTo>
                  <a:lnTo>
                    <a:pt x="896" y="1466"/>
                  </a:lnTo>
                  <a:lnTo>
                    <a:pt x="936" y="1470"/>
                  </a:lnTo>
                  <a:lnTo>
                    <a:pt x="945" y="1590"/>
                  </a:lnTo>
                  <a:lnTo>
                    <a:pt x="951" y="1600"/>
                  </a:lnTo>
                  <a:lnTo>
                    <a:pt x="957" y="1649"/>
                  </a:lnTo>
                  <a:lnTo>
                    <a:pt x="981" y="1649"/>
                  </a:lnTo>
                  <a:lnTo>
                    <a:pt x="982" y="1686"/>
                  </a:lnTo>
                  <a:lnTo>
                    <a:pt x="950" y="1690"/>
                  </a:lnTo>
                  <a:lnTo>
                    <a:pt x="926" y="1721"/>
                  </a:lnTo>
                  <a:lnTo>
                    <a:pt x="903" y="1731"/>
                  </a:lnTo>
                  <a:lnTo>
                    <a:pt x="881" y="1765"/>
                  </a:lnTo>
                  <a:lnTo>
                    <a:pt x="854" y="1793"/>
                  </a:lnTo>
                  <a:lnTo>
                    <a:pt x="834" y="1827"/>
                  </a:lnTo>
                  <a:lnTo>
                    <a:pt x="854" y="1849"/>
                  </a:lnTo>
                  <a:lnTo>
                    <a:pt x="898" y="1868"/>
                  </a:lnTo>
                  <a:lnTo>
                    <a:pt x="995" y="1959"/>
                  </a:lnTo>
                  <a:lnTo>
                    <a:pt x="1016" y="1994"/>
                  </a:lnTo>
                  <a:lnTo>
                    <a:pt x="1022" y="2030"/>
                  </a:lnTo>
                  <a:lnTo>
                    <a:pt x="1050" y="1993"/>
                  </a:lnTo>
                  <a:lnTo>
                    <a:pt x="1051" y="1937"/>
                  </a:lnTo>
                  <a:lnTo>
                    <a:pt x="1061" y="1900"/>
                  </a:lnTo>
                  <a:lnTo>
                    <a:pt x="1064" y="1838"/>
                  </a:lnTo>
                  <a:lnTo>
                    <a:pt x="1081" y="1841"/>
                  </a:lnTo>
                  <a:lnTo>
                    <a:pt x="1093" y="1852"/>
                  </a:lnTo>
                  <a:lnTo>
                    <a:pt x="1088" y="1886"/>
                  </a:lnTo>
                  <a:lnTo>
                    <a:pt x="1075" y="1910"/>
                  </a:lnTo>
                  <a:lnTo>
                    <a:pt x="1117" y="1893"/>
                  </a:lnTo>
                  <a:lnTo>
                    <a:pt x="1127" y="1852"/>
                  </a:lnTo>
                  <a:lnTo>
                    <a:pt x="1153" y="1834"/>
                  </a:lnTo>
                  <a:lnTo>
                    <a:pt x="1147" y="1767"/>
                  </a:lnTo>
                  <a:lnTo>
                    <a:pt x="1196" y="1739"/>
                  </a:lnTo>
                  <a:lnTo>
                    <a:pt x="1213" y="1586"/>
                  </a:lnTo>
                  <a:lnTo>
                    <a:pt x="1226" y="1549"/>
                  </a:lnTo>
                  <a:lnTo>
                    <a:pt x="1264" y="1534"/>
                  </a:lnTo>
                  <a:lnTo>
                    <a:pt x="1275" y="1508"/>
                  </a:lnTo>
                  <a:lnTo>
                    <a:pt x="1301" y="1488"/>
                  </a:lnTo>
                  <a:lnTo>
                    <a:pt x="1350" y="1456"/>
                  </a:lnTo>
                  <a:lnTo>
                    <a:pt x="1443" y="1443"/>
                  </a:lnTo>
                  <a:lnTo>
                    <a:pt x="1457" y="1418"/>
                  </a:lnTo>
                  <a:lnTo>
                    <a:pt x="1528" y="1414"/>
                  </a:lnTo>
                  <a:lnTo>
                    <a:pt x="1538" y="1331"/>
                  </a:lnTo>
                  <a:lnTo>
                    <a:pt x="1564" y="1293"/>
                  </a:lnTo>
                  <a:lnTo>
                    <a:pt x="1581" y="1245"/>
                  </a:lnTo>
                  <a:lnTo>
                    <a:pt x="1587" y="1159"/>
                  </a:lnTo>
                  <a:lnTo>
                    <a:pt x="1611" y="1145"/>
                  </a:lnTo>
                  <a:lnTo>
                    <a:pt x="1621" y="904"/>
                  </a:lnTo>
                  <a:lnTo>
                    <a:pt x="1663" y="888"/>
                  </a:lnTo>
                  <a:lnTo>
                    <a:pt x="1667" y="842"/>
                  </a:lnTo>
                  <a:lnTo>
                    <a:pt x="1684" y="829"/>
                  </a:lnTo>
                  <a:lnTo>
                    <a:pt x="1695" y="783"/>
                  </a:lnTo>
                  <a:lnTo>
                    <a:pt x="1719" y="775"/>
                  </a:lnTo>
                  <a:lnTo>
                    <a:pt x="1732" y="729"/>
                  </a:lnTo>
                  <a:lnTo>
                    <a:pt x="1766" y="718"/>
                  </a:lnTo>
                  <a:lnTo>
                    <a:pt x="1767" y="678"/>
                  </a:lnTo>
                  <a:lnTo>
                    <a:pt x="1787" y="674"/>
                  </a:lnTo>
                  <a:lnTo>
                    <a:pt x="1783" y="630"/>
                  </a:lnTo>
                  <a:lnTo>
                    <a:pt x="1805" y="626"/>
                  </a:lnTo>
                  <a:lnTo>
                    <a:pt x="1811" y="588"/>
                  </a:lnTo>
                  <a:lnTo>
                    <a:pt x="1781" y="585"/>
                  </a:lnTo>
                  <a:lnTo>
                    <a:pt x="1773" y="496"/>
                  </a:lnTo>
                  <a:lnTo>
                    <a:pt x="1749" y="477"/>
                  </a:lnTo>
                  <a:lnTo>
                    <a:pt x="1718" y="473"/>
                  </a:lnTo>
                  <a:lnTo>
                    <a:pt x="1688" y="451"/>
                  </a:lnTo>
                  <a:lnTo>
                    <a:pt x="1667" y="413"/>
                  </a:lnTo>
                  <a:lnTo>
                    <a:pt x="1625" y="413"/>
                  </a:lnTo>
                  <a:lnTo>
                    <a:pt x="1615" y="378"/>
                  </a:lnTo>
                  <a:lnTo>
                    <a:pt x="1585" y="361"/>
                  </a:lnTo>
                  <a:lnTo>
                    <a:pt x="1540" y="364"/>
                  </a:lnTo>
                  <a:lnTo>
                    <a:pt x="1495" y="354"/>
                  </a:lnTo>
                  <a:lnTo>
                    <a:pt x="1473" y="333"/>
                  </a:lnTo>
                  <a:lnTo>
                    <a:pt x="1443" y="350"/>
                  </a:lnTo>
                  <a:lnTo>
                    <a:pt x="1418" y="353"/>
                  </a:lnTo>
                  <a:lnTo>
                    <a:pt x="1378" y="329"/>
                  </a:lnTo>
                  <a:lnTo>
                    <a:pt x="1350" y="291"/>
                  </a:lnTo>
                  <a:lnTo>
                    <a:pt x="1311" y="269"/>
                  </a:lnTo>
                  <a:lnTo>
                    <a:pt x="1271" y="264"/>
                  </a:lnTo>
                  <a:lnTo>
                    <a:pt x="1220" y="267"/>
                  </a:lnTo>
                  <a:lnTo>
                    <a:pt x="1186" y="279"/>
                  </a:lnTo>
                  <a:lnTo>
                    <a:pt x="1177" y="302"/>
                  </a:lnTo>
                  <a:lnTo>
                    <a:pt x="1133" y="325"/>
                  </a:lnTo>
                  <a:lnTo>
                    <a:pt x="1151" y="291"/>
                  </a:lnTo>
                  <a:lnTo>
                    <a:pt x="1172" y="253"/>
                  </a:lnTo>
                  <a:lnTo>
                    <a:pt x="1147" y="236"/>
                  </a:lnTo>
                  <a:lnTo>
                    <a:pt x="1113" y="236"/>
                  </a:lnTo>
                  <a:lnTo>
                    <a:pt x="1084" y="260"/>
                  </a:lnTo>
                  <a:lnTo>
                    <a:pt x="1058" y="287"/>
                  </a:lnTo>
                  <a:lnTo>
                    <a:pt x="1036" y="316"/>
                  </a:lnTo>
                  <a:lnTo>
                    <a:pt x="1006" y="330"/>
                  </a:lnTo>
                  <a:lnTo>
                    <a:pt x="1048" y="260"/>
                  </a:lnTo>
                  <a:lnTo>
                    <a:pt x="1074" y="223"/>
                  </a:lnTo>
                  <a:lnTo>
                    <a:pt x="1093" y="181"/>
                  </a:lnTo>
                  <a:lnTo>
                    <a:pt x="1105" y="157"/>
                  </a:lnTo>
                  <a:lnTo>
                    <a:pt x="1070" y="75"/>
                  </a:lnTo>
                  <a:lnTo>
                    <a:pt x="1044" y="50"/>
                  </a:lnTo>
                  <a:lnTo>
                    <a:pt x="1009" y="48"/>
                  </a:lnTo>
                  <a:lnTo>
                    <a:pt x="982" y="74"/>
                  </a:lnTo>
                  <a:lnTo>
                    <a:pt x="968" y="99"/>
                  </a:lnTo>
                  <a:lnTo>
                    <a:pt x="955" y="127"/>
                  </a:lnTo>
                  <a:lnTo>
                    <a:pt x="909" y="123"/>
                  </a:lnTo>
                  <a:lnTo>
                    <a:pt x="889" y="102"/>
                  </a:lnTo>
                  <a:lnTo>
                    <a:pt x="823" y="105"/>
                  </a:lnTo>
                  <a:lnTo>
                    <a:pt x="820" y="147"/>
                  </a:lnTo>
                  <a:lnTo>
                    <a:pt x="765" y="148"/>
                  </a:lnTo>
                  <a:lnTo>
                    <a:pt x="727" y="151"/>
                  </a:lnTo>
                  <a:lnTo>
                    <a:pt x="716" y="171"/>
                  </a:lnTo>
                  <a:lnTo>
                    <a:pt x="685" y="172"/>
                  </a:lnTo>
                  <a:lnTo>
                    <a:pt x="662" y="147"/>
                  </a:lnTo>
                  <a:lnTo>
                    <a:pt x="641" y="102"/>
                  </a:lnTo>
                  <a:lnTo>
                    <a:pt x="653" y="65"/>
                  </a:lnTo>
                  <a:lnTo>
                    <a:pt x="645" y="14"/>
                  </a:lnTo>
                  <a:lnTo>
                    <a:pt x="607" y="0"/>
                  </a:lnTo>
                  <a:lnTo>
                    <a:pt x="593" y="32"/>
                  </a:lnTo>
                  <a:lnTo>
                    <a:pt x="514" y="36"/>
                  </a:lnTo>
                  <a:lnTo>
                    <a:pt x="489" y="54"/>
                  </a:lnTo>
                  <a:lnTo>
                    <a:pt x="449" y="19"/>
                  </a:lnTo>
                  <a:lnTo>
                    <a:pt x="430" y="26"/>
                  </a:lnTo>
                  <a:lnTo>
                    <a:pt x="421" y="68"/>
                  </a:lnTo>
                  <a:lnTo>
                    <a:pt x="426" y="95"/>
                  </a:lnTo>
                  <a:lnTo>
                    <a:pt x="457" y="115"/>
                  </a:lnTo>
                  <a:lnTo>
                    <a:pt x="459" y="148"/>
                  </a:lnTo>
                  <a:lnTo>
                    <a:pt x="420" y="181"/>
                  </a:lnTo>
                  <a:lnTo>
                    <a:pt x="372" y="186"/>
                  </a:lnTo>
                  <a:lnTo>
                    <a:pt x="337" y="168"/>
                  </a:lnTo>
                  <a:lnTo>
                    <a:pt x="313" y="137"/>
                  </a:lnTo>
                  <a:lnTo>
                    <a:pt x="285" y="12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kern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198" name="Freeform 198"/>
            <p:cNvSpPr>
              <a:spLocks noChangeAspect="1"/>
            </p:cNvSpPr>
            <p:nvPr/>
          </p:nvSpPr>
          <p:spPr bwMode="auto">
            <a:xfrm>
              <a:off x="1829917" y="3032306"/>
              <a:ext cx="100220" cy="143771"/>
            </a:xfrm>
            <a:custGeom>
              <a:avLst/>
              <a:gdLst/>
              <a:ahLst/>
              <a:cxnLst>
                <a:cxn ang="0">
                  <a:pos x="170" y="220"/>
                </a:cxn>
                <a:cxn ang="0">
                  <a:pos x="134" y="243"/>
                </a:cxn>
                <a:cxn ang="0">
                  <a:pos x="113" y="205"/>
                </a:cxn>
                <a:cxn ang="0">
                  <a:pos x="75" y="179"/>
                </a:cxn>
                <a:cxn ang="0">
                  <a:pos x="39" y="144"/>
                </a:cxn>
                <a:cxn ang="0">
                  <a:pos x="0" y="80"/>
                </a:cxn>
                <a:cxn ang="0">
                  <a:pos x="48" y="56"/>
                </a:cxn>
                <a:cxn ang="0">
                  <a:pos x="78" y="0"/>
                </a:cxn>
                <a:cxn ang="0">
                  <a:pos x="93" y="68"/>
                </a:cxn>
                <a:cxn ang="0">
                  <a:pos x="129" y="137"/>
                </a:cxn>
                <a:cxn ang="0">
                  <a:pos x="170" y="220"/>
                </a:cxn>
              </a:cxnLst>
              <a:rect l="0" t="0" r="r" b="b"/>
              <a:pathLst>
                <a:path w="170" h="243">
                  <a:moveTo>
                    <a:pt x="170" y="220"/>
                  </a:moveTo>
                  <a:lnTo>
                    <a:pt x="134" y="243"/>
                  </a:lnTo>
                  <a:lnTo>
                    <a:pt x="113" y="205"/>
                  </a:lnTo>
                  <a:lnTo>
                    <a:pt x="75" y="179"/>
                  </a:lnTo>
                  <a:lnTo>
                    <a:pt x="39" y="144"/>
                  </a:lnTo>
                  <a:lnTo>
                    <a:pt x="0" y="80"/>
                  </a:lnTo>
                  <a:lnTo>
                    <a:pt x="48" y="56"/>
                  </a:lnTo>
                  <a:lnTo>
                    <a:pt x="78" y="0"/>
                  </a:lnTo>
                  <a:lnTo>
                    <a:pt x="93" y="68"/>
                  </a:lnTo>
                  <a:lnTo>
                    <a:pt x="129" y="137"/>
                  </a:lnTo>
                  <a:lnTo>
                    <a:pt x="170" y="22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9" name="Freeform 199"/>
            <p:cNvSpPr>
              <a:spLocks noChangeAspect="1"/>
            </p:cNvSpPr>
            <p:nvPr/>
          </p:nvSpPr>
          <p:spPr bwMode="auto">
            <a:xfrm>
              <a:off x="2958709" y="2687964"/>
              <a:ext cx="784177" cy="395815"/>
            </a:xfrm>
            <a:custGeom>
              <a:avLst/>
              <a:gdLst/>
              <a:ahLst/>
              <a:cxnLst>
                <a:cxn ang="0">
                  <a:pos x="0" y="253"/>
                </a:cxn>
                <a:cxn ang="0">
                  <a:pos x="28" y="229"/>
                </a:cxn>
                <a:cxn ang="0">
                  <a:pos x="87" y="214"/>
                </a:cxn>
                <a:cxn ang="0">
                  <a:pos x="221" y="202"/>
                </a:cxn>
                <a:cxn ang="0">
                  <a:pos x="237" y="222"/>
                </a:cxn>
                <a:cxn ang="0">
                  <a:pos x="284" y="229"/>
                </a:cxn>
                <a:cxn ang="0">
                  <a:pos x="304" y="249"/>
                </a:cxn>
                <a:cxn ang="0">
                  <a:pos x="399" y="238"/>
                </a:cxn>
                <a:cxn ang="0">
                  <a:pos x="375" y="187"/>
                </a:cxn>
                <a:cxn ang="0">
                  <a:pos x="359" y="163"/>
                </a:cxn>
                <a:cxn ang="0">
                  <a:pos x="399" y="159"/>
                </a:cxn>
                <a:cxn ang="0">
                  <a:pos x="399" y="80"/>
                </a:cxn>
                <a:cxn ang="0">
                  <a:pos x="399" y="0"/>
                </a:cxn>
                <a:cxn ang="0">
                  <a:pos x="482" y="31"/>
                </a:cxn>
                <a:cxn ang="0">
                  <a:pos x="537" y="35"/>
                </a:cxn>
                <a:cxn ang="0">
                  <a:pos x="576" y="74"/>
                </a:cxn>
                <a:cxn ang="0">
                  <a:pos x="596" y="114"/>
                </a:cxn>
                <a:cxn ang="0">
                  <a:pos x="663" y="114"/>
                </a:cxn>
                <a:cxn ang="0">
                  <a:pos x="762" y="121"/>
                </a:cxn>
                <a:cxn ang="0">
                  <a:pos x="817" y="153"/>
                </a:cxn>
                <a:cxn ang="0">
                  <a:pos x="861" y="165"/>
                </a:cxn>
                <a:cxn ang="0">
                  <a:pos x="872" y="200"/>
                </a:cxn>
                <a:cxn ang="0">
                  <a:pos x="992" y="185"/>
                </a:cxn>
                <a:cxn ang="0">
                  <a:pos x="1011" y="153"/>
                </a:cxn>
                <a:cxn ang="0">
                  <a:pos x="1051" y="177"/>
                </a:cxn>
                <a:cxn ang="0">
                  <a:pos x="1106" y="129"/>
                </a:cxn>
                <a:cxn ang="0">
                  <a:pos x="1150" y="125"/>
                </a:cxn>
                <a:cxn ang="0">
                  <a:pos x="1189" y="149"/>
                </a:cxn>
                <a:cxn ang="0">
                  <a:pos x="1178" y="187"/>
                </a:cxn>
                <a:cxn ang="0">
                  <a:pos x="1183" y="287"/>
                </a:cxn>
                <a:cxn ang="0">
                  <a:pos x="1193" y="306"/>
                </a:cxn>
                <a:cxn ang="0">
                  <a:pos x="1230" y="296"/>
                </a:cxn>
                <a:cxn ang="0">
                  <a:pos x="1303" y="287"/>
                </a:cxn>
                <a:cxn ang="0">
                  <a:pos x="1340" y="335"/>
                </a:cxn>
                <a:cxn ang="0">
                  <a:pos x="1260" y="370"/>
                </a:cxn>
                <a:cxn ang="0">
                  <a:pos x="1193" y="410"/>
                </a:cxn>
                <a:cxn ang="0">
                  <a:pos x="1154" y="442"/>
                </a:cxn>
                <a:cxn ang="0">
                  <a:pos x="1110" y="485"/>
                </a:cxn>
                <a:cxn ang="0">
                  <a:pos x="1047" y="465"/>
                </a:cxn>
                <a:cxn ang="0">
                  <a:pos x="1051" y="517"/>
                </a:cxn>
                <a:cxn ang="0">
                  <a:pos x="1043" y="572"/>
                </a:cxn>
                <a:cxn ang="0">
                  <a:pos x="972" y="631"/>
                </a:cxn>
                <a:cxn ang="0">
                  <a:pos x="881" y="620"/>
                </a:cxn>
                <a:cxn ang="0">
                  <a:pos x="845" y="647"/>
                </a:cxn>
                <a:cxn ang="0">
                  <a:pos x="778" y="668"/>
                </a:cxn>
                <a:cxn ang="0">
                  <a:pos x="711" y="631"/>
                </a:cxn>
                <a:cxn ang="0">
                  <a:pos x="655" y="616"/>
                </a:cxn>
                <a:cxn ang="0">
                  <a:pos x="403" y="596"/>
                </a:cxn>
                <a:cxn ang="0">
                  <a:pos x="372" y="565"/>
                </a:cxn>
                <a:cxn ang="0">
                  <a:pos x="339" y="509"/>
                </a:cxn>
                <a:cxn ang="0">
                  <a:pos x="287" y="482"/>
                </a:cxn>
                <a:cxn ang="0">
                  <a:pos x="241" y="469"/>
                </a:cxn>
                <a:cxn ang="0">
                  <a:pos x="138" y="449"/>
                </a:cxn>
                <a:cxn ang="0">
                  <a:pos x="107" y="375"/>
                </a:cxn>
                <a:cxn ang="0">
                  <a:pos x="90" y="323"/>
                </a:cxn>
                <a:cxn ang="0">
                  <a:pos x="24" y="287"/>
                </a:cxn>
                <a:cxn ang="0">
                  <a:pos x="0" y="253"/>
                </a:cxn>
              </a:cxnLst>
              <a:rect l="0" t="0" r="r" b="b"/>
              <a:pathLst>
                <a:path w="1340" h="668">
                  <a:moveTo>
                    <a:pt x="0" y="253"/>
                  </a:moveTo>
                  <a:lnTo>
                    <a:pt x="28" y="229"/>
                  </a:lnTo>
                  <a:lnTo>
                    <a:pt x="87" y="214"/>
                  </a:lnTo>
                  <a:lnTo>
                    <a:pt x="221" y="202"/>
                  </a:lnTo>
                  <a:lnTo>
                    <a:pt x="237" y="222"/>
                  </a:lnTo>
                  <a:lnTo>
                    <a:pt x="284" y="229"/>
                  </a:lnTo>
                  <a:lnTo>
                    <a:pt x="304" y="249"/>
                  </a:lnTo>
                  <a:lnTo>
                    <a:pt x="399" y="238"/>
                  </a:lnTo>
                  <a:lnTo>
                    <a:pt x="375" y="187"/>
                  </a:lnTo>
                  <a:lnTo>
                    <a:pt x="359" y="163"/>
                  </a:lnTo>
                  <a:lnTo>
                    <a:pt x="399" y="159"/>
                  </a:lnTo>
                  <a:lnTo>
                    <a:pt x="399" y="80"/>
                  </a:lnTo>
                  <a:lnTo>
                    <a:pt x="399" y="0"/>
                  </a:lnTo>
                  <a:lnTo>
                    <a:pt x="482" y="31"/>
                  </a:lnTo>
                  <a:lnTo>
                    <a:pt x="537" y="35"/>
                  </a:lnTo>
                  <a:lnTo>
                    <a:pt x="576" y="74"/>
                  </a:lnTo>
                  <a:lnTo>
                    <a:pt x="596" y="114"/>
                  </a:lnTo>
                  <a:lnTo>
                    <a:pt x="663" y="114"/>
                  </a:lnTo>
                  <a:lnTo>
                    <a:pt x="762" y="121"/>
                  </a:lnTo>
                  <a:lnTo>
                    <a:pt x="817" y="153"/>
                  </a:lnTo>
                  <a:lnTo>
                    <a:pt x="861" y="165"/>
                  </a:lnTo>
                  <a:lnTo>
                    <a:pt x="872" y="200"/>
                  </a:lnTo>
                  <a:lnTo>
                    <a:pt x="992" y="185"/>
                  </a:lnTo>
                  <a:lnTo>
                    <a:pt x="1011" y="153"/>
                  </a:lnTo>
                  <a:lnTo>
                    <a:pt x="1051" y="177"/>
                  </a:lnTo>
                  <a:lnTo>
                    <a:pt x="1106" y="129"/>
                  </a:lnTo>
                  <a:lnTo>
                    <a:pt x="1150" y="125"/>
                  </a:lnTo>
                  <a:lnTo>
                    <a:pt x="1189" y="149"/>
                  </a:lnTo>
                  <a:lnTo>
                    <a:pt x="1178" y="187"/>
                  </a:lnTo>
                  <a:lnTo>
                    <a:pt x="1183" y="287"/>
                  </a:lnTo>
                  <a:lnTo>
                    <a:pt x="1193" y="306"/>
                  </a:lnTo>
                  <a:lnTo>
                    <a:pt x="1230" y="296"/>
                  </a:lnTo>
                  <a:lnTo>
                    <a:pt x="1303" y="287"/>
                  </a:lnTo>
                  <a:lnTo>
                    <a:pt x="1340" y="335"/>
                  </a:lnTo>
                  <a:lnTo>
                    <a:pt x="1260" y="370"/>
                  </a:lnTo>
                  <a:lnTo>
                    <a:pt x="1193" y="410"/>
                  </a:lnTo>
                  <a:lnTo>
                    <a:pt x="1154" y="442"/>
                  </a:lnTo>
                  <a:lnTo>
                    <a:pt x="1110" y="485"/>
                  </a:lnTo>
                  <a:lnTo>
                    <a:pt x="1047" y="465"/>
                  </a:lnTo>
                  <a:lnTo>
                    <a:pt x="1051" y="517"/>
                  </a:lnTo>
                  <a:lnTo>
                    <a:pt x="1043" y="572"/>
                  </a:lnTo>
                  <a:lnTo>
                    <a:pt x="972" y="631"/>
                  </a:lnTo>
                  <a:lnTo>
                    <a:pt x="881" y="620"/>
                  </a:lnTo>
                  <a:lnTo>
                    <a:pt x="845" y="647"/>
                  </a:lnTo>
                  <a:lnTo>
                    <a:pt x="778" y="668"/>
                  </a:lnTo>
                  <a:lnTo>
                    <a:pt x="711" y="631"/>
                  </a:lnTo>
                  <a:lnTo>
                    <a:pt x="655" y="616"/>
                  </a:lnTo>
                  <a:lnTo>
                    <a:pt x="403" y="596"/>
                  </a:lnTo>
                  <a:lnTo>
                    <a:pt x="372" y="565"/>
                  </a:lnTo>
                  <a:lnTo>
                    <a:pt x="339" y="509"/>
                  </a:lnTo>
                  <a:lnTo>
                    <a:pt x="287" y="482"/>
                  </a:lnTo>
                  <a:lnTo>
                    <a:pt x="241" y="469"/>
                  </a:lnTo>
                  <a:lnTo>
                    <a:pt x="138" y="449"/>
                  </a:lnTo>
                  <a:lnTo>
                    <a:pt x="107" y="375"/>
                  </a:lnTo>
                  <a:lnTo>
                    <a:pt x="90" y="323"/>
                  </a:lnTo>
                  <a:lnTo>
                    <a:pt x="24" y="287"/>
                  </a:lnTo>
                  <a:lnTo>
                    <a:pt x="0" y="25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0" name="Freeform 200"/>
            <p:cNvSpPr>
              <a:spLocks noChangeAspect="1"/>
            </p:cNvSpPr>
            <p:nvPr/>
          </p:nvSpPr>
          <p:spPr bwMode="auto">
            <a:xfrm>
              <a:off x="6836758" y="2607762"/>
              <a:ext cx="75604" cy="141996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48" y="9"/>
                </a:cxn>
                <a:cxn ang="0">
                  <a:pos x="48" y="68"/>
                </a:cxn>
                <a:cxn ang="0">
                  <a:pos x="64" y="127"/>
                </a:cxn>
                <a:cxn ang="0">
                  <a:pos x="72" y="159"/>
                </a:cxn>
                <a:cxn ang="0">
                  <a:pos x="92" y="182"/>
                </a:cxn>
                <a:cxn ang="0">
                  <a:pos x="127" y="230"/>
                </a:cxn>
                <a:cxn ang="0">
                  <a:pos x="103" y="238"/>
                </a:cxn>
                <a:cxn ang="0">
                  <a:pos x="72" y="234"/>
                </a:cxn>
                <a:cxn ang="0">
                  <a:pos x="44" y="223"/>
                </a:cxn>
                <a:cxn ang="0">
                  <a:pos x="44" y="147"/>
                </a:cxn>
                <a:cxn ang="0">
                  <a:pos x="0" y="139"/>
                </a:cxn>
                <a:cxn ang="0">
                  <a:pos x="8" y="0"/>
                </a:cxn>
              </a:cxnLst>
              <a:rect l="0" t="0" r="r" b="b"/>
              <a:pathLst>
                <a:path w="127" h="238">
                  <a:moveTo>
                    <a:pt x="8" y="0"/>
                  </a:moveTo>
                  <a:lnTo>
                    <a:pt x="48" y="9"/>
                  </a:lnTo>
                  <a:lnTo>
                    <a:pt x="48" y="68"/>
                  </a:lnTo>
                  <a:lnTo>
                    <a:pt x="64" y="127"/>
                  </a:lnTo>
                  <a:lnTo>
                    <a:pt x="72" y="159"/>
                  </a:lnTo>
                  <a:lnTo>
                    <a:pt x="92" y="182"/>
                  </a:lnTo>
                  <a:lnTo>
                    <a:pt x="127" y="230"/>
                  </a:lnTo>
                  <a:lnTo>
                    <a:pt x="103" y="238"/>
                  </a:lnTo>
                  <a:lnTo>
                    <a:pt x="72" y="234"/>
                  </a:lnTo>
                  <a:lnTo>
                    <a:pt x="44" y="223"/>
                  </a:lnTo>
                  <a:lnTo>
                    <a:pt x="44" y="147"/>
                  </a:lnTo>
                  <a:lnTo>
                    <a:pt x="0" y="139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1" name="Freeform 201"/>
            <p:cNvSpPr>
              <a:spLocks noChangeAspect="1"/>
            </p:cNvSpPr>
            <p:nvPr/>
          </p:nvSpPr>
          <p:spPr bwMode="auto">
            <a:xfrm>
              <a:off x="6972143" y="2799458"/>
              <a:ext cx="269011" cy="205895"/>
            </a:xfrm>
            <a:custGeom>
              <a:avLst/>
              <a:gdLst/>
              <a:ahLst/>
              <a:cxnLst>
                <a:cxn ang="0">
                  <a:pos x="146" y="9"/>
                </a:cxn>
                <a:cxn ang="0">
                  <a:pos x="91" y="20"/>
                </a:cxn>
                <a:cxn ang="0">
                  <a:pos x="114" y="33"/>
                </a:cxn>
                <a:cxn ang="0">
                  <a:pos x="0" y="111"/>
                </a:cxn>
                <a:cxn ang="0">
                  <a:pos x="4" y="139"/>
                </a:cxn>
                <a:cxn ang="0">
                  <a:pos x="71" y="167"/>
                </a:cxn>
                <a:cxn ang="0">
                  <a:pos x="150" y="76"/>
                </a:cxn>
                <a:cxn ang="0">
                  <a:pos x="153" y="92"/>
                </a:cxn>
                <a:cxn ang="0">
                  <a:pos x="225" y="111"/>
                </a:cxn>
                <a:cxn ang="0">
                  <a:pos x="280" y="171"/>
                </a:cxn>
                <a:cxn ang="0">
                  <a:pos x="328" y="241"/>
                </a:cxn>
                <a:cxn ang="0">
                  <a:pos x="312" y="329"/>
                </a:cxn>
                <a:cxn ang="0">
                  <a:pos x="352" y="309"/>
                </a:cxn>
                <a:cxn ang="0">
                  <a:pos x="394" y="348"/>
                </a:cxn>
                <a:cxn ang="0">
                  <a:pos x="418" y="250"/>
                </a:cxn>
                <a:cxn ang="0">
                  <a:pos x="458" y="258"/>
                </a:cxn>
                <a:cxn ang="0">
                  <a:pos x="418" y="182"/>
                </a:cxn>
                <a:cxn ang="0">
                  <a:pos x="339" y="144"/>
                </a:cxn>
                <a:cxn ang="0">
                  <a:pos x="304" y="96"/>
                </a:cxn>
                <a:cxn ang="0">
                  <a:pos x="232" y="0"/>
                </a:cxn>
                <a:cxn ang="0">
                  <a:pos x="146" y="9"/>
                </a:cxn>
              </a:cxnLst>
              <a:rect l="0" t="0" r="r" b="b"/>
              <a:pathLst>
                <a:path w="458" h="348">
                  <a:moveTo>
                    <a:pt x="146" y="9"/>
                  </a:moveTo>
                  <a:lnTo>
                    <a:pt x="91" y="20"/>
                  </a:lnTo>
                  <a:lnTo>
                    <a:pt x="114" y="33"/>
                  </a:lnTo>
                  <a:lnTo>
                    <a:pt x="0" y="111"/>
                  </a:lnTo>
                  <a:lnTo>
                    <a:pt x="4" y="139"/>
                  </a:lnTo>
                  <a:lnTo>
                    <a:pt x="71" y="167"/>
                  </a:lnTo>
                  <a:lnTo>
                    <a:pt x="150" y="76"/>
                  </a:lnTo>
                  <a:lnTo>
                    <a:pt x="153" y="92"/>
                  </a:lnTo>
                  <a:lnTo>
                    <a:pt x="225" y="111"/>
                  </a:lnTo>
                  <a:lnTo>
                    <a:pt x="280" y="171"/>
                  </a:lnTo>
                  <a:lnTo>
                    <a:pt x="328" y="241"/>
                  </a:lnTo>
                  <a:lnTo>
                    <a:pt x="312" y="329"/>
                  </a:lnTo>
                  <a:lnTo>
                    <a:pt x="352" y="309"/>
                  </a:lnTo>
                  <a:lnTo>
                    <a:pt x="394" y="348"/>
                  </a:lnTo>
                  <a:lnTo>
                    <a:pt x="418" y="250"/>
                  </a:lnTo>
                  <a:lnTo>
                    <a:pt x="458" y="258"/>
                  </a:lnTo>
                  <a:lnTo>
                    <a:pt x="418" y="182"/>
                  </a:lnTo>
                  <a:lnTo>
                    <a:pt x="339" y="144"/>
                  </a:lnTo>
                  <a:lnTo>
                    <a:pt x="304" y="96"/>
                  </a:lnTo>
                  <a:lnTo>
                    <a:pt x="232" y="0"/>
                  </a:lnTo>
                  <a:lnTo>
                    <a:pt x="146" y="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2" name="Freeform 202"/>
            <p:cNvSpPr>
              <a:spLocks noChangeAspect="1"/>
            </p:cNvSpPr>
            <p:nvPr/>
          </p:nvSpPr>
          <p:spPr bwMode="auto">
            <a:xfrm>
              <a:off x="7047748" y="2886430"/>
              <a:ext cx="75604" cy="188145"/>
            </a:xfrm>
            <a:custGeom>
              <a:avLst/>
              <a:gdLst/>
              <a:ahLst/>
              <a:cxnLst>
                <a:cxn ang="0">
                  <a:pos x="103" y="12"/>
                </a:cxn>
                <a:cxn ang="0">
                  <a:pos x="55" y="20"/>
                </a:cxn>
                <a:cxn ang="0">
                  <a:pos x="13" y="67"/>
                </a:cxn>
                <a:cxn ang="0">
                  <a:pos x="0" y="111"/>
                </a:cxn>
                <a:cxn ang="0">
                  <a:pos x="33" y="83"/>
                </a:cxn>
                <a:cxn ang="0">
                  <a:pos x="20" y="142"/>
                </a:cxn>
                <a:cxn ang="0">
                  <a:pos x="13" y="182"/>
                </a:cxn>
                <a:cxn ang="0">
                  <a:pos x="9" y="269"/>
                </a:cxn>
                <a:cxn ang="0">
                  <a:pos x="48" y="317"/>
                </a:cxn>
                <a:cxn ang="0">
                  <a:pos x="99" y="277"/>
                </a:cxn>
                <a:cxn ang="0">
                  <a:pos x="72" y="150"/>
                </a:cxn>
                <a:cxn ang="0">
                  <a:pos x="76" y="98"/>
                </a:cxn>
                <a:cxn ang="0">
                  <a:pos x="120" y="76"/>
                </a:cxn>
                <a:cxn ang="0">
                  <a:pos x="131" y="48"/>
                </a:cxn>
                <a:cxn ang="0">
                  <a:pos x="103" y="0"/>
                </a:cxn>
                <a:cxn ang="0">
                  <a:pos x="103" y="12"/>
                </a:cxn>
              </a:cxnLst>
              <a:rect l="0" t="0" r="r" b="b"/>
              <a:pathLst>
                <a:path w="131" h="317">
                  <a:moveTo>
                    <a:pt x="103" y="12"/>
                  </a:moveTo>
                  <a:lnTo>
                    <a:pt x="55" y="20"/>
                  </a:lnTo>
                  <a:lnTo>
                    <a:pt x="13" y="67"/>
                  </a:lnTo>
                  <a:lnTo>
                    <a:pt x="0" y="111"/>
                  </a:lnTo>
                  <a:lnTo>
                    <a:pt x="33" y="83"/>
                  </a:lnTo>
                  <a:lnTo>
                    <a:pt x="20" y="142"/>
                  </a:lnTo>
                  <a:lnTo>
                    <a:pt x="13" y="182"/>
                  </a:lnTo>
                  <a:lnTo>
                    <a:pt x="9" y="269"/>
                  </a:lnTo>
                  <a:lnTo>
                    <a:pt x="48" y="317"/>
                  </a:lnTo>
                  <a:lnTo>
                    <a:pt x="99" y="277"/>
                  </a:lnTo>
                  <a:lnTo>
                    <a:pt x="72" y="150"/>
                  </a:lnTo>
                  <a:lnTo>
                    <a:pt x="76" y="98"/>
                  </a:lnTo>
                  <a:lnTo>
                    <a:pt x="120" y="76"/>
                  </a:lnTo>
                  <a:lnTo>
                    <a:pt x="131" y="48"/>
                  </a:lnTo>
                  <a:lnTo>
                    <a:pt x="103" y="0"/>
                  </a:lnTo>
                  <a:lnTo>
                    <a:pt x="103" y="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3" name="Freeform 203"/>
            <p:cNvSpPr>
              <a:spLocks noChangeAspect="1"/>
            </p:cNvSpPr>
            <p:nvPr/>
          </p:nvSpPr>
          <p:spPr bwMode="auto">
            <a:xfrm>
              <a:off x="7047748" y="2886430"/>
              <a:ext cx="75604" cy="188145"/>
            </a:xfrm>
            <a:custGeom>
              <a:avLst/>
              <a:gdLst/>
              <a:ahLst/>
              <a:cxnLst>
                <a:cxn ang="0">
                  <a:pos x="103" y="12"/>
                </a:cxn>
                <a:cxn ang="0">
                  <a:pos x="55" y="20"/>
                </a:cxn>
                <a:cxn ang="0">
                  <a:pos x="13" y="67"/>
                </a:cxn>
                <a:cxn ang="0">
                  <a:pos x="0" y="111"/>
                </a:cxn>
                <a:cxn ang="0">
                  <a:pos x="33" y="83"/>
                </a:cxn>
                <a:cxn ang="0">
                  <a:pos x="20" y="142"/>
                </a:cxn>
                <a:cxn ang="0">
                  <a:pos x="13" y="182"/>
                </a:cxn>
                <a:cxn ang="0">
                  <a:pos x="9" y="269"/>
                </a:cxn>
                <a:cxn ang="0">
                  <a:pos x="48" y="317"/>
                </a:cxn>
                <a:cxn ang="0">
                  <a:pos x="99" y="277"/>
                </a:cxn>
                <a:cxn ang="0">
                  <a:pos x="72" y="150"/>
                </a:cxn>
                <a:cxn ang="0">
                  <a:pos x="76" y="98"/>
                </a:cxn>
                <a:cxn ang="0">
                  <a:pos x="120" y="76"/>
                </a:cxn>
                <a:cxn ang="0">
                  <a:pos x="131" y="48"/>
                </a:cxn>
                <a:cxn ang="0">
                  <a:pos x="103" y="0"/>
                </a:cxn>
              </a:cxnLst>
              <a:rect l="0" t="0" r="r" b="b"/>
              <a:pathLst>
                <a:path w="131" h="317">
                  <a:moveTo>
                    <a:pt x="103" y="12"/>
                  </a:moveTo>
                  <a:lnTo>
                    <a:pt x="55" y="20"/>
                  </a:lnTo>
                  <a:lnTo>
                    <a:pt x="13" y="67"/>
                  </a:lnTo>
                  <a:lnTo>
                    <a:pt x="0" y="111"/>
                  </a:lnTo>
                  <a:lnTo>
                    <a:pt x="33" y="83"/>
                  </a:lnTo>
                  <a:lnTo>
                    <a:pt x="20" y="142"/>
                  </a:lnTo>
                  <a:lnTo>
                    <a:pt x="13" y="182"/>
                  </a:lnTo>
                  <a:lnTo>
                    <a:pt x="9" y="269"/>
                  </a:lnTo>
                  <a:lnTo>
                    <a:pt x="48" y="317"/>
                  </a:lnTo>
                  <a:lnTo>
                    <a:pt x="99" y="277"/>
                  </a:lnTo>
                  <a:lnTo>
                    <a:pt x="72" y="150"/>
                  </a:lnTo>
                  <a:lnTo>
                    <a:pt x="76" y="98"/>
                  </a:lnTo>
                  <a:lnTo>
                    <a:pt x="120" y="76"/>
                  </a:lnTo>
                  <a:lnTo>
                    <a:pt x="131" y="48"/>
                  </a:lnTo>
                  <a:lnTo>
                    <a:pt x="103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4" name="Freeform 204"/>
            <p:cNvSpPr>
              <a:spLocks noChangeAspect="1"/>
            </p:cNvSpPr>
            <p:nvPr/>
          </p:nvSpPr>
          <p:spPr bwMode="auto">
            <a:xfrm>
              <a:off x="984201" y="4383047"/>
              <a:ext cx="42198" cy="21299"/>
            </a:xfrm>
            <a:custGeom>
              <a:avLst/>
              <a:gdLst/>
              <a:ahLst/>
              <a:cxnLst>
                <a:cxn ang="0">
                  <a:pos x="71" y="0"/>
                </a:cxn>
                <a:cxn ang="0">
                  <a:pos x="6" y="5"/>
                </a:cxn>
                <a:cxn ang="0">
                  <a:pos x="0" y="23"/>
                </a:cxn>
                <a:cxn ang="0">
                  <a:pos x="11" y="36"/>
                </a:cxn>
                <a:cxn ang="0">
                  <a:pos x="59" y="33"/>
                </a:cxn>
                <a:cxn ang="0">
                  <a:pos x="71" y="0"/>
                </a:cxn>
              </a:cxnLst>
              <a:rect l="0" t="0" r="r" b="b"/>
              <a:pathLst>
                <a:path w="71" h="36">
                  <a:moveTo>
                    <a:pt x="71" y="0"/>
                  </a:moveTo>
                  <a:lnTo>
                    <a:pt x="6" y="5"/>
                  </a:lnTo>
                  <a:lnTo>
                    <a:pt x="0" y="23"/>
                  </a:lnTo>
                  <a:lnTo>
                    <a:pt x="11" y="36"/>
                  </a:lnTo>
                  <a:lnTo>
                    <a:pt x="59" y="33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5" name="Freeform 205"/>
            <p:cNvSpPr>
              <a:spLocks noChangeAspect="1"/>
            </p:cNvSpPr>
            <p:nvPr/>
          </p:nvSpPr>
          <p:spPr bwMode="auto">
            <a:xfrm>
              <a:off x="1497608" y="4459370"/>
              <a:ext cx="49231" cy="51474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12" y="14"/>
                </a:cxn>
                <a:cxn ang="0">
                  <a:pos x="17" y="43"/>
                </a:cxn>
                <a:cxn ang="0">
                  <a:pos x="0" y="59"/>
                </a:cxn>
                <a:cxn ang="0">
                  <a:pos x="2" y="87"/>
                </a:cxn>
                <a:cxn ang="0">
                  <a:pos x="30" y="83"/>
                </a:cxn>
                <a:cxn ang="0">
                  <a:pos x="68" y="83"/>
                </a:cxn>
                <a:cxn ang="0">
                  <a:pos x="83" y="63"/>
                </a:cxn>
                <a:cxn ang="0">
                  <a:pos x="73" y="11"/>
                </a:cxn>
                <a:cxn ang="0">
                  <a:pos x="40" y="0"/>
                </a:cxn>
              </a:cxnLst>
              <a:rect l="0" t="0" r="r" b="b"/>
              <a:pathLst>
                <a:path w="83" h="87">
                  <a:moveTo>
                    <a:pt x="40" y="0"/>
                  </a:moveTo>
                  <a:lnTo>
                    <a:pt x="12" y="14"/>
                  </a:lnTo>
                  <a:lnTo>
                    <a:pt x="17" y="43"/>
                  </a:lnTo>
                  <a:lnTo>
                    <a:pt x="0" y="59"/>
                  </a:lnTo>
                  <a:lnTo>
                    <a:pt x="2" y="87"/>
                  </a:lnTo>
                  <a:lnTo>
                    <a:pt x="30" y="83"/>
                  </a:lnTo>
                  <a:lnTo>
                    <a:pt x="68" y="83"/>
                  </a:lnTo>
                  <a:lnTo>
                    <a:pt x="83" y="63"/>
                  </a:lnTo>
                  <a:lnTo>
                    <a:pt x="73" y="11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6" name="Freeform 206"/>
            <p:cNvSpPr>
              <a:spLocks noChangeAspect="1"/>
            </p:cNvSpPr>
            <p:nvPr/>
          </p:nvSpPr>
          <p:spPr bwMode="auto">
            <a:xfrm>
              <a:off x="1304202" y="4654615"/>
              <a:ext cx="320000" cy="323042"/>
            </a:xfrm>
            <a:custGeom>
              <a:avLst/>
              <a:gdLst/>
              <a:ahLst/>
              <a:cxnLst>
                <a:cxn ang="0">
                  <a:pos x="395" y="2"/>
                </a:cxn>
                <a:cxn ang="0">
                  <a:pos x="388" y="29"/>
                </a:cxn>
                <a:cxn ang="0">
                  <a:pos x="352" y="45"/>
                </a:cxn>
                <a:cxn ang="0">
                  <a:pos x="334" y="77"/>
                </a:cxn>
                <a:cxn ang="0">
                  <a:pos x="322" y="215"/>
                </a:cxn>
                <a:cxn ang="0">
                  <a:pos x="342" y="235"/>
                </a:cxn>
                <a:cxn ang="0">
                  <a:pos x="374" y="239"/>
                </a:cxn>
                <a:cxn ang="0">
                  <a:pos x="381" y="294"/>
                </a:cxn>
                <a:cxn ang="0">
                  <a:pos x="370" y="324"/>
                </a:cxn>
                <a:cxn ang="0">
                  <a:pos x="320" y="326"/>
                </a:cxn>
                <a:cxn ang="0">
                  <a:pos x="301" y="302"/>
                </a:cxn>
                <a:cxn ang="0">
                  <a:pos x="291" y="253"/>
                </a:cxn>
                <a:cxn ang="0">
                  <a:pos x="254" y="233"/>
                </a:cxn>
                <a:cxn ang="0">
                  <a:pos x="249" y="215"/>
                </a:cxn>
                <a:cxn ang="0">
                  <a:pos x="213" y="224"/>
                </a:cxn>
                <a:cxn ang="0">
                  <a:pos x="199" y="251"/>
                </a:cxn>
                <a:cxn ang="0">
                  <a:pos x="178" y="243"/>
                </a:cxn>
                <a:cxn ang="0">
                  <a:pos x="164" y="195"/>
                </a:cxn>
                <a:cxn ang="0">
                  <a:pos x="115" y="190"/>
                </a:cxn>
                <a:cxn ang="0">
                  <a:pos x="109" y="297"/>
                </a:cxn>
                <a:cxn ang="0">
                  <a:pos x="67" y="297"/>
                </a:cxn>
                <a:cxn ang="0">
                  <a:pos x="51" y="269"/>
                </a:cxn>
                <a:cxn ang="0">
                  <a:pos x="33" y="270"/>
                </a:cxn>
                <a:cxn ang="0">
                  <a:pos x="32" y="297"/>
                </a:cxn>
                <a:cxn ang="0">
                  <a:pos x="2" y="300"/>
                </a:cxn>
                <a:cxn ang="0">
                  <a:pos x="0" y="422"/>
                </a:cxn>
                <a:cxn ang="0">
                  <a:pos x="5" y="462"/>
                </a:cxn>
                <a:cxn ang="0">
                  <a:pos x="40" y="508"/>
                </a:cxn>
                <a:cxn ang="0">
                  <a:pos x="41" y="531"/>
                </a:cxn>
                <a:cxn ang="0">
                  <a:pos x="65" y="538"/>
                </a:cxn>
                <a:cxn ang="0">
                  <a:pos x="185" y="545"/>
                </a:cxn>
                <a:cxn ang="0">
                  <a:pos x="213" y="535"/>
                </a:cxn>
                <a:cxn ang="0">
                  <a:pos x="254" y="535"/>
                </a:cxn>
                <a:cxn ang="0">
                  <a:pos x="281" y="525"/>
                </a:cxn>
                <a:cxn ang="0">
                  <a:pos x="287" y="493"/>
                </a:cxn>
                <a:cxn ang="0">
                  <a:pos x="310" y="486"/>
                </a:cxn>
                <a:cxn ang="0">
                  <a:pos x="328" y="474"/>
                </a:cxn>
                <a:cxn ang="0">
                  <a:pos x="332" y="442"/>
                </a:cxn>
                <a:cxn ang="0">
                  <a:pos x="374" y="436"/>
                </a:cxn>
                <a:cxn ang="0">
                  <a:pos x="391" y="411"/>
                </a:cxn>
                <a:cxn ang="0">
                  <a:pos x="464" y="395"/>
                </a:cxn>
                <a:cxn ang="0">
                  <a:pos x="477" y="366"/>
                </a:cxn>
                <a:cxn ang="0">
                  <a:pos x="514" y="348"/>
                </a:cxn>
                <a:cxn ang="0">
                  <a:pos x="519" y="263"/>
                </a:cxn>
                <a:cxn ang="0">
                  <a:pos x="546" y="241"/>
                </a:cxn>
                <a:cxn ang="0">
                  <a:pos x="533" y="187"/>
                </a:cxn>
                <a:cxn ang="0">
                  <a:pos x="537" y="125"/>
                </a:cxn>
                <a:cxn ang="0">
                  <a:pos x="508" y="81"/>
                </a:cxn>
                <a:cxn ang="0">
                  <a:pos x="467" y="59"/>
                </a:cxn>
                <a:cxn ang="0">
                  <a:pos x="436" y="25"/>
                </a:cxn>
                <a:cxn ang="0">
                  <a:pos x="429" y="0"/>
                </a:cxn>
                <a:cxn ang="0">
                  <a:pos x="395" y="2"/>
                </a:cxn>
              </a:cxnLst>
              <a:rect l="0" t="0" r="r" b="b"/>
              <a:pathLst>
                <a:path w="546" h="545">
                  <a:moveTo>
                    <a:pt x="395" y="2"/>
                  </a:moveTo>
                  <a:lnTo>
                    <a:pt x="388" y="29"/>
                  </a:lnTo>
                  <a:lnTo>
                    <a:pt x="352" y="45"/>
                  </a:lnTo>
                  <a:lnTo>
                    <a:pt x="334" y="77"/>
                  </a:lnTo>
                  <a:lnTo>
                    <a:pt x="322" y="215"/>
                  </a:lnTo>
                  <a:lnTo>
                    <a:pt x="342" y="235"/>
                  </a:lnTo>
                  <a:lnTo>
                    <a:pt x="374" y="239"/>
                  </a:lnTo>
                  <a:lnTo>
                    <a:pt x="381" y="294"/>
                  </a:lnTo>
                  <a:lnTo>
                    <a:pt x="370" y="324"/>
                  </a:lnTo>
                  <a:lnTo>
                    <a:pt x="320" y="326"/>
                  </a:lnTo>
                  <a:lnTo>
                    <a:pt x="301" y="302"/>
                  </a:lnTo>
                  <a:lnTo>
                    <a:pt x="291" y="253"/>
                  </a:lnTo>
                  <a:lnTo>
                    <a:pt x="254" y="233"/>
                  </a:lnTo>
                  <a:lnTo>
                    <a:pt x="249" y="215"/>
                  </a:lnTo>
                  <a:lnTo>
                    <a:pt x="213" y="224"/>
                  </a:lnTo>
                  <a:lnTo>
                    <a:pt x="199" y="251"/>
                  </a:lnTo>
                  <a:lnTo>
                    <a:pt x="178" y="243"/>
                  </a:lnTo>
                  <a:lnTo>
                    <a:pt x="164" y="195"/>
                  </a:lnTo>
                  <a:lnTo>
                    <a:pt x="115" y="190"/>
                  </a:lnTo>
                  <a:lnTo>
                    <a:pt x="109" y="297"/>
                  </a:lnTo>
                  <a:lnTo>
                    <a:pt x="67" y="297"/>
                  </a:lnTo>
                  <a:lnTo>
                    <a:pt x="51" y="269"/>
                  </a:lnTo>
                  <a:lnTo>
                    <a:pt x="33" y="270"/>
                  </a:lnTo>
                  <a:lnTo>
                    <a:pt x="32" y="297"/>
                  </a:lnTo>
                  <a:lnTo>
                    <a:pt x="2" y="300"/>
                  </a:lnTo>
                  <a:lnTo>
                    <a:pt x="0" y="422"/>
                  </a:lnTo>
                  <a:lnTo>
                    <a:pt x="5" y="462"/>
                  </a:lnTo>
                  <a:lnTo>
                    <a:pt x="40" y="508"/>
                  </a:lnTo>
                  <a:lnTo>
                    <a:pt x="41" y="531"/>
                  </a:lnTo>
                  <a:lnTo>
                    <a:pt x="65" y="538"/>
                  </a:lnTo>
                  <a:lnTo>
                    <a:pt x="185" y="545"/>
                  </a:lnTo>
                  <a:lnTo>
                    <a:pt x="213" y="535"/>
                  </a:lnTo>
                  <a:lnTo>
                    <a:pt x="254" y="535"/>
                  </a:lnTo>
                  <a:lnTo>
                    <a:pt x="281" y="525"/>
                  </a:lnTo>
                  <a:lnTo>
                    <a:pt x="287" y="493"/>
                  </a:lnTo>
                  <a:lnTo>
                    <a:pt x="310" y="486"/>
                  </a:lnTo>
                  <a:lnTo>
                    <a:pt x="328" y="474"/>
                  </a:lnTo>
                  <a:lnTo>
                    <a:pt x="332" y="442"/>
                  </a:lnTo>
                  <a:lnTo>
                    <a:pt x="374" y="436"/>
                  </a:lnTo>
                  <a:lnTo>
                    <a:pt x="391" y="411"/>
                  </a:lnTo>
                  <a:lnTo>
                    <a:pt x="464" y="395"/>
                  </a:lnTo>
                  <a:lnTo>
                    <a:pt x="477" y="366"/>
                  </a:lnTo>
                  <a:lnTo>
                    <a:pt x="514" y="348"/>
                  </a:lnTo>
                  <a:lnTo>
                    <a:pt x="519" y="263"/>
                  </a:lnTo>
                  <a:lnTo>
                    <a:pt x="546" y="241"/>
                  </a:lnTo>
                  <a:lnTo>
                    <a:pt x="533" y="187"/>
                  </a:lnTo>
                  <a:lnTo>
                    <a:pt x="537" y="125"/>
                  </a:lnTo>
                  <a:lnTo>
                    <a:pt x="508" y="81"/>
                  </a:lnTo>
                  <a:lnTo>
                    <a:pt x="467" y="59"/>
                  </a:lnTo>
                  <a:lnTo>
                    <a:pt x="436" y="25"/>
                  </a:lnTo>
                  <a:lnTo>
                    <a:pt x="429" y="0"/>
                  </a:lnTo>
                  <a:lnTo>
                    <a:pt x="395" y="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7" name="Freeform 207"/>
            <p:cNvSpPr>
              <a:spLocks noChangeAspect="1"/>
            </p:cNvSpPr>
            <p:nvPr/>
          </p:nvSpPr>
          <p:spPr bwMode="auto">
            <a:xfrm>
              <a:off x="2849698" y="4123904"/>
              <a:ext cx="52747" cy="111822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4" y="56"/>
                </a:cxn>
                <a:cxn ang="0">
                  <a:pos x="0" y="127"/>
                </a:cxn>
                <a:cxn ang="0">
                  <a:pos x="28" y="190"/>
                </a:cxn>
                <a:cxn ang="0">
                  <a:pos x="90" y="179"/>
                </a:cxn>
                <a:cxn ang="0">
                  <a:pos x="90" y="63"/>
                </a:cxn>
                <a:cxn ang="0">
                  <a:pos x="70" y="36"/>
                </a:cxn>
                <a:cxn ang="0">
                  <a:pos x="31" y="0"/>
                </a:cxn>
              </a:cxnLst>
              <a:rect l="0" t="0" r="r" b="b"/>
              <a:pathLst>
                <a:path w="90" h="190">
                  <a:moveTo>
                    <a:pt x="31" y="0"/>
                  </a:moveTo>
                  <a:lnTo>
                    <a:pt x="4" y="56"/>
                  </a:lnTo>
                  <a:lnTo>
                    <a:pt x="0" y="127"/>
                  </a:lnTo>
                  <a:lnTo>
                    <a:pt x="28" y="190"/>
                  </a:lnTo>
                  <a:lnTo>
                    <a:pt x="90" y="179"/>
                  </a:lnTo>
                  <a:lnTo>
                    <a:pt x="90" y="63"/>
                  </a:lnTo>
                  <a:lnTo>
                    <a:pt x="70" y="3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8" name="Freeform 208"/>
            <p:cNvSpPr>
              <a:spLocks noChangeAspect="1"/>
            </p:cNvSpPr>
            <p:nvPr/>
          </p:nvSpPr>
          <p:spPr bwMode="auto">
            <a:xfrm>
              <a:off x="585080" y="3964158"/>
              <a:ext cx="210989" cy="156196"/>
            </a:xfrm>
            <a:custGeom>
              <a:avLst/>
              <a:gdLst/>
              <a:ahLst/>
              <a:cxnLst>
                <a:cxn ang="0">
                  <a:pos x="360" y="133"/>
                </a:cxn>
                <a:cxn ang="0">
                  <a:pos x="347" y="181"/>
                </a:cxn>
                <a:cxn ang="0">
                  <a:pos x="297" y="197"/>
                </a:cxn>
                <a:cxn ang="0">
                  <a:pos x="261" y="245"/>
                </a:cxn>
                <a:cxn ang="0">
                  <a:pos x="239" y="248"/>
                </a:cxn>
                <a:cxn ang="0">
                  <a:pos x="201" y="241"/>
                </a:cxn>
                <a:cxn ang="0">
                  <a:pos x="169" y="221"/>
                </a:cxn>
                <a:cxn ang="0">
                  <a:pos x="142" y="221"/>
                </a:cxn>
                <a:cxn ang="0">
                  <a:pos x="119" y="263"/>
                </a:cxn>
                <a:cxn ang="0">
                  <a:pos x="29" y="260"/>
                </a:cxn>
                <a:cxn ang="0">
                  <a:pos x="0" y="240"/>
                </a:cxn>
                <a:cxn ang="0">
                  <a:pos x="15" y="178"/>
                </a:cxn>
                <a:cxn ang="0">
                  <a:pos x="46" y="134"/>
                </a:cxn>
                <a:cxn ang="0">
                  <a:pos x="62" y="99"/>
                </a:cxn>
                <a:cxn ang="0">
                  <a:pos x="74" y="75"/>
                </a:cxn>
                <a:cxn ang="0">
                  <a:pos x="134" y="55"/>
                </a:cxn>
                <a:cxn ang="0">
                  <a:pos x="157" y="31"/>
                </a:cxn>
                <a:cxn ang="0">
                  <a:pos x="180" y="0"/>
                </a:cxn>
                <a:cxn ang="0">
                  <a:pos x="257" y="4"/>
                </a:cxn>
                <a:cxn ang="0">
                  <a:pos x="273" y="30"/>
                </a:cxn>
                <a:cxn ang="0">
                  <a:pos x="301" y="46"/>
                </a:cxn>
                <a:cxn ang="0">
                  <a:pos x="305" y="94"/>
                </a:cxn>
                <a:cxn ang="0">
                  <a:pos x="336" y="98"/>
                </a:cxn>
                <a:cxn ang="0">
                  <a:pos x="360" y="133"/>
                </a:cxn>
              </a:cxnLst>
              <a:rect l="0" t="0" r="r" b="b"/>
              <a:pathLst>
                <a:path w="360" h="263">
                  <a:moveTo>
                    <a:pt x="360" y="133"/>
                  </a:moveTo>
                  <a:lnTo>
                    <a:pt x="347" y="181"/>
                  </a:lnTo>
                  <a:lnTo>
                    <a:pt x="297" y="197"/>
                  </a:lnTo>
                  <a:lnTo>
                    <a:pt x="261" y="245"/>
                  </a:lnTo>
                  <a:lnTo>
                    <a:pt x="239" y="248"/>
                  </a:lnTo>
                  <a:lnTo>
                    <a:pt x="201" y="241"/>
                  </a:lnTo>
                  <a:lnTo>
                    <a:pt x="169" y="221"/>
                  </a:lnTo>
                  <a:lnTo>
                    <a:pt x="142" y="221"/>
                  </a:lnTo>
                  <a:lnTo>
                    <a:pt x="119" y="263"/>
                  </a:lnTo>
                  <a:lnTo>
                    <a:pt x="29" y="260"/>
                  </a:lnTo>
                  <a:lnTo>
                    <a:pt x="0" y="240"/>
                  </a:lnTo>
                  <a:lnTo>
                    <a:pt x="15" y="178"/>
                  </a:lnTo>
                  <a:lnTo>
                    <a:pt x="46" y="134"/>
                  </a:lnTo>
                  <a:lnTo>
                    <a:pt x="62" y="99"/>
                  </a:lnTo>
                  <a:lnTo>
                    <a:pt x="74" y="75"/>
                  </a:lnTo>
                  <a:lnTo>
                    <a:pt x="134" y="55"/>
                  </a:lnTo>
                  <a:lnTo>
                    <a:pt x="157" y="31"/>
                  </a:lnTo>
                  <a:lnTo>
                    <a:pt x="180" y="0"/>
                  </a:lnTo>
                  <a:lnTo>
                    <a:pt x="257" y="4"/>
                  </a:lnTo>
                  <a:lnTo>
                    <a:pt x="273" y="30"/>
                  </a:lnTo>
                  <a:lnTo>
                    <a:pt x="301" y="46"/>
                  </a:lnTo>
                  <a:lnTo>
                    <a:pt x="305" y="94"/>
                  </a:lnTo>
                  <a:lnTo>
                    <a:pt x="336" y="98"/>
                  </a:lnTo>
                  <a:lnTo>
                    <a:pt x="360" y="13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9" name="Freeform 209"/>
            <p:cNvSpPr>
              <a:spLocks noChangeAspect="1"/>
            </p:cNvSpPr>
            <p:nvPr/>
          </p:nvSpPr>
          <p:spPr bwMode="auto">
            <a:xfrm>
              <a:off x="330134" y="4035156"/>
              <a:ext cx="209231" cy="172171"/>
            </a:xfrm>
            <a:custGeom>
              <a:avLst/>
              <a:gdLst/>
              <a:ahLst/>
              <a:cxnLst>
                <a:cxn ang="0">
                  <a:pos x="0" y="51"/>
                </a:cxn>
                <a:cxn ang="0">
                  <a:pos x="24" y="19"/>
                </a:cxn>
                <a:cxn ang="0">
                  <a:pos x="79" y="0"/>
                </a:cxn>
                <a:cxn ang="0">
                  <a:pos x="143" y="11"/>
                </a:cxn>
                <a:cxn ang="0">
                  <a:pos x="194" y="11"/>
                </a:cxn>
                <a:cxn ang="0">
                  <a:pos x="240" y="24"/>
                </a:cxn>
                <a:cxn ang="0">
                  <a:pos x="292" y="36"/>
                </a:cxn>
                <a:cxn ang="0">
                  <a:pos x="328" y="71"/>
                </a:cxn>
                <a:cxn ang="0">
                  <a:pos x="341" y="134"/>
                </a:cxn>
                <a:cxn ang="0">
                  <a:pos x="324" y="169"/>
                </a:cxn>
                <a:cxn ang="0">
                  <a:pos x="357" y="197"/>
                </a:cxn>
                <a:cxn ang="0">
                  <a:pos x="305" y="232"/>
                </a:cxn>
                <a:cxn ang="0">
                  <a:pos x="293" y="292"/>
                </a:cxn>
                <a:cxn ang="0">
                  <a:pos x="256" y="281"/>
                </a:cxn>
                <a:cxn ang="0">
                  <a:pos x="229" y="226"/>
                </a:cxn>
                <a:cxn ang="0">
                  <a:pos x="216" y="174"/>
                </a:cxn>
                <a:cxn ang="0">
                  <a:pos x="166" y="147"/>
                </a:cxn>
                <a:cxn ang="0">
                  <a:pos x="126" y="167"/>
                </a:cxn>
                <a:cxn ang="0">
                  <a:pos x="78" y="178"/>
                </a:cxn>
                <a:cxn ang="0">
                  <a:pos x="23" y="119"/>
                </a:cxn>
                <a:cxn ang="0">
                  <a:pos x="0" y="51"/>
                </a:cxn>
              </a:cxnLst>
              <a:rect l="0" t="0" r="r" b="b"/>
              <a:pathLst>
                <a:path w="357" h="292">
                  <a:moveTo>
                    <a:pt x="0" y="51"/>
                  </a:moveTo>
                  <a:lnTo>
                    <a:pt x="24" y="19"/>
                  </a:lnTo>
                  <a:lnTo>
                    <a:pt x="79" y="0"/>
                  </a:lnTo>
                  <a:lnTo>
                    <a:pt x="143" y="11"/>
                  </a:lnTo>
                  <a:lnTo>
                    <a:pt x="194" y="11"/>
                  </a:lnTo>
                  <a:lnTo>
                    <a:pt x="240" y="24"/>
                  </a:lnTo>
                  <a:lnTo>
                    <a:pt x="292" y="36"/>
                  </a:lnTo>
                  <a:lnTo>
                    <a:pt x="328" y="71"/>
                  </a:lnTo>
                  <a:lnTo>
                    <a:pt x="341" y="134"/>
                  </a:lnTo>
                  <a:lnTo>
                    <a:pt x="324" y="169"/>
                  </a:lnTo>
                  <a:lnTo>
                    <a:pt x="357" y="197"/>
                  </a:lnTo>
                  <a:lnTo>
                    <a:pt x="305" y="232"/>
                  </a:lnTo>
                  <a:lnTo>
                    <a:pt x="293" y="292"/>
                  </a:lnTo>
                  <a:lnTo>
                    <a:pt x="256" y="281"/>
                  </a:lnTo>
                  <a:lnTo>
                    <a:pt x="229" y="226"/>
                  </a:lnTo>
                  <a:lnTo>
                    <a:pt x="216" y="174"/>
                  </a:lnTo>
                  <a:lnTo>
                    <a:pt x="166" y="147"/>
                  </a:lnTo>
                  <a:lnTo>
                    <a:pt x="126" y="167"/>
                  </a:lnTo>
                  <a:lnTo>
                    <a:pt x="78" y="178"/>
                  </a:lnTo>
                  <a:lnTo>
                    <a:pt x="23" y="119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0" name="Freeform 210"/>
            <p:cNvSpPr>
              <a:spLocks noChangeAspect="1"/>
            </p:cNvSpPr>
            <p:nvPr/>
          </p:nvSpPr>
          <p:spPr bwMode="auto">
            <a:xfrm>
              <a:off x="651893" y="4095504"/>
              <a:ext cx="98462" cy="175721"/>
            </a:xfrm>
            <a:custGeom>
              <a:avLst/>
              <a:gdLst/>
              <a:ahLst/>
              <a:cxnLst>
                <a:cxn ang="0">
                  <a:pos x="8" y="287"/>
                </a:cxn>
                <a:cxn ang="0">
                  <a:pos x="0" y="212"/>
                </a:cxn>
                <a:cxn ang="0">
                  <a:pos x="8" y="142"/>
                </a:cxn>
                <a:cxn ang="0">
                  <a:pos x="32" y="138"/>
                </a:cxn>
                <a:cxn ang="0">
                  <a:pos x="35" y="101"/>
                </a:cxn>
                <a:cxn ang="0">
                  <a:pos x="8" y="86"/>
                </a:cxn>
                <a:cxn ang="0">
                  <a:pos x="4" y="42"/>
                </a:cxn>
                <a:cxn ang="0">
                  <a:pos x="27" y="0"/>
                </a:cxn>
                <a:cxn ang="0">
                  <a:pos x="54" y="0"/>
                </a:cxn>
                <a:cxn ang="0">
                  <a:pos x="86" y="20"/>
                </a:cxn>
                <a:cxn ang="0">
                  <a:pos x="124" y="27"/>
                </a:cxn>
                <a:cxn ang="0">
                  <a:pos x="130" y="71"/>
                </a:cxn>
                <a:cxn ang="0">
                  <a:pos x="148" y="84"/>
                </a:cxn>
                <a:cxn ang="0">
                  <a:pos x="145" y="123"/>
                </a:cxn>
                <a:cxn ang="0">
                  <a:pos x="153" y="186"/>
                </a:cxn>
                <a:cxn ang="0">
                  <a:pos x="168" y="246"/>
                </a:cxn>
                <a:cxn ang="0">
                  <a:pos x="148" y="268"/>
                </a:cxn>
                <a:cxn ang="0">
                  <a:pos x="113" y="268"/>
                </a:cxn>
                <a:cxn ang="0">
                  <a:pos x="93" y="292"/>
                </a:cxn>
                <a:cxn ang="0">
                  <a:pos x="58" y="296"/>
                </a:cxn>
                <a:cxn ang="0">
                  <a:pos x="8" y="287"/>
                </a:cxn>
              </a:cxnLst>
              <a:rect l="0" t="0" r="r" b="b"/>
              <a:pathLst>
                <a:path w="168" h="296">
                  <a:moveTo>
                    <a:pt x="8" y="287"/>
                  </a:moveTo>
                  <a:lnTo>
                    <a:pt x="0" y="212"/>
                  </a:lnTo>
                  <a:lnTo>
                    <a:pt x="8" y="142"/>
                  </a:lnTo>
                  <a:lnTo>
                    <a:pt x="32" y="138"/>
                  </a:lnTo>
                  <a:lnTo>
                    <a:pt x="35" y="101"/>
                  </a:lnTo>
                  <a:lnTo>
                    <a:pt x="8" y="86"/>
                  </a:lnTo>
                  <a:lnTo>
                    <a:pt x="4" y="42"/>
                  </a:lnTo>
                  <a:lnTo>
                    <a:pt x="27" y="0"/>
                  </a:lnTo>
                  <a:lnTo>
                    <a:pt x="54" y="0"/>
                  </a:lnTo>
                  <a:lnTo>
                    <a:pt x="86" y="20"/>
                  </a:lnTo>
                  <a:lnTo>
                    <a:pt x="124" y="27"/>
                  </a:lnTo>
                  <a:lnTo>
                    <a:pt x="130" y="71"/>
                  </a:lnTo>
                  <a:lnTo>
                    <a:pt x="148" y="84"/>
                  </a:lnTo>
                  <a:lnTo>
                    <a:pt x="145" y="123"/>
                  </a:lnTo>
                  <a:lnTo>
                    <a:pt x="153" y="186"/>
                  </a:lnTo>
                  <a:lnTo>
                    <a:pt x="168" y="246"/>
                  </a:lnTo>
                  <a:lnTo>
                    <a:pt x="148" y="268"/>
                  </a:lnTo>
                  <a:lnTo>
                    <a:pt x="113" y="268"/>
                  </a:lnTo>
                  <a:lnTo>
                    <a:pt x="93" y="292"/>
                  </a:lnTo>
                  <a:lnTo>
                    <a:pt x="58" y="296"/>
                  </a:lnTo>
                  <a:lnTo>
                    <a:pt x="8" y="28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1" name="Freeform 211"/>
            <p:cNvSpPr>
              <a:spLocks noChangeAspect="1"/>
            </p:cNvSpPr>
            <p:nvPr/>
          </p:nvSpPr>
          <p:spPr bwMode="auto">
            <a:xfrm>
              <a:off x="1509916" y="4496644"/>
              <a:ext cx="45714" cy="49699"/>
            </a:xfrm>
            <a:custGeom>
              <a:avLst/>
              <a:gdLst/>
              <a:ahLst/>
              <a:cxnLst>
                <a:cxn ang="0">
                  <a:pos x="42" y="78"/>
                </a:cxn>
                <a:cxn ang="0">
                  <a:pos x="78" y="73"/>
                </a:cxn>
                <a:cxn ang="0">
                  <a:pos x="73" y="22"/>
                </a:cxn>
                <a:cxn ang="0">
                  <a:pos x="61" y="0"/>
                </a:cxn>
                <a:cxn ang="0">
                  <a:pos x="46" y="20"/>
                </a:cxn>
                <a:cxn ang="0">
                  <a:pos x="8" y="20"/>
                </a:cxn>
                <a:cxn ang="0">
                  <a:pos x="0" y="69"/>
                </a:cxn>
                <a:cxn ang="0">
                  <a:pos x="18" y="85"/>
                </a:cxn>
                <a:cxn ang="0">
                  <a:pos x="42" y="78"/>
                </a:cxn>
              </a:cxnLst>
              <a:rect l="0" t="0" r="r" b="b"/>
              <a:pathLst>
                <a:path w="78" h="85">
                  <a:moveTo>
                    <a:pt x="42" y="78"/>
                  </a:moveTo>
                  <a:lnTo>
                    <a:pt x="78" y="73"/>
                  </a:lnTo>
                  <a:lnTo>
                    <a:pt x="73" y="22"/>
                  </a:lnTo>
                  <a:lnTo>
                    <a:pt x="61" y="0"/>
                  </a:lnTo>
                  <a:lnTo>
                    <a:pt x="46" y="20"/>
                  </a:lnTo>
                  <a:lnTo>
                    <a:pt x="8" y="20"/>
                  </a:lnTo>
                  <a:lnTo>
                    <a:pt x="0" y="69"/>
                  </a:lnTo>
                  <a:lnTo>
                    <a:pt x="18" y="85"/>
                  </a:lnTo>
                  <a:lnTo>
                    <a:pt x="42" y="7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2" name="Freeform 212"/>
            <p:cNvSpPr>
              <a:spLocks noChangeAspect="1"/>
            </p:cNvSpPr>
            <p:nvPr/>
          </p:nvSpPr>
          <p:spPr bwMode="auto">
            <a:xfrm>
              <a:off x="1161784" y="5112554"/>
              <a:ext cx="437803" cy="411790"/>
            </a:xfrm>
            <a:custGeom>
              <a:avLst/>
              <a:gdLst/>
              <a:ahLst/>
              <a:cxnLst>
                <a:cxn ang="0">
                  <a:pos x="687" y="29"/>
                </a:cxn>
                <a:cxn ang="0">
                  <a:pos x="638" y="29"/>
                </a:cxn>
                <a:cxn ang="0">
                  <a:pos x="624" y="14"/>
                </a:cxn>
                <a:cxn ang="0">
                  <a:pos x="594" y="0"/>
                </a:cxn>
                <a:cxn ang="0">
                  <a:pos x="581" y="28"/>
                </a:cxn>
                <a:cxn ang="0">
                  <a:pos x="554" y="49"/>
                </a:cxn>
                <a:cxn ang="0">
                  <a:pos x="529" y="77"/>
                </a:cxn>
                <a:cxn ang="0">
                  <a:pos x="493" y="94"/>
                </a:cxn>
                <a:cxn ang="0">
                  <a:pos x="481" y="139"/>
                </a:cxn>
                <a:cxn ang="0">
                  <a:pos x="452" y="146"/>
                </a:cxn>
                <a:cxn ang="0">
                  <a:pos x="433" y="176"/>
                </a:cxn>
                <a:cxn ang="0">
                  <a:pos x="406" y="203"/>
                </a:cxn>
                <a:cxn ang="0">
                  <a:pos x="363" y="203"/>
                </a:cxn>
                <a:cxn ang="0">
                  <a:pos x="333" y="186"/>
                </a:cxn>
                <a:cxn ang="0">
                  <a:pos x="308" y="186"/>
                </a:cxn>
                <a:cxn ang="0">
                  <a:pos x="290" y="208"/>
                </a:cxn>
                <a:cxn ang="0">
                  <a:pos x="280" y="239"/>
                </a:cxn>
                <a:cxn ang="0">
                  <a:pos x="254" y="255"/>
                </a:cxn>
                <a:cxn ang="0">
                  <a:pos x="192" y="241"/>
                </a:cxn>
                <a:cxn ang="0">
                  <a:pos x="181" y="193"/>
                </a:cxn>
                <a:cxn ang="0">
                  <a:pos x="164" y="172"/>
                </a:cxn>
                <a:cxn ang="0">
                  <a:pos x="152" y="350"/>
                </a:cxn>
                <a:cxn ang="0">
                  <a:pos x="124" y="378"/>
                </a:cxn>
                <a:cxn ang="0">
                  <a:pos x="65" y="372"/>
                </a:cxn>
                <a:cxn ang="0">
                  <a:pos x="44" y="334"/>
                </a:cxn>
                <a:cxn ang="0">
                  <a:pos x="34" y="348"/>
                </a:cxn>
                <a:cxn ang="0">
                  <a:pos x="0" y="352"/>
                </a:cxn>
                <a:cxn ang="0">
                  <a:pos x="8" y="373"/>
                </a:cxn>
                <a:cxn ang="0">
                  <a:pos x="8" y="422"/>
                </a:cxn>
                <a:cxn ang="0">
                  <a:pos x="40" y="435"/>
                </a:cxn>
                <a:cxn ang="0">
                  <a:pos x="43" y="497"/>
                </a:cxn>
                <a:cxn ang="0">
                  <a:pos x="64" y="505"/>
                </a:cxn>
                <a:cxn ang="0">
                  <a:pos x="64" y="524"/>
                </a:cxn>
                <a:cxn ang="0">
                  <a:pos x="85" y="525"/>
                </a:cxn>
                <a:cxn ang="0">
                  <a:pos x="78" y="565"/>
                </a:cxn>
                <a:cxn ang="0">
                  <a:pos x="54" y="583"/>
                </a:cxn>
                <a:cxn ang="0">
                  <a:pos x="139" y="689"/>
                </a:cxn>
                <a:cxn ang="0">
                  <a:pos x="192" y="696"/>
                </a:cxn>
                <a:cxn ang="0">
                  <a:pos x="225" y="676"/>
                </a:cxn>
                <a:cxn ang="0">
                  <a:pos x="249" y="640"/>
                </a:cxn>
                <a:cxn ang="0">
                  <a:pos x="343" y="644"/>
                </a:cxn>
                <a:cxn ang="0">
                  <a:pos x="353" y="662"/>
                </a:cxn>
                <a:cxn ang="0">
                  <a:pos x="404" y="638"/>
                </a:cxn>
                <a:cxn ang="0">
                  <a:pos x="428" y="620"/>
                </a:cxn>
                <a:cxn ang="0">
                  <a:pos x="495" y="610"/>
                </a:cxn>
                <a:cxn ang="0">
                  <a:pos x="531" y="589"/>
                </a:cxn>
                <a:cxn ang="0">
                  <a:pos x="562" y="527"/>
                </a:cxn>
                <a:cxn ang="0">
                  <a:pos x="605" y="500"/>
                </a:cxn>
                <a:cxn ang="0">
                  <a:pos x="663" y="446"/>
                </a:cxn>
                <a:cxn ang="0">
                  <a:pos x="673" y="394"/>
                </a:cxn>
                <a:cxn ang="0">
                  <a:pos x="687" y="349"/>
                </a:cxn>
                <a:cxn ang="0">
                  <a:pos x="722" y="343"/>
                </a:cxn>
                <a:cxn ang="0">
                  <a:pos x="748" y="293"/>
                </a:cxn>
                <a:cxn ang="0">
                  <a:pos x="712" y="280"/>
                </a:cxn>
                <a:cxn ang="0">
                  <a:pos x="702" y="242"/>
                </a:cxn>
                <a:cxn ang="0">
                  <a:pos x="684" y="208"/>
                </a:cxn>
                <a:cxn ang="0">
                  <a:pos x="687" y="163"/>
                </a:cxn>
                <a:cxn ang="0">
                  <a:pos x="687" y="108"/>
                </a:cxn>
                <a:cxn ang="0">
                  <a:pos x="687" y="29"/>
                </a:cxn>
              </a:cxnLst>
              <a:rect l="0" t="0" r="r" b="b"/>
              <a:pathLst>
                <a:path w="748" h="696">
                  <a:moveTo>
                    <a:pt x="687" y="29"/>
                  </a:moveTo>
                  <a:lnTo>
                    <a:pt x="638" y="29"/>
                  </a:lnTo>
                  <a:lnTo>
                    <a:pt x="624" y="14"/>
                  </a:lnTo>
                  <a:lnTo>
                    <a:pt x="594" y="0"/>
                  </a:lnTo>
                  <a:lnTo>
                    <a:pt x="581" y="28"/>
                  </a:lnTo>
                  <a:lnTo>
                    <a:pt x="554" y="49"/>
                  </a:lnTo>
                  <a:lnTo>
                    <a:pt x="529" y="77"/>
                  </a:lnTo>
                  <a:lnTo>
                    <a:pt x="493" y="94"/>
                  </a:lnTo>
                  <a:lnTo>
                    <a:pt x="481" y="139"/>
                  </a:lnTo>
                  <a:lnTo>
                    <a:pt x="452" y="146"/>
                  </a:lnTo>
                  <a:lnTo>
                    <a:pt x="433" y="176"/>
                  </a:lnTo>
                  <a:lnTo>
                    <a:pt x="406" y="203"/>
                  </a:lnTo>
                  <a:lnTo>
                    <a:pt x="363" y="203"/>
                  </a:lnTo>
                  <a:lnTo>
                    <a:pt x="333" y="186"/>
                  </a:lnTo>
                  <a:lnTo>
                    <a:pt x="308" y="186"/>
                  </a:lnTo>
                  <a:lnTo>
                    <a:pt x="290" y="208"/>
                  </a:lnTo>
                  <a:lnTo>
                    <a:pt x="280" y="239"/>
                  </a:lnTo>
                  <a:lnTo>
                    <a:pt x="254" y="255"/>
                  </a:lnTo>
                  <a:lnTo>
                    <a:pt x="192" y="241"/>
                  </a:lnTo>
                  <a:lnTo>
                    <a:pt x="181" y="193"/>
                  </a:lnTo>
                  <a:lnTo>
                    <a:pt x="164" y="172"/>
                  </a:lnTo>
                  <a:lnTo>
                    <a:pt x="152" y="350"/>
                  </a:lnTo>
                  <a:lnTo>
                    <a:pt x="124" y="378"/>
                  </a:lnTo>
                  <a:lnTo>
                    <a:pt x="65" y="372"/>
                  </a:lnTo>
                  <a:lnTo>
                    <a:pt x="44" y="334"/>
                  </a:lnTo>
                  <a:lnTo>
                    <a:pt x="34" y="348"/>
                  </a:lnTo>
                  <a:lnTo>
                    <a:pt x="0" y="352"/>
                  </a:lnTo>
                  <a:lnTo>
                    <a:pt x="8" y="373"/>
                  </a:lnTo>
                  <a:lnTo>
                    <a:pt x="8" y="422"/>
                  </a:lnTo>
                  <a:lnTo>
                    <a:pt x="40" y="435"/>
                  </a:lnTo>
                  <a:lnTo>
                    <a:pt x="43" y="497"/>
                  </a:lnTo>
                  <a:lnTo>
                    <a:pt x="64" y="505"/>
                  </a:lnTo>
                  <a:lnTo>
                    <a:pt x="64" y="524"/>
                  </a:lnTo>
                  <a:lnTo>
                    <a:pt x="85" y="525"/>
                  </a:lnTo>
                  <a:lnTo>
                    <a:pt x="78" y="565"/>
                  </a:lnTo>
                  <a:lnTo>
                    <a:pt x="54" y="583"/>
                  </a:lnTo>
                  <a:lnTo>
                    <a:pt x="139" y="689"/>
                  </a:lnTo>
                  <a:lnTo>
                    <a:pt x="192" y="696"/>
                  </a:lnTo>
                  <a:lnTo>
                    <a:pt x="225" y="676"/>
                  </a:lnTo>
                  <a:lnTo>
                    <a:pt x="249" y="640"/>
                  </a:lnTo>
                  <a:lnTo>
                    <a:pt x="343" y="644"/>
                  </a:lnTo>
                  <a:lnTo>
                    <a:pt x="353" y="662"/>
                  </a:lnTo>
                  <a:lnTo>
                    <a:pt x="404" y="638"/>
                  </a:lnTo>
                  <a:lnTo>
                    <a:pt x="428" y="620"/>
                  </a:lnTo>
                  <a:lnTo>
                    <a:pt x="495" y="610"/>
                  </a:lnTo>
                  <a:lnTo>
                    <a:pt x="531" y="589"/>
                  </a:lnTo>
                  <a:lnTo>
                    <a:pt x="562" y="527"/>
                  </a:lnTo>
                  <a:lnTo>
                    <a:pt x="605" y="500"/>
                  </a:lnTo>
                  <a:lnTo>
                    <a:pt x="663" y="446"/>
                  </a:lnTo>
                  <a:lnTo>
                    <a:pt x="673" y="394"/>
                  </a:lnTo>
                  <a:lnTo>
                    <a:pt x="687" y="349"/>
                  </a:lnTo>
                  <a:lnTo>
                    <a:pt x="722" y="343"/>
                  </a:lnTo>
                  <a:lnTo>
                    <a:pt x="748" y="293"/>
                  </a:lnTo>
                  <a:lnTo>
                    <a:pt x="712" y="280"/>
                  </a:lnTo>
                  <a:lnTo>
                    <a:pt x="702" y="242"/>
                  </a:lnTo>
                  <a:lnTo>
                    <a:pt x="684" y="208"/>
                  </a:lnTo>
                  <a:lnTo>
                    <a:pt x="687" y="163"/>
                  </a:lnTo>
                  <a:lnTo>
                    <a:pt x="687" y="108"/>
                  </a:lnTo>
                  <a:lnTo>
                    <a:pt x="687" y="2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3" name="Freeform 213"/>
            <p:cNvSpPr>
              <a:spLocks noChangeAspect="1"/>
            </p:cNvSpPr>
            <p:nvPr/>
          </p:nvSpPr>
          <p:spPr bwMode="auto">
            <a:xfrm>
              <a:off x="1532773" y="4746913"/>
              <a:ext cx="277803" cy="539587"/>
            </a:xfrm>
            <a:custGeom>
              <a:avLst/>
              <a:gdLst/>
              <a:ahLst/>
              <a:cxnLst>
                <a:cxn ang="0">
                  <a:pos x="77" y="899"/>
                </a:cxn>
                <a:cxn ang="0">
                  <a:pos x="49" y="827"/>
                </a:cxn>
                <a:cxn ang="0">
                  <a:pos x="52" y="727"/>
                </a:cxn>
                <a:cxn ang="0">
                  <a:pos x="62" y="613"/>
                </a:cxn>
                <a:cxn ang="0">
                  <a:pos x="86" y="535"/>
                </a:cxn>
                <a:cxn ang="0">
                  <a:pos x="131" y="492"/>
                </a:cxn>
                <a:cxn ang="0">
                  <a:pos x="111" y="417"/>
                </a:cxn>
                <a:cxn ang="0">
                  <a:pos x="103" y="309"/>
                </a:cxn>
                <a:cxn ang="0">
                  <a:pos x="18" y="261"/>
                </a:cxn>
                <a:cxn ang="0">
                  <a:pos x="73" y="239"/>
                </a:cxn>
                <a:cxn ang="0">
                  <a:pos x="123" y="192"/>
                </a:cxn>
                <a:cxn ang="0">
                  <a:pos x="192" y="217"/>
                </a:cxn>
                <a:cxn ang="0">
                  <a:pos x="174" y="299"/>
                </a:cxn>
                <a:cxn ang="0">
                  <a:pos x="225" y="314"/>
                </a:cxn>
                <a:cxn ang="0">
                  <a:pos x="269" y="259"/>
                </a:cxn>
                <a:cxn ang="0">
                  <a:pos x="249" y="186"/>
                </a:cxn>
                <a:cxn ang="0">
                  <a:pos x="217" y="142"/>
                </a:cxn>
                <a:cxn ang="0">
                  <a:pos x="204" y="85"/>
                </a:cxn>
                <a:cxn ang="0">
                  <a:pos x="206" y="0"/>
                </a:cxn>
                <a:cxn ang="0">
                  <a:pos x="253" y="58"/>
                </a:cxn>
                <a:cxn ang="0">
                  <a:pos x="356" y="35"/>
                </a:cxn>
                <a:cxn ang="0">
                  <a:pos x="420" y="16"/>
                </a:cxn>
                <a:cxn ang="0">
                  <a:pos x="472" y="95"/>
                </a:cxn>
                <a:cxn ang="0">
                  <a:pos x="442" y="296"/>
                </a:cxn>
                <a:cxn ang="0">
                  <a:pos x="358" y="338"/>
                </a:cxn>
                <a:cxn ang="0">
                  <a:pos x="320" y="372"/>
                </a:cxn>
                <a:cxn ang="0">
                  <a:pos x="297" y="443"/>
                </a:cxn>
                <a:cxn ang="0">
                  <a:pos x="231" y="472"/>
                </a:cxn>
                <a:cxn ang="0">
                  <a:pos x="216" y="596"/>
                </a:cxn>
                <a:cxn ang="0">
                  <a:pos x="228" y="696"/>
                </a:cxn>
                <a:cxn ang="0">
                  <a:pos x="216" y="743"/>
                </a:cxn>
                <a:cxn ang="0">
                  <a:pos x="176" y="767"/>
                </a:cxn>
                <a:cxn ang="0">
                  <a:pos x="125" y="785"/>
                </a:cxn>
                <a:cxn ang="0">
                  <a:pos x="121" y="851"/>
                </a:cxn>
                <a:cxn ang="0">
                  <a:pos x="113" y="912"/>
                </a:cxn>
              </a:cxnLst>
              <a:rect l="0" t="0" r="r" b="b"/>
              <a:pathLst>
                <a:path w="472" h="912">
                  <a:moveTo>
                    <a:pt x="113" y="912"/>
                  </a:moveTo>
                  <a:lnTo>
                    <a:pt x="77" y="899"/>
                  </a:lnTo>
                  <a:lnTo>
                    <a:pt x="67" y="861"/>
                  </a:lnTo>
                  <a:lnTo>
                    <a:pt x="49" y="827"/>
                  </a:lnTo>
                  <a:lnTo>
                    <a:pt x="52" y="782"/>
                  </a:lnTo>
                  <a:lnTo>
                    <a:pt x="52" y="727"/>
                  </a:lnTo>
                  <a:lnTo>
                    <a:pt x="52" y="648"/>
                  </a:lnTo>
                  <a:lnTo>
                    <a:pt x="62" y="613"/>
                  </a:lnTo>
                  <a:lnTo>
                    <a:pt x="87" y="596"/>
                  </a:lnTo>
                  <a:lnTo>
                    <a:pt x="86" y="535"/>
                  </a:lnTo>
                  <a:lnTo>
                    <a:pt x="115" y="516"/>
                  </a:lnTo>
                  <a:lnTo>
                    <a:pt x="131" y="492"/>
                  </a:lnTo>
                  <a:lnTo>
                    <a:pt x="113" y="451"/>
                  </a:lnTo>
                  <a:lnTo>
                    <a:pt x="111" y="417"/>
                  </a:lnTo>
                  <a:lnTo>
                    <a:pt x="127" y="354"/>
                  </a:lnTo>
                  <a:lnTo>
                    <a:pt x="103" y="309"/>
                  </a:lnTo>
                  <a:lnTo>
                    <a:pt x="38" y="296"/>
                  </a:lnTo>
                  <a:lnTo>
                    <a:pt x="18" y="261"/>
                  </a:lnTo>
                  <a:lnTo>
                    <a:pt x="0" y="255"/>
                  </a:lnTo>
                  <a:lnTo>
                    <a:pt x="73" y="239"/>
                  </a:lnTo>
                  <a:lnTo>
                    <a:pt x="86" y="210"/>
                  </a:lnTo>
                  <a:lnTo>
                    <a:pt x="123" y="192"/>
                  </a:lnTo>
                  <a:lnTo>
                    <a:pt x="156" y="207"/>
                  </a:lnTo>
                  <a:lnTo>
                    <a:pt x="192" y="217"/>
                  </a:lnTo>
                  <a:lnTo>
                    <a:pt x="190" y="252"/>
                  </a:lnTo>
                  <a:lnTo>
                    <a:pt x="174" y="299"/>
                  </a:lnTo>
                  <a:lnTo>
                    <a:pt x="194" y="320"/>
                  </a:lnTo>
                  <a:lnTo>
                    <a:pt x="225" y="314"/>
                  </a:lnTo>
                  <a:lnTo>
                    <a:pt x="239" y="280"/>
                  </a:lnTo>
                  <a:lnTo>
                    <a:pt x="269" y="259"/>
                  </a:lnTo>
                  <a:lnTo>
                    <a:pt x="261" y="217"/>
                  </a:lnTo>
                  <a:lnTo>
                    <a:pt x="249" y="186"/>
                  </a:lnTo>
                  <a:lnTo>
                    <a:pt x="230" y="158"/>
                  </a:lnTo>
                  <a:lnTo>
                    <a:pt x="217" y="142"/>
                  </a:lnTo>
                  <a:lnTo>
                    <a:pt x="197" y="118"/>
                  </a:lnTo>
                  <a:lnTo>
                    <a:pt x="204" y="85"/>
                  </a:lnTo>
                  <a:lnTo>
                    <a:pt x="214" y="45"/>
                  </a:lnTo>
                  <a:lnTo>
                    <a:pt x="206" y="0"/>
                  </a:lnTo>
                  <a:lnTo>
                    <a:pt x="244" y="31"/>
                  </a:lnTo>
                  <a:lnTo>
                    <a:pt x="253" y="58"/>
                  </a:lnTo>
                  <a:lnTo>
                    <a:pt x="346" y="65"/>
                  </a:lnTo>
                  <a:lnTo>
                    <a:pt x="356" y="35"/>
                  </a:lnTo>
                  <a:lnTo>
                    <a:pt x="407" y="35"/>
                  </a:lnTo>
                  <a:lnTo>
                    <a:pt x="420" y="16"/>
                  </a:lnTo>
                  <a:lnTo>
                    <a:pt x="472" y="4"/>
                  </a:lnTo>
                  <a:lnTo>
                    <a:pt x="472" y="95"/>
                  </a:lnTo>
                  <a:lnTo>
                    <a:pt x="472" y="265"/>
                  </a:lnTo>
                  <a:lnTo>
                    <a:pt x="442" y="296"/>
                  </a:lnTo>
                  <a:lnTo>
                    <a:pt x="433" y="326"/>
                  </a:lnTo>
                  <a:lnTo>
                    <a:pt x="358" y="338"/>
                  </a:lnTo>
                  <a:lnTo>
                    <a:pt x="354" y="359"/>
                  </a:lnTo>
                  <a:lnTo>
                    <a:pt x="320" y="372"/>
                  </a:lnTo>
                  <a:lnTo>
                    <a:pt x="304" y="385"/>
                  </a:lnTo>
                  <a:lnTo>
                    <a:pt x="297" y="443"/>
                  </a:lnTo>
                  <a:lnTo>
                    <a:pt x="258" y="452"/>
                  </a:lnTo>
                  <a:lnTo>
                    <a:pt x="231" y="472"/>
                  </a:lnTo>
                  <a:lnTo>
                    <a:pt x="220" y="499"/>
                  </a:lnTo>
                  <a:lnTo>
                    <a:pt x="216" y="596"/>
                  </a:lnTo>
                  <a:lnTo>
                    <a:pt x="228" y="605"/>
                  </a:lnTo>
                  <a:lnTo>
                    <a:pt x="228" y="696"/>
                  </a:lnTo>
                  <a:lnTo>
                    <a:pt x="231" y="737"/>
                  </a:lnTo>
                  <a:lnTo>
                    <a:pt x="216" y="743"/>
                  </a:lnTo>
                  <a:lnTo>
                    <a:pt x="211" y="765"/>
                  </a:lnTo>
                  <a:lnTo>
                    <a:pt x="176" y="767"/>
                  </a:lnTo>
                  <a:lnTo>
                    <a:pt x="169" y="781"/>
                  </a:lnTo>
                  <a:lnTo>
                    <a:pt x="125" y="785"/>
                  </a:lnTo>
                  <a:lnTo>
                    <a:pt x="121" y="820"/>
                  </a:lnTo>
                  <a:lnTo>
                    <a:pt x="121" y="851"/>
                  </a:lnTo>
                  <a:lnTo>
                    <a:pt x="121" y="885"/>
                  </a:lnTo>
                  <a:lnTo>
                    <a:pt x="113" y="9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4" name="Freeform 214"/>
            <p:cNvSpPr>
              <a:spLocks noChangeAspect="1"/>
            </p:cNvSpPr>
            <p:nvPr/>
          </p:nvSpPr>
          <p:spPr bwMode="auto">
            <a:xfrm>
              <a:off x="1520466" y="4457595"/>
              <a:ext cx="290110" cy="328367"/>
            </a:xfrm>
            <a:custGeom>
              <a:avLst/>
              <a:gdLst/>
              <a:ahLst/>
              <a:cxnLst>
                <a:cxn ang="0">
                  <a:pos x="493" y="492"/>
                </a:cxn>
                <a:cxn ang="0">
                  <a:pos x="441" y="504"/>
                </a:cxn>
                <a:cxn ang="0">
                  <a:pos x="428" y="523"/>
                </a:cxn>
                <a:cxn ang="0">
                  <a:pos x="377" y="523"/>
                </a:cxn>
                <a:cxn ang="0">
                  <a:pos x="367" y="553"/>
                </a:cxn>
                <a:cxn ang="0">
                  <a:pos x="274" y="546"/>
                </a:cxn>
                <a:cxn ang="0">
                  <a:pos x="265" y="519"/>
                </a:cxn>
                <a:cxn ang="0">
                  <a:pos x="227" y="488"/>
                </a:cxn>
                <a:cxn ang="0">
                  <a:pos x="191" y="467"/>
                </a:cxn>
                <a:cxn ang="0">
                  <a:pos x="167" y="457"/>
                </a:cxn>
                <a:cxn ang="0">
                  <a:pos x="138" y="413"/>
                </a:cxn>
                <a:cxn ang="0">
                  <a:pos x="97" y="391"/>
                </a:cxn>
                <a:cxn ang="0">
                  <a:pos x="66" y="357"/>
                </a:cxn>
                <a:cxn ang="0">
                  <a:pos x="59" y="332"/>
                </a:cxn>
                <a:cxn ang="0">
                  <a:pos x="25" y="334"/>
                </a:cxn>
                <a:cxn ang="0">
                  <a:pos x="29" y="310"/>
                </a:cxn>
                <a:cxn ang="0">
                  <a:pos x="25" y="278"/>
                </a:cxn>
                <a:cxn ang="0">
                  <a:pos x="15" y="249"/>
                </a:cxn>
                <a:cxn ang="0">
                  <a:pos x="7" y="226"/>
                </a:cxn>
                <a:cxn ang="0">
                  <a:pos x="11" y="182"/>
                </a:cxn>
                <a:cxn ang="0">
                  <a:pos x="0" y="150"/>
                </a:cxn>
                <a:cxn ang="0">
                  <a:pos x="24" y="143"/>
                </a:cxn>
                <a:cxn ang="0">
                  <a:pos x="60" y="138"/>
                </a:cxn>
                <a:cxn ang="0">
                  <a:pos x="55" y="87"/>
                </a:cxn>
                <a:cxn ang="0">
                  <a:pos x="43" y="65"/>
                </a:cxn>
                <a:cxn ang="0">
                  <a:pos x="33" y="13"/>
                </a:cxn>
                <a:cxn ang="0">
                  <a:pos x="56" y="0"/>
                </a:cxn>
                <a:cxn ang="0">
                  <a:pos x="107" y="3"/>
                </a:cxn>
                <a:cxn ang="0">
                  <a:pos x="197" y="0"/>
                </a:cxn>
                <a:cxn ang="0">
                  <a:pos x="232" y="0"/>
                </a:cxn>
                <a:cxn ang="0">
                  <a:pos x="324" y="77"/>
                </a:cxn>
                <a:cxn ang="0">
                  <a:pos x="372" y="91"/>
                </a:cxn>
                <a:cxn ang="0">
                  <a:pos x="377" y="129"/>
                </a:cxn>
                <a:cxn ang="0">
                  <a:pos x="446" y="168"/>
                </a:cxn>
                <a:cxn ang="0">
                  <a:pos x="448" y="194"/>
                </a:cxn>
                <a:cxn ang="0">
                  <a:pos x="449" y="227"/>
                </a:cxn>
                <a:cxn ang="0">
                  <a:pos x="431" y="247"/>
                </a:cxn>
                <a:cxn ang="0">
                  <a:pos x="427" y="281"/>
                </a:cxn>
                <a:cxn ang="0">
                  <a:pos x="452" y="286"/>
                </a:cxn>
                <a:cxn ang="0">
                  <a:pos x="448" y="337"/>
                </a:cxn>
                <a:cxn ang="0">
                  <a:pos x="459" y="391"/>
                </a:cxn>
                <a:cxn ang="0">
                  <a:pos x="462" y="449"/>
                </a:cxn>
                <a:cxn ang="0">
                  <a:pos x="482" y="467"/>
                </a:cxn>
                <a:cxn ang="0">
                  <a:pos x="493" y="492"/>
                </a:cxn>
              </a:cxnLst>
              <a:rect l="0" t="0" r="r" b="b"/>
              <a:pathLst>
                <a:path w="493" h="553">
                  <a:moveTo>
                    <a:pt x="493" y="492"/>
                  </a:moveTo>
                  <a:lnTo>
                    <a:pt x="441" y="504"/>
                  </a:lnTo>
                  <a:lnTo>
                    <a:pt x="428" y="523"/>
                  </a:lnTo>
                  <a:lnTo>
                    <a:pt x="377" y="523"/>
                  </a:lnTo>
                  <a:lnTo>
                    <a:pt x="367" y="553"/>
                  </a:lnTo>
                  <a:lnTo>
                    <a:pt x="274" y="546"/>
                  </a:lnTo>
                  <a:lnTo>
                    <a:pt x="265" y="519"/>
                  </a:lnTo>
                  <a:lnTo>
                    <a:pt x="227" y="488"/>
                  </a:lnTo>
                  <a:lnTo>
                    <a:pt x="191" y="467"/>
                  </a:lnTo>
                  <a:lnTo>
                    <a:pt x="167" y="457"/>
                  </a:lnTo>
                  <a:lnTo>
                    <a:pt x="138" y="413"/>
                  </a:lnTo>
                  <a:lnTo>
                    <a:pt x="97" y="391"/>
                  </a:lnTo>
                  <a:lnTo>
                    <a:pt x="66" y="357"/>
                  </a:lnTo>
                  <a:lnTo>
                    <a:pt x="59" y="332"/>
                  </a:lnTo>
                  <a:lnTo>
                    <a:pt x="25" y="334"/>
                  </a:lnTo>
                  <a:lnTo>
                    <a:pt x="29" y="310"/>
                  </a:lnTo>
                  <a:lnTo>
                    <a:pt x="25" y="278"/>
                  </a:lnTo>
                  <a:lnTo>
                    <a:pt x="15" y="249"/>
                  </a:lnTo>
                  <a:lnTo>
                    <a:pt x="7" y="226"/>
                  </a:lnTo>
                  <a:lnTo>
                    <a:pt x="11" y="182"/>
                  </a:lnTo>
                  <a:lnTo>
                    <a:pt x="0" y="150"/>
                  </a:lnTo>
                  <a:lnTo>
                    <a:pt x="24" y="143"/>
                  </a:lnTo>
                  <a:lnTo>
                    <a:pt x="60" y="138"/>
                  </a:lnTo>
                  <a:lnTo>
                    <a:pt x="55" y="87"/>
                  </a:lnTo>
                  <a:lnTo>
                    <a:pt x="43" y="65"/>
                  </a:lnTo>
                  <a:lnTo>
                    <a:pt x="33" y="13"/>
                  </a:lnTo>
                  <a:lnTo>
                    <a:pt x="56" y="0"/>
                  </a:lnTo>
                  <a:lnTo>
                    <a:pt x="107" y="3"/>
                  </a:lnTo>
                  <a:lnTo>
                    <a:pt x="197" y="0"/>
                  </a:lnTo>
                  <a:lnTo>
                    <a:pt x="232" y="0"/>
                  </a:lnTo>
                  <a:lnTo>
                    <a:pt x="324" y="77"/>
                  </a:lnTo>
                  <a:lnTo>
                    <a:pt x="372" y="91"/>
                  </a:lnTo>
                  <a:lnTo>
                    <a:pt x="377" y="129"/>
                  </a:lnTo>
                  <a:lnTo>
                    <a:pt x="446" y="168"/>
                  </a:lnTo>
                  <a:lnTo>
                    <a:pt x="448" y="194"/>
                  </a:lnTo>
                  <a:lnTo>
                    <a:pt x="449" y="227"/>
                  </a:lnTo>
                  <a:lnTo>
                    <a:pt x="431" y="247"/>
                  </a:lnTo>
                  <a:lnTo>
                    <a:pt x="427" y="281"/>
                  </a:lnTo>
                  <a:lnTo>
                    <a:pt x="452" y="286"/>
                  </a:lnTo>
                  <a:lnTo>
                    <a:pt x="448" y="337"/>
                  </a:lnTo>
                  <a:lnTo>
                    <a:pt x="459" y="391"/>
                  </a:lnTo>
                  <a:lnTo>
                    <a:pt x="462" y="449"/>
                  </a:lnTo>
                  <a:lnTo>
                    <a:pt x="482" y="467"/>
                  </a:lnTo>
                  <a:lnTo>
                    <a:pt x="493" y="49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5" name="Freeform 215"/>
            <p:cNvSpPr>
              <a:spLocks noChangeAspect="1"/>
            </p:cNvSpPr>
            <p:nvPr/>
          </p:nvSpPr>
          <p:spPr bwMode="auto">
            <a:xfrm>
              <a:off x="1831675" y="4049355"/>
              <a:ext cx="58022" cy="55024"/>
            </a:xfrm>
            <a:custGeom>
              <a:avLst/>
              <a:gdLst/>
              <a:ahLst/>
              <a:cxnLst>
                <a:cxn ang="0">
                  <a:pos x="51" y="95"/>
                </a:cxn>
                <a:cxn ang="0">
                  <a:pos x="0" y="88"/>
                </a:cxn>
                <a:cxn ang="0">
                  <a:pos x="8" y="0"/>
                </a:cxn>
                <a:cxn ang="0">
                  <a:pos x="97" y="56"/>
                </a:cxn>
                <a:cxn ang="0">
                  <a:pos x="51" y="95"/>
                </a:cxn>
              </a:cxnLst>
              <a:rect l="0" t="0" r="r" b="b"/>
              <a:pathLst>
                <a:path w="97" h="95">
                  <a:moveTo>
                    <a:pt x="51" y="95"/>
                  </a:moveTo>
                  <a:lnTo>
                    <a:pt x="0" y="88"/>
                  </a:lnTo>
                  <a:lnTo>
                    <a:pt x="8" y="0"/>
                  </a:lnTo>
                  <a:lnTo>
                    <a:pt x="97" y="56"/>
                  </a:lnTo>
                  <a:lnTo>
                    <a:pt x="51" y="9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6" name="Freeform 216"/>
            <p:cNvSpPr>
              <a:spLocks noChangeAspect="1"/>
            </p:cNvSpPr>
            <p:nvPr/>
          </p:nvSpPr>
          <p:spPr bwMode="auto">
            <a:xfrm>
              <a:off x="1430795" y="5325549"/>
              <a:ext cx="68572" cy="69223"/>
            </a:xfrm>
            <a:custGeom>
              <a:avLst/>
              <a:gdLst/>
              <a:ahLst/>
              <a:cxnLst>
                <a:cxn ang="0">
                  <a:pos x="40" y="6"/>
                </a:cxn>
                <a:cxn ang="0">
                  <a:pos x="30" y="32"/>
                </a:cxn>
                <a:cxn ang="0">
                  <a:pos x="0" y="35"/>
                </a:cxn>
                <a:cxn ang="0">
                  <a:pos x="2" y="107"/>
                </a:cxn>
                <a:cxn ang="0">
                  <a:pos x="42" y="103"/>
                </a:cxn>
                <a:cxn ang="0">
                  <a:pos x="51" y="117"/>
                </a:cxn>
                <a:cxn ang="0">
                  <a:pos x="71" y="114"/>
                </a:cxn>
                <a:cxn ang="0">
                  <a:pos x="88" y="96"/>
                </a:cxn>
                <a:cxn ang="0">
                  <a:pos x="95" y="72"/>
                </a:cxn>
                <a:cxn ang="0">
                  <a:pos x="115" y="72"/>
                </a:cxn>
                <a:cxn ang="0">
                  <a:pos x="115" y="3"/>
                </a:cxn>
                <a:cxn ang="0">
                  <a:pos x="74" y="0"/>
                </a:cxn>
                <a:cxn ang="0">
                  <a:pos x="40" y="6"/>
                </a:cxn>
              </a:cxnLst>
              <a:rect l="0" t="0" r="r" b="b"/>
              <a:pathLst>
                <a:path w="115" h="117">
                  <a:moveTo>
                    <a:pt x="40" y="6"/>
                  </a:moveTo>
                  <a:lnTo>
                    <a:pt x="30" y="32"/>
                  </a:lnTo>
                  <a:lnTo>
                    <a:pt x="0" y="35"/>
                  </a:lnTo>
                  <a:lnTo>
                    <a:pt x="2" y="107"/>
                  </a:lnTo>
                  <a:lnTo>
                    <a:pt x="42" y="103"/>
                  </a:lnTo>
                  <a:lnTo>
                    <a:pt x="51" y="117"/>
                  </a:lnTo>
                  <a:lnTo>
                    <a:pt x="71" y="114"/>
                  </a:lnTo>
                  <a:lnTo>
                    <a:pt x="88" y="96"/>
                  </a:lnTo>
                  <a:lnTo>
                    <a:pt x="95" y="72"/>
                  </a:lnTo>
                  <a:lnTo>
                    <a:pt x="115" y="72"/>
                  </a:lnTo>
                  <a:lnTo>
                    <a:pt x="115" y="3"/>
                  </a:lnTo>
                  <a:lnTo>
                    <a:pt x="74" y="0"/>
                  </a:lnTo>
                  <a:lnTo>
                    <a:pt x="40" y="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7" name="Freeform 217"/>
            <p:cNvSpPr>
              <a:spLocks noChangeAspect="1"/>
            </p:cNvSpPr>
            <p:nvPr/>
          </p:nvSpPr>
          <p:spPr bwMode="auto">
            <a:xfrm>
              <a:off x="1858048" y="3831036"/>
              <a:ext cx="269011" cy="204120"/>
            </a:xfrm>
            <a:custGeom>
              <a:avLst/>
              <a:gdLst/>
              <a:ahLst/>
              <a:cxnLst>
                <a:cxn ang="0">
                  <a:pos x="162" y="186"/>
                </a:cxn>
                <a:cxn ang="0">
                  <a:pos x="162" y="146"/>
                </a:cxn>
                <a:cxn ang="0">
                  <a:pos x="162" y="114"/>
                </a:cxn>
                <a:cxn ang="0">
                  <a:pos x="142" y="107"/>
                </a:cxn>
                <a:cxn ang="0">
                  <a:pos x="87" y="103"/>
                </a:cxn>
                <a:cxn ang="0">
                  <a:pos x="35" y="107"/>
                </a:cxn>
                <a:cxn ang="0">
                  <a:pos x="0" y="126"/>
                </a:cxn>
                <a:cxn ang="0">
                  <a:pos x="4" y="229"/>
                </a:cxn>
                <a:cxn ang="0">
                  <a:pos x="4" y="289"/>
                </a:cxn>
                <a:cxn ang="0">
                  <a:pos x="24" y="320"/>
                </a:cxn>
                <a:cxn ang="0">
                  <a:pos x="70" y="344"/>
                </a:cxn>
                <a:cxn ang="0">
                  <a:pos x="107" y="308"/>
                </a:cxn>
                <a:cxn ang="0">
                  <a:pos x="149" y="267"/>
                </a:cxn>
                <a:cxn ang="0">
                  <a:pos x="168" y="249"/>
                </a:cxn>
                <a:cxn ang="0">
                  <a:pos x="284" y="245"/>
                </a:cxn>
                <a:cxn ang="0">
                  <a:pos x="320" y="213"/>
                </a:cxn>
                <a:cxn ang="0">
                  <a:pos x="422" y="193"/>
                </a:cxn>
                <a:cxn ang="0">
                  <a:pos x="422" y="158"/>
                </a:cxn>
                <a:cxn ang="0">
                  <a:pos x="458" y="126"/>
                </a:cxn>
                <a:cxn ang="0">
                  <a:pos x="431" y="55"/>
                </a:cxn>
                <a:cxn ang="0">
                  <a:pos x="410" y="0"/>
                </a:cxn>
                <a:cxn ang="0">
                  <a:pos x="276" y="24"/>
                </a:cxn>
                <a:cxn ang="0">
                  <a:pos x="236" y="70"/>
                </a:cxn>
                <a:cxn ang="0">
                  <a:pos x="221" y="138"/>
                </a:cxn>
                <a:cxn ang="0">
                  <a:pos x="162" y="186"/>
                </a:cxn>
              </a:cxnLst>
              <a:rect l="0" t="0" r="r" b="b"/>
              <a:pathLst>
                <a:path w="458" h="344">
                  <a:moveTo>
                    <a:pt x="162" y="186"/>
                  </a:moveTo>
                  <a:lnTo>
                    <a:pt x="162" y="146"/>
                  </a:lnTo>
                  <a:lnTo>
                    <a:pt x="162" y="114"/>
                  </a:lnTo>
                  <a:lnTo>
                    <a:pt x="142" y="107"/>
                  </a:lnTo>
                  <a:lnTo>
                    <a:pt x="87" y="103"/>
                  </a:lnTo>
                  <a:lnTo>
                    <a:pt x="35" y="107"/>
                  </a:lnTo>
                  <a:lnTo>
                    <a:pt x="0" y="126"/>
                  </a:lnTo>
                  <a:lnTo>
                    <a:pt x="4" y="229"/>
                  </a:lnTo>
                  <a:lnTo>
                    <a:pt x="4" y="289"/>
                  </a:lnTo>
                  <a:lnTo>
                    <a:pt x="24" y="320"/>
                  </a:lnTo>
                  <a:lnTo>
                    <a:pt x="70" y="344"/>
                  </a:lnTo>
                  <a:lnTo>
                    <a:pt x="107" y="308"/>
                  </a:lnTo>
                  <a:lnTo>
                    <a:pt x="149" y="267"/>
                  </a:lnTo>
                  <a:lnTo>
                    <a:pt x="168" y="249"/>
                  </a:lnTo>
                  <a:lnTo>
                    <a:pt x="284" y="245"/>
                  </a:lnTo>
                  <a:lnTo>
                    <a:pt x="320" y="213"/>
                  </a:lnTo>
                  <a:lnTo>
                    <a:pt x="422" y="193"/>
                  </a:lnTo>
                  <a:lnTo>
                    <a:pt x="422" y="158"/>
                  </a:lnTo>
                  <a:lnTo>
                    <a:pt x="458" y="126"/>
                  </a:lnTo>
                  <a:lnTo>
                    <a:pt x="431" y="55"/>
                  </a:lnTo>
                  <a:lnTo>
                    <a:pt x="410" y="0"/>
                  </a:lnTo>
                  <a:lnTo>
                    <a:pt x="276" y="24"/>
                  </a:lnTo>
                  <a:lnTo>
                    <a:pt x="236" y="70"/>
                  </a:lnTo>
                  <a:lnTo>
                    <a:pt x="221" y="138"/>
                  </a:lnTo>
                  <a:lnTo>
                    <a:pt x="162" y="18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8" name="Freeform 218"/>
            <p:cNvSpPr>
              <a:spLocks noChangeAspect="1"/>
            </p:cNvSpPr>
            <p:nvPr/>
          </p:nvSpPr>
          <p:spPr bwMode="auto">
            <a:xfrm>
              <a:off x="1858048" y="3831036"/>
              <a:ext cx="269011" cy="204120"/>
            </a:xfrm>
            <a:custGeom>
              <a:avLst/>
              <a:gdLst/>
              <a:ahLst/>
              <a:cxnLst>
                <a:cxn ang="0">
                  <a:pos x="162" y="186"/>
                </a:cxn>
                <a:cxn ang="0">
                  <a:pos x="162" y="146"/>
                </a:cxn>
                <a:cxn ang="0">
                  <a:pos x="162" y="114"/>
                </a:cxn>
                <a:cxn ang="0">
                  <a:pos x="142" y="107"/>
                </a:cxn>
                <a:cxn ang="0">
                  <a:pos x="87" y="103"/>
                </a:cxn>
                <a:cxn ang="0">
                  <a:pos x="35" y="107"/>
                </a:cxn>
                <a:cxn ang="0">
                  <a:pos x="0" y="126"/>
                </a:cxn>
                <a:cxn ang="0">
                  <a:pos x="4" y="229"/>
                </a:cxn>
                <a:cxn ang="0">
                  <a:pos x="4" y="289"/>
                </a:cxn>
                <a:cxn ang="0">
                  <a:pos x="24" y="320"/>
                </a:cxn>
                <a:cxn ang="0">
                  <a:pos x="70" y="344"/>
                </a:cxn>
                <a:cxn ang="0">
                  <a:pos x="107" y="308"/>
                </a:cxn>
                <a:cxn ang="0">
                  <a:pos x="149" y="267"/>
                </a:cxn>
                <a:cxn ang="0">
                  <a:pos x="168" y="249"/>
                </a:cxn>
                <a:cxn ang="0">
                  <a:pos x="284" y="245"/>
                </a:cxn>
                <a:cxn ang="0">
                  <a:pos x="320" y="213"/>
                </a:cxn>
                <a:cxn ang="0">
                  <a:pos x="422" y="193"/>
                </a:cxn>
                <a:cxn ang="0">
                  <a:pos x="422" y="158"/>
                </a:cxn>
                <a:cxn ang="0">
                  <a:pos x="458" y="126"/>
                </a:cxn>
                <a:cxn ang="0">
                  <a:pos x="431" y="55"/>
                </a:cxn>
                <a:cxn ang="0">
                  <a:pos x="410" y="0"/>
                </a:cxn>
                <a:cxn ang="0">
                  <a:pos x="276" y="24"/>
                </a:cxn>
                <a:cxn ang="0">
                  <a:pos x="236" y="70"/>
                </a:cxn>
                <a:cxn ang="0">
                  <a:pos x="221" y="138"/>
                </a:cxn>
                <a:cxn ang="0">
                  <a:pos x="162" y="186"/>
                </a:cxn>
              </a:cxnLst>
              <a:rect l="0" t="0" r="r" b="b"/>
              <a:pathLst>
                <a:path w="458" h="344">
                  <a:moveTo>
                    <a:pt x="162" y="186"/>
                  </a:moveTo>
                  <a:lnTo>
                    <a:pt x="162" y="146"/>
                  </a:lnTo>
                  <a:lnTo>
                    <a:pt x="162" y="114"/>
                  </a:lnTo>
                  <a:lnTo>
                    <a:pt x="142" y="107"/>
                  </a:lnTo>
                  <a:lnTo>
                    <a:pt x="87" y="103"/>
                  </a:lnTo>
                  <a:lnTo>
                    <a:pt x="35" y="107"/>
                  </a:lnTo>
                  <a:lnTo>
                    <a:pt x="0" y="126"/>
                  </a:lnTo>
                  <a:lnTo>
                    <a:pt x="4" y="229"/>
                  </a:lnTo>
                  <a:lnTo>
                    <a:pt x="4" y="289"/>
                  </a:lnTo>
                  <a:lnTo>
                    <a:pt x="24" y="320"/>
                  </a:lnTo>
                  <a:lnTo>
                    <a:pt x="70" y="344"/>
                  </a:lnTo>
                  <a:lnTo>
                    <a:pt x="107" y="308"/>
                  </a:lnTo>
                  <a:lnTo>
                    <a:pt x="149" y="267"/>
                  </a:lnTo>
                  <a:lnTo>
                    <a:pt x="168" y="249"/>
                  </a:lnTo>
                  <a:lnTo>
                    <a:pt x="284" y="245"/>
                  </a:lnTo>
                  <a:lnTo>
                    <a:pt x="320" y="213"/>
                  </a:lnTo>
                  <a:lnTo>
                    <a:pt x="422" y="193"/>
                  </a:lnTo>
                  <a:lnTo>
                    <a:pt x="422" y="158"/>
                  </a:lnTo>
                  <a:lnTo>
                    <a:pt x="458" y="126"/>
                  </a:lnTo>
                  <a:lnTo>
                    <a:pt x="431" y="55"/>
                  </a:lnTo>
                  <a:lnTo>
                    <a:pt x="410" y="0"/>
                  </a:lnTo>
                  <a:lnTo>
                    <a:pt x="276" y="24"/>
                  </a:lnTo>
                  <a:lnTo>
                    <a:pt x="236" y="70"/>
                  </a:lnTo>
                  <a:lnTo>
                    <a:pt x="221" y="138"/>
                  </a:lnTo>
                  <a:lnTo>
                    <a:pt x="162" y="186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9" name="Freeform 219"/>
            <p:cNvSpPr>
              <a:spLocks noChangeAspect="1"/>
            </p:cNvSpPr>
            <p:nvPr/>
          </p:nvSpPr>
          <p:spPr bwMode="auto">
            <a:xfrm>
              <a:off x="1304202" y="4654615"/>
              <a:ext cx="320000" cy="323042"/>
            </a:xfrm>
            <a:custGeom>
              <a:avLst/>
              <a:gdLst/>
              <a:ahLst/>
              <a:cxnLst>
                <a:cxn ang="0">
                  <a:pos x="185" y="545"/>
                </a:cxn>
                <a:cxn ang="0">
                  <a:pos x="213" y="535"/>
                </a:cxn>
                <a:cxn ang="0">
                  <a:pos x="254" y="535"/>
                </a:cxn>
                <a:cxn ang="0">
                  <a:pos x="281" y="525"/>
                </a:cxn>
                <a:cxn ang="0">
                  <a:pos x="287" y="493"/>
                </a:cxn>
                <a:cxn ang="0">
                  <a:pos x="310" y="486"/>
                </a:cxn>
                <a:cxn ang="0">
                  <a:pos x="328" y="474"/>
                </a:cxn>
                <a:cxn ang="0">
                  <a:pos x="332" y="442"/>
                </a:cxn>
                <a:cxn ang="0">
                  <a:pos x="374" y="436"/>
                </a:cxn>
                <a:cxn ang="0">
                  <a:pos x="391" y="411"/>
                </a:cxn>
                <a:cxn ang="0">
                  <a:pos x="464" y="395"/>
                </a:cxn>
                <a:cxn ang="0">
                  <a:pos x="477" y="366"/>
                </a:cxn>
                <a:cxn ang="0">
                  <a:pos x="514" y="348"/>
                </a:cxn>
                <a:cxn ang="0">
                  <a:pos x="519" y="263"/>
                </a:cxn>
                <a:cxn ang="0">
                  <a:pos x="546" y="241"/>
                </a:cxn>
                <a:cxn ang="0">
                  <a:pos x="533" y="187"/>
                </a:cxn>
                <a:cxn ang="0">
                  <a:pos x="537" y="125"/>
                </a:cxn>
                <a:cxn ang="0">
                  <a:pos x="508" y="81"/>
                </a:cxn>
                <a:cxn ang="0">
                  <a:pos x="467" y="59"/>
                </a:cxn>
                <a:cxn ang="0">
                  <a:pos x="436" y="25"/>
                </a:cxn>
                <a:cxn ang="0">
                  <a:pos x="429" y="0"/>
                </a:cxn>
                <a:cxn ang="0">
                  <a:pos x="395" y="2"/>
                </a:cxn>
                <a:cxn ang="0">
                  <a:pos x="388" y="29"/>
                </a:cxn>
                <a:cxn ang="0">
                  <a:pos x="352" y="45"/>
                </a:cxn>
                <a:cxn ang="0">
                  <a:pos x="334" y="77"/>
                </a:cxn>
                <a:cxn ang="0">
                  <a:pos x="322" y="215"/>
                </a:cxn>
                <a:cxn ang="0">
                  <a:pos x="342" y="235"/>
                </a:cxn>
                <a:cxn ang="0">
                  <a:pos x="374" y="239"/>
                </a:cxn>
                <a:cxn ang="0">
                  <a:pos x="381" y="294"/>
                </a:cxn>
                <a:cxn ang="0">
                  <a:pos x="370" y="324"/>
                </a:cxn>
                <a:cxn ang="0">
                  <a:pos x="320" y="326"/>
                </a:cxn>
                <a:cxn ang="0">
                  <a:pos x="301" y="302"/>
                </a:cxn>
                <a:cxn ang="0">
                  <a:pos x="291" y="253"/>
                </a:cxn>
                <a:cxn ang="0">
                  <a:pos x="254" y="233"/>
                </a:cxn>
                <a:cxn ang="0">
                  <a:pos x="249" y="215"/>
                </a:cxn>
                <a:cxn ang="0">
                  <a:pos x="213" y="224"/>
                </a:cxn>
                <a:cxn ang="0">
                  <a:pos x="199" y="251"/>
                </a:cxn>
                <a:cxn ang="0">
                  <a:pos x="178" y="243"/>
                </a:cxn>
                <a:cxn ang="0">
                  <a:pos x="164" y="195"/>
                </a:cxn>
                <a:cxn ang="0">
                  <a:pos x="115" y="190"/>
                </a:cxn>
                <a:cxn ang="0">
                  <a:pos x="109" y="297"/>
                </a:cxn>
                <a:cxn ang="0">
                  <a:pos x="67" y="297"/>
                </a:cxn>
                <a:cxn ang="0">
                  <a:pos x="51" y="269"/>
                </a:cxn>
                <a:cxn ang="0">
                  <a:pos x="33" y="270"/>
                </a:cxn>
                <a:cxn ang="0">
                  <a:pos x="32" y="297"/>
                </a:cxn>
                <a:cxn ang="0">
                  <a:pos x="2" y="300"/>
                </a:cxn>
                <a:cxn ang="0">
                  <a:pos x="0" y="422"/>
                </a:cxn>
                <a:cxn ang="0">
                  <a:pos x="5" y="462"/>
                </a:cxn>
                <a:cxn ang="0">
                  <a:pos x="40" y="508"/>
                </a:cxn>
                <a:cxn ang="0">
                  <a:pos x="41" y="531"/>
                </a:cxn>
                <a:cxn ang="0">
                  <a:pos x="65" y="538"/>
                </a:cxn>
                <a:cxn ang="0">
                  <a:pos x="185" y="545"/>
                </a:cxn>
              </a:cxnLst>
              <a:rect l="0" t="0" r="r" b="b"/>
              <a:pathLst>
                <a:path w="546" h="545">
                  <a:moveTo>
                    <a:pt x="185" y="545"/>
                  </a:moveTo>
                  <a:lnTo>
                    <a:pt x="213" y="535"/>
                  </a:lnTo>
                  <a:lnTo>
                    <a:pt x="254" y="535"/>
                  </a:lnTo>
                  <a:lnTo>
                    <a:pt x="281" y="525"/>
                  </a:lnTo>
                  <a:lnTo>
                    <a:pt x="287" y="493"/>
                  </a:lnTo>
                  <a:lnTo>
                    <a:pt x="310" y="486"/>
                  </a:lnTo>
                  <a:lnTo>
                    <a:pt x="328" y="474"/>
                  </a:lnTo>
                  <a:lnTo>
                    <a:pt x="332" y="442"/>
                  </a:lnTo>
                  <a:lnTo>
                    <a:pt x="374" y="436"/>
                  </a:lnTo>
                  <a:lnTo>
                    <a:pt x="391" y="411"/>
                  </a:lnTo>
                  <a:lnTo>
                    <a:pt x="464" y="395"/>
                  </a:lnTo>
                  <a:lnTo>
                    <a:pt x="477" y="366"/>
                  </a:lnTo>
                  <a:lnTo>
                    <a:pt x="514" y="348"/>
                  </a:lnTo>
                  <a:lnTo>
                    <a:pt x="519" y="263"/>
                  </a:lnTo>
                  <a:lnTo>
                    <a:pt x="546" y="241"/>
                  </a:lnTo>
                  <a:lnTo>
                    <a:pt x="533" y="187"/>
                  </a:lnTo>
                  <a:lnTo>
                    <a:pt x="537" y="125"/>
                  </a:lnTo>
                  <a:lnTo>
                    <a:pt x="508" y="81"/>
                  </a:lnTo>
                  <a:lnTo>
                    <a:pt x="467" y="59"/>
                  </a:lnTo>
                  <a:lnTo>
                    <a:pt x="436" y="25"/>
                  </a:lnTo>
                  <a:lnTo>
                    <a:pt x="429" y="0"/>
                  </a:lnTo>
                  <a:lnTo>
                    <a:pt x="395" y="2"/>
                  </a:lnTo>
                  <a:lnTo>
                    <a:pt x="388" y="29"/>
                  </a:lnTo>
                  <a:lnTo>
                    <a:pt x="352" y="45"/>
                  </a:lnTo>
                  <a:lnTo>
                    <a:pt x="334" y="77"/>
                  </a:lnTo>
                  <a:lnTo>
                    <a:pt x="322" y="215"/>
                  </a:lnTo>
                  <a:lnTo>
                    <a:pt x="342" y="235"/>
                  </a:lnTo>
                  <a:lnTo>
                    <a:pt x="374" y="239"/>
                  </a:lnTo>
                  <a:lnTo>
                    <a:pt x="381" y="294"/>
                  </a:lnTo>
                  <a:lnTo>
                    <a:pt x="370" y="324"/>
                  </a:lnTo>
                  <a:lnTo>
                    <a:pt x="320" y="326"/>
                  </a:lnTo>
                  <a:lnTo>
                    <a:pt x="301" y="302"/>
                  </a:lnTo>
                  <a:lnTo>
                    <a:pt x="291" y="253"/>
                  </a:lnTo>
                  <a:lnTo>
                    <a:pt x="254" y="233"/>
                  </a:lnTo>
                  <a:lnTo>
                    <a:pt x="249" y="215"/>
                  </a:lnTo>
                  <a:lnTo>
                    <a:pt x="213" y="224"/>
                  </a:lnTo>
                  <a:lnTo>
                    <a:pt x="199" y="251"/>
                  </a:lnTo>
                  <a:lnTo>
                    <a:pt x="178" y="243"/>
                  </a:lnTo>
                  <a:lnTo>
                    <a:pt x="164" y="195"/>
                  </a:lnTo>
                  <a:lnTo>
                    <a:pt x="115" y="190"/>
                  </a:lnTo>
                  <a:lnTo>
                    <a:pt x="109" y="297"/>
                  </a:lnTo>
                  <a:lnTo>
                    <a:pt x="67" y="297"/>
                  </a:lnTo>
                  <a:lnTo>
                    <a:pt x="51" y="269"/>
                  </a:lnTo>
                  <a:lnTo>
                    <a:pt x="33" y="270"/>
                  </a:lnTo>
                  <a:lnTo>
                    <a:pt x="32" y="297"/>
                  </a:lnTo>
                  <a:lnTo>
                    <a:pt x="2" y="300"/>
                  </a:lnTo>
                  <a:lnTo>
                    <a:pt x="0" y="422"/>
                  </a:lnTo>
                  <a:lnTo>
                    <a:pt x="5" y="462"/>
                  </a:lnTo>
                  <a:lnTo>
                    <a:pt x="40" y="508"/>
                  </a:lnTo>
                  <a:lnTo>
                    <a:pt x="41" y="531"/>
                  </a:lnTo>
                  <a:lnTo>
                    <a:pt x="65" y="538"/>
                  </a:lnTo>
                  <a:lnTo>
                    <a:pt x="185" y="54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0" name="Freeform 220"/>
            <p:cNvSpPr>
              <a:spLocks noChangeAspect="1"/>
            </p:cNvSpPr>
            <p:nvPr/>
          </p:nvSpPr>
          <p:spPr bwMode="auto">
            <a:xfrm>
              <a:off x="1082663" y="3717439"/>
              <a:ext cx="286594" cy="486338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83" y="27"/>
                </a:cxn>
                <a:cxn ang="0">
                  <a:pos x="93" y="47"/>
                </a:cxn>
                <a:cxn ang="0">
                  <a:pos x="113" y="96"/>
                </a:cxn>
                <a:cxn ang="0">
                  <a:pos x="96" y="346"/>
                </a:cxn>
                <a:cxn ang="0">
                  <a:pos x="65" y="354"/>
                </a:cxn>
                <a:cxn ang="0">
                  <a:pos x="47" y="383"/>
                </a:cxn>
                <a:cxn ang="0">
                  <a:pos x="17" y="403"/>
                </a:cxn>
                <a:cxn ang="0">
                  <a:pos x="0" y="427"/>
                </a:cxn>
                <a:cxn ang="0">
                  <a:pos x="1" y="473"/>
                </a:cxn>
                <a:cxn ang="0">
                  <a:pos x="21" y="472"/>
                </a:cxn>
                <a:cxn ang="0">
                  <a:pos x="29" y="501"/>
                </a:cxn>
                <a:cxn ang="0">
                  <a:pos x="42" y="527"/>
                </a:cxn>
                <a:cxn ang="0">
                  <a:pos x="64" y="570"/>
                </a:cxn>
                <a:cxn ang="0">
                  <a:pos x="64" y="596"/>
                </a:cxn>
                <a:cxn ang="0">
                  <a:pos x="44" y="606"/>
                </a:cxn>
                <a:cxn ang="0">
                  <a:pos x="54" y="614"/>
                </a:cxn>
                <a:cxn ang="0">
                  <a:pos x="64" y="644"/>
                </a:cxn>
                <a:cxn ang="0">
                  <a:pos x="80" y="665"/>
                </a:cxn>
                <a:cxn ang="0">
                  <a:pos x="76" y="689"/>
                </a:cxn>
                <a:cxn ang="0">
                  <a:pos x="54" y="703"/>
                </a:cxn>
                <a:cxn ang="0">
                  <a:pos x="57" y="728"/>
                </a:cxn>
                <a:cxn ang="0">
                  <a:pos x="91" y="772"/>
                </a:cxn>
                <a:cxn ang="0">
                  <a:pos x="115" y="821"/>
                </a:cxn>
                <a:cxn ang="0">
                  <a:pos x="142" y="807"/>
                </a:cxn>
                <a:cxn ang="0">
                  <a:pos x="184" y="811"/>
                </a:cxn>
                <a:cxn ang="0">
                  <a:pos x="198" y="782"/>
                </a:cxn>
                <a:cxn ang="0">
                  <a:pos x="248" y="778"/>
                </a:cxn>
                <a:cxn ang="0">
                  <a:pos x="271" y="745"/>
                </a:cxn>
                <a:cxn ang="0">
                  <a:pos x="315" y="735"/>
                </a:cxn>
                <a:cxn ang="0">
                  <a:pos x="331" y="703"/>
                </a:cxn>
                <a:cxn ang="0">
                  <a:pos x="360" y="689"/>
                </a:cxn>
                <a:cxn ang="0">
                  <a:pos x="380" y="651"/>
                </a:cxn>
                <a:cxn ang="0">
                  <a:pos x="410" y="624"/>
                </a:cxn>
                <a:cxn ang="0">
                  <a:pos x="432" y="616"/>
                </a:cxn>
                <a:cxn ang="0">
                  <a:pos x="442" y="600"/>
                </a:cxn>
                <a:cxn ang="0">
                  <a:pos x="439" y="578"/>
                </a:cxn>
                <a:cxn ang="0">
                  <a:pos x="419" y="568"/>
                </a:cxn>
                <a:cxn ang="0">
                  <a:pos x="411" y="532"/>
                </a:cxn>
                <a:cxn ang="0">
                  <a:pos x="378" y="518"/>
                </a:cxn>
                <a:cxn ang="0">
                  <a:pos x="383" y="489"/>
                </a:cxn>
                <a:cxn ang="0">
                  <a:pos x="415" y="487"/>
                </a:cxn>
                <a:cxn ang="0">
                  <a:pos x="428" y="439"/>
                </a:cxn>
                <a:cxn ang="0">
                  <a:pos x="455" y="389"/>
                </a:cxn>
                <a:cxn ang="0">
                  <a:pos x="484" y="379"/>
                </a:cxn>
                <a:cxn ang="0">
                  <a:pos x="489" y="244"/>
                </a:cxn>
                <a:cxn ang="0">
                  <a:pos x="457" y="241"/>
                </a:cxn>
                <a:cxn ang="0">
                  <a:pos x="383" y="180"/>
                </a:cxn>
                <a:cxn ang="0">
                  <a:pos x="350" y="163"/>
                </a:cxn>
                <a:cxn ang="0">
                  <a:pos x="281" y="129"/>
                </a:cxn>
                <a:cxn ang="0">
                  <a:pos x="257" y="88"/>
                </a:cxn>
                <a:cxn ang="0">
                  <a:pos x="178" y="76"/>
                </a:cxn>
                <a:cxn ang="0">
                  <a:pos x="163" y="36"/>
                </a:cxn>
                <a:cxn ang="0">
                  <a:pos x="123" y="22"/>
                </a:cxn>
                <a:cxn ang="0">
                  <a:pos x="119" y="5"/>
                </a:cxn>
                <a:cxn ang="0">
                  <a:pos x="76" y="0"/>
                </a:cxn>
              </a:cxnLst>
              <a:rect l="0" t="0" r="r" b="b"/>
              <a:pathLst>
                <a:path w="489" h="821">
                  <a:moveTo>
                    <a:pt x="76" y="0"/>
                  </a:moveTo>
                  <a:lnTo>
                    <a:pt x="83" y="27"/>
                  </a:lnTo>
                  <a:lnTo>
                    <a:pt x="93" y="47"/>
                  </a:lnTo>
                  <a:lnTo>
                    <a:pt x="113" y="96"/>
                  </a:lnTo>
                  <a:lnTo>
                    <a:pt x="96" y="346"/>
                  </a:lnTo>
                  <a:lnTo>
                    <a:pt x="65" y="354"/>
                  </a:lnTo>
                  <a:lnTo>
                    <a:pt x="47" y="383"/>
                  </a:lnTo>
                  <a:lnTo>
                    <a:pt x="17" y="403"/>
                  </a:lnTo>
                  <a:lnTo>
                    <a:pt x="0" y="427"/>
                  </a:lnTo>
                  <a:lnTo>
                    <a:pt x="1" y="473"/>
                  </a:lnTo>
                  <a:lnTo>
                    <a:pt x="21" y="472"/>
                  </a:lnTo>
                  <a:lnTo>
                    <a:pt x="29" y="501"/>
                  </a:lnTo>
                  <a:lnTo>
                    <a:pt x="42" y="527"/>
                  </a:lnTo>
                  <a:lnTo>
                    <a:pt x="64" y="570"/>
                  </a:lnTo>
                  <a:lnTo>
                    <a:pt x="64" y="596"/>
                  </a:lnTo>
                  <a:lnTo>
                    <a:pt x="44" y="606"/>
                  </a:lnTo>
                  <a:lnTo>
                    <a:pt x="54" y="614"/>
                  </a:lnTo>
                  <a:lnTo>
                    <a:pt x="64" y="644"/>
                  </a:lnTo>
                  <a:lnTo>
                    <a:pt x="80" y="665"/>
                  </a:lnTo>
                  <a:lnTo>
                    <a:pt x="76" y="689"/>
                  </a:lnTo>
                  <a:lnTo>
                    <a:pt x="54" y="703"/>
                  </a:lnTo>
                  <a:lnTo>
                    <a:pt x="57" y="728"/>
                  </a:lnTo>
                  <a:lnTo>
                    <a:pt x="91" y="772"/>
                  </a:lnTo>
                  <a:lnTo>
                    <a:pt x="115" y="821"/>
                  </a:lnTo>
                  <a:lnTo>
                    <a:pt x="142" y="807"/>
                  </a:lnTo>
                  <a:lnTo>
                    <a:pt x="184" y="811"/>
                  </a:lnTo>
                  <a:lnTo>
                    <a:pt x="198" y="782"/>
                  </a:lnTo>
                  <a:lnTo>
                    <a:pt x="248" y="778"/>
                  </a:lnTo>
                  <a:lnTo>
                    <a:pt x="271" y="745"/>
                  </a:lnTo>
                  <a:lnTo>
                    <a:pt x="315" y="735"/>
                  </a:lnTo>
                  <a:lnTo>
                    <a:pt x="331" y="703"/>
                  </a:lnTo>
                  <a:lnTo>
                    <a:pt x="360" y="689"/>
                  </a:lnTo>
                  <a:lnTo>
                    <a:pt x="380" y="651"/>
                  </a:lnTo>
                  <a:lnTo>
                    <a:pt x="410" y="624"/>
                  </a:lnTo>
                  <a:lnTo>
                    <a:pt x="432" y="616"/>
                  </a:lnTo>
                  <a:lnTo>
                    <a:pt x="442" y="600"/>
                  </a:lnTo>
                  <a:lnTo>
                    <a:pt x="439" y="578"/>
                  </a:lnTo>
                  <a:lnTo>
                    <a:pt x="419" y="568"/>
                  </a:lnTo>
                  <a:lnTo>
                    <a:pt x="411" y="532"/>
                  </a:lnTo>
                  <a:lnTo>
                    <a:pt x="378" y="518"/>
                  </a:lnTo>
                  <a:lnTo>
                    <a:pt x="383" y="489"/>
                  </a:lnTo>
                  <a:lnTo>
                    <a:pt x="415" y="487"/>
                  </a:lnTo>
                  <a:lnTo>
                    <a:pt x="428" y="439"/>
                  </a:lnTo>
                  <a:lnTo>
                    <a:pt x="455" y="389"/>
                  </a:lnTo>
                  <a:lnTo>
                    <a:pt x="484" y="379"/>
                  </a:lnTo>
                  <a:lnTo>
                    <a:pt x="489" y="244"/>
                  </a:lnTo>
                  <a:lnTo>
                    <a:pt x="457" y="241"/>
                  </a:lnTo>
                  <a:lnTo>
                    <a:pt x="383" y="180"/>
                  </a:lnTo>
                  <a:lnTo>
                    <a:pt x="350" y="163"/>
                  </a:lnTo>
                  <a:lnTo>
                    <a:pt x="281" y="129"/>
                  </a:lnTo>
                  <a:lnTo>
                    <a:pt x="257" y="88"/>
                  </a:lnTo>
                  <a:lnTo>
                    <a:pt x="178" y="76"/>
                  </a:lnTo>
                  <a:lnTo>
                    <a:pt x="163" y="36"/>
                  </a:lnTo>
                  <a:lnTo>
                    <a:pt x="123" y="22"/>
                  </a:lnTo>
                  <a:lnTo>
                    <a:pt x="119" y="5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1" name="Freeform 221"/>
            <p:cNvSpPr>
              <a:spLocks noChangeAspect="1"/>
            </p:cNvSpPr>
            <p:nvPr/>
          </p:nvSpPr>
          <p:spPr bwMode="auto">
            <a:xfrm>
              <a:off x="734531" y="3694364"/>
              <a:ext cx="414946" cy="349666"/>
            </a:xfrm>
            <a:custGeom>
              <a:avLst/>
              <a:gdLst/>
              <a:ahLst/>
              <a:cxnLst>
                <a:cxn ang="0">
                  <a:pos x="161" y="585"/>
                </a:cxn>
                <a:cxn ang="0">
                  <a:pos x="175" y="561"/>
                </a:cxn>
                <a:cxn ang="0">
                  <a:pos x="192" y="527"/>
                </a:cxn>
                <a:cxn ang="0">
                  <a:pos x="234" y="516"/>
                </a:cxn>
                <a:cxn ang="0">
                  <a:pos x="271" y="522"/>
                </a:cxn>
                <a:cxn ang="0">
                  <a:pos x="290" y="554"/>
                </a:cxn>
                <a:cxn ang="0">
                  <a:pos x="295" y="534"/>
                </a:cxn>
                <a:cxn ang="0">
                  <a:pos x="352" y="527"/>
                </a:cxn>
                <a:cxn ang="0">
                  <a:pos x="385" y="524"/>
                </a:cxn>
                <a:cxn ang="0">
                  <a:pos x="413" y="550"/>
                </a:cxn>
                <a:cxn ang="0">
                  <a:pos x="451" y="554"/>
                </a:cxn>
                <a:cxn ang="0">
                  <a:pos x="457" y="527"/>
                </a:cxn>
                <a:cxn ang="0">
                  <a:pos x="517" y="530"/>
                </a:cxn>
                <a:cxn ang="0">
                  <a:pos x="540" y="555"/>
                </a:cxn>
                <a:cxn ang="0">
                  <a:pos x="561" y="530"/>
                </a:cxn>
                <a:cxn ang="0">
                  <a:pos x="594" y="511"/>
                </a:cxn>
                <a:cxn ang="0">
                  <a:pos x="593" y="465"/>
                </a:cxn>
                <a:cxn ang="0">
                  <a:pos x="610" y="441"/>
                </a:cxn>
                <a:cxn ang="0">
                  <a:pos x="640" y="421"/>
                </a:cxn>
                <a:cxn ang="0">
                  <a:pos x="658" y="392"/>
                </a:cxn>
                <a:cxn ang="0">
                  <a:pos x="689" y="384"/>
                </a:cxn>
                <a:cxn ang="0">
                  <a:pos x="706" y="134"/>
                </a:cxn>
                <a:cxn ang="0">
                  <a:pos x="686" y="85"/>
                </a:cxn>
                <a:cxn ang="0">
                  <a:pos x="676" y="65"/>
                </a:cxn>
                <a:cxn ang="0">
                  <a:pos x="669" y="38"/>
                </a:cxn>
                <a:cxn ang="0">
                  <a:pos x="640" y="28"/>
                </a:cxn>
                <a:cxn ang="0">
                  <a:pos x="586" y="23"/>
                </a:cxn>
                <a:cxn ang="0">
                  <a:pos x="581" y="0"/>
                </a:cxn>
                <a:cxn ang="0">
                  <a:pos x="522" y="0"/>
                </a:cxn>
                <a:cxn ang="0">
                  <a:pos x="507" y="19"/>
                </a:cxn>
                <a:cxn ang="0">
                  <a:pos x="460" y="39"/>
                </a:cxn>
                <a:cxn ang="0">
                  <a:pos x="421" y="70"/>
                </a:cxn>
                <a:cxn ang="0">
                  <a:pos x="401" y="102"/>
                </a:cxn>
                <a:cxn ang="0">
                  <a:pos x="325" y="126"/>
                </a:cxn>
                <a:cxn ang="0">
                  <a:pos x="318" y="157"/>
                </a:cxn>
                <a:cxn ang="0">
                  <a:pos x="290" y="173"/>
                </a:cxn>
                <a:cxn ang="0">
                  <a:pos x="259" y="208"/>
                </a:cxn>
                <a:cxn ang="0">
                  <a:pos x="183" y="212"/>
                </a:cxn>
                <a:cxn ang="0">
                  <a:pos x="178" y="237"/>
                </a:cxn>
                <a:cxn ang="0">
                  <a:pos x="186" y="388"/>
                </a:cxn>
                <a:cxn ang="0">
                  <a:pos x="154" y="392"/>
                </a:cxn>
                <a:cxn ang="0">
                  <a:pos x="154" y="419"/>
                </a:cxn>
                <a:cxn ang="0">
                  <a:pos x="35" y="434"/>
                </a:cxn>
                <a:cxn ang="0">
                  <a:pos x="0" y="460"/>
                </a:cxn>
                <a:cxn ang="0">
                  <a:pos x="16" y="486"/>
                </a:cxn>
                <a:cxn ang="0">
                  <a:pos x="44" y="502"/>
                </a:cxn>
                <a:cxn ang="0">
                  <a:pos x="48" y="550"/>
                </a:cxn>
                <a:cxn ang="0">
                  <a:pos x="79" y="554"/>
                </a:cxn>
                <a:cxn ang="0">
                  <a:pos x="103" y="589"/>
                </a:cxn>
                <a:cxn ang="0">
                  <a:pos x="147" y="585"/>
                </a:cxn>
                <a:cxn ang="0">
                  <a:pos x="161" y="585"/>
                </a:cxn>
              </a:cxnLst>
              <a:rect l="0" t="0" r="r" b="b"/>
              <a:pathLst>
                <a:path w="706" h="589">
                  <a:moveTo>
                    <a:pt x="161" y="585"/>
                  </a:moveTo>
                  <a:lnTo>
                    <a:pt x="175" y="561"/>
                  </a:lnTo>
                  <a:lnTo>
                    <a:pt x="192" y="527"/>
                  </a:lnTo>
                  <a:lnTo>
                    <a:pt x="234" y="516"/>
                  </a:lnTo>
                  <a:lnTo>
                    <a:pt x="271" y="522"/>
                  </a:lnTo>
                  <a:lnTo>
                    <a:pt x="290" y="554"/>
                  </a:lnTo>
                  <a:lnTo>
                    <a:pt x="295" y="534"/>
                  </a:lnTo>
                  <a:lnTo>
                    <a:pt x="352" y="527"/>
                  </a:lnTo>
                  <a:lnTo>
                    <a:pt x="385" y="524"/>
                  </a:lnTo>
                  <a:lnTo>
                    <a:pt x="413" y="550"/>
                  </a:lnTo>
                  <a:lnTo>
                    <a:pt x="451" y="554"/>
                  </a:lnTo>
                  <a:lnTo>
                    <a:pt x="457" y="527"/>
                  </a:lnTo>
                  <a:lnTo>
                    <a:pt x="517" y="530"/>
                  </a:lnTo>
                  <a:lnTo>
                    <a:pt x="540" y="555"/>
                  </a:lnTo>
                  <a:lnTo>
                    <a:pt x="561" y="530"/>
                  </a:lnTo>
                  <a:lnTo>
                    <a:pt x="594" y="511"/>
                  </a:lnTo>
                  <a:lnTo>
                    <a:pt x="593" y="465"/>
                  </a:lnTo>
                  <a:lnTo>
                    <a:pt x="610" y="441"/>
                  </a:lnTo>
                  <a:lnTo>
                    <a:pt x="640" y="421"/>
                  </a:lnTo>
                  <a:lnTo>
                    <a:pt x="658" y="392"/>
                  </a:lnTo>
                  <a:lnTo>
                    <a:pt x="689" y="384"/>
                  </a:lnTo>
                  <a:lnTo>
                    <a:pt x="706" y="134"/>
                  </a:lnTo>
                  <a:lnTo>
                    <a:pt x="686" y="85"/>
                  </a:lnTo>
                  <a:lnTo>
                    <a:pt x="676" y="65"/>
                  </a:lnTo>
                  <a:lnTo>
                    <a:pt x="669" y="38"/>
                  </a:lnTo>
                  <a:lnTo>
                    <a:pt x="640" y="28"/>
                  </a:lnTo>
                  <a:lnTo>
                    <a:pt x="586" y="23"/>
                  </a:lnTo>
                  <a:lnTo>
                    <a:pt x="581" y="0"/>
                  </a:lnTo>
                  <a:lnTo>
                    <a:pt x="522" y="0"/>
                  </a:lnTo>
                  <a:lnTo>
                    <a:pt x="507" y="19"/>
                  </a:lnTo>
                  <a:lnTo>
                    <a:pt x="460" y="39"/>
                  </a:lnTo>
                  <a:lnTo>
                    <a:pt x="421" y="70"/>
                  </a:lnTo>
                  <a:lnTo>
                    <a:pt x="401" y="102"/>
                  </a:lnTo>
                  <a:lnTo>
                    <a:pt x="325" y="126"/>
                  </a:lnTo>
                  <a:lnTo>
                    <a:pt x="318" y="157"/>
                  </a:lnTo>
                  <a:lnTo>
                    <a:pt x="290" y="173"/>
                  </a:lnTo>
                  <a:lnTo>
                    <a:pt x="259" y="208"/>
                  </a:lnTo>
                  <a:lnTo>
                    <a:pt x="183" y="212"/>
                  </a:lnTo>
                  <a:lnTo>
                    <a:pt x="178" y="237"/>
                  </a:lnTo>
                  <a:lnTo>
                    <a:pt x="186" y="388"/>
                  </a:lnTo>
                  <a:lnTo>
                    <a:pt x="154" y="392"/>
                  </a:lnTo>
                  <a:lnTo>
                    <a:pt x="154" y="419"/>
                  </a:lnTo>
                  <a:lnTo>
                    <a:pt x="35" y="434"/>
                  </a:lnTo>
                  <a:lnTo>
                    <a:pt x="0" y="460"/>
                  </a:lnTo>
                  <a:lnTo>
                    <a:pt x="16" y="486"/>
                  </a:lnTo>
                  <a:lnTo>
                    <a:pt x="44" y="502"/>
                  </a:lnTo>
                  <a:lnTo>
                    <a:pt x="48" y="550"/>
                  </a:lnTo>
                  <a:lnTo>
                    <a:pt x="79" y="554"/>
                  </a:lnTo>
                  <a:lnTo>
                    <a:pt x="103" y="589"/>
                  </a:lnTo>
                  <a:lnTo>
                    <a:pt x="147" y="585"/>
                  </a:lnTo>
                  <a:lnTo>
                    <a:pt x="161" y="58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2" name="Freeform 222"/>
            <p:cNvSpPr>
              <a:spLocks noChangeAspect="1"/>
            </p:cNvSpPr>
            <p:nvPr/>
          </p:nvSpPr>
          <p:spPr bwMode="auto">
            <a:xfrm>
              <a:off x="1216289" y="3044730"/>
              <a:ext cx="47473" cy="76323"/>
            </a:xfrm>
            <a:custGeom>
              <a:avLst/>
              <a:gdLst/>
              <a:ahLst/>
              <a:cxnLst>
                <a:cxn ang="0">
                  <a:pos x="81" y="91"/>
                </a:cxn>
                <a:cxn ang="0">
                  <a:pos x="37" y="129"/>
                </a:cxn>
                <a:cxn ang="0">
                  <a:pos x="20" y="114"/>
                </a:cxn>
                <a:cxn ang="0">
                  <a:pos x="0" y="97"/>
                </a:cxn>
                <a:cxn ang="0">
                  <a:pos x="27" y="48"/>
                </a:cxn>
                <a:cxn ang="0">
                  <a:pos x="19" y="13"/>
                </a:cxn>
                <a:cxn ang="0">
                  <a:pos x="47" y="0"/>
                </a:cxn>
                <a:cxn ang="0">
                  <a:pos x="69" y="44"/>
                </a:cxn>
                <a:cxn ang="0">
                  <a:pos x="81" y="91"/>
                </a:cxn>
                <a:cxn ang="0">
                  <a:pos x="81" y="91"/>
                </a:cxn>
              </a:cxnLst>
              <a:rect l="0" t="0" r="r" b="b"/>
              <a:pathLst>
                <a:path w="81" h="129">
                  <a:moveTo>
                    <a:pt x="81" y="91"/>
                  </a:moveTo>
                  <a:lnTo>
                    <a:pt x="37" y="129"/>
                  </a:lnTo>
                  <a:lnTo>
                    <a:pt x="20" y="114"/>
                  </a:lnTo>
                  <a:lnTo>
                    <a:pt x="0" y="97"/>
                  </a:lnTo>
                  <a:lnTo>
                    <a:pt x="27" y="48"/>
                  </a:lnTo>
                  <a:lnTo>
                    <a:pt x="19" y="13"/>
                  </a:lnTo>
                  <a:lnTo>
                    <a:pt x="47" y="0"/>
                  </a:lnTo>
                  <a:lnTo>
                    <a:pt x="69" y="44"/>
                  </a:lnTo>
                  <a:lnTo>
                    <a:pt x="81" y="91"/>
                  </a:lnTo>
                  <a:lnTo>
                    <a:pt x="81" y="9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3" name="Freeform 223"/>
            <p:cNvSpPr>
              <a:spLocks noChangeAspect="1"/>
            </p:cNvSpPr>
            <p:nvPr/>
          </p:nvSpPr>
          <p:spPr bwMode="auto">
            <a:xfrm>
              <a:off x="1555630" y="3289674"/>
              <a:ext cx="56264" cy="26624"/>
            </a:xfrm>
            <a:custGeom>
              <a:avLst/>
              <a:gdLst/>
              <a:ahLst/>
              <a:cxnLst>
                <a:cxn ang="0">
                  <a:pos x="49" y="36"/>
                </a:cxn>
                <a:cxn ang="0">
                  <a:pos x="49" y="36"/>
                </a:cxn>
                <a:cxn ang="0">
                  <a:pos x="39" y="38"/>
                </a:cxn>
                <a:cxn ang="0">
                  <a:pos x="28" y="41"/>
                </a:cxn>
                <a:cxn ang="0">
                  <a:pos x="15" y="44"/>
                </a:cxn>
                <a:cxn ang="0">
                  <a:pos x="11" y="46"/>
                </a:cxn>
                <a:cxn ang="0">
                  <a:pos x="8" y="46"/>
                </a:cxn>
                <a:cxn ang="0">
                  <a:pos x="8" y="46"/>
                </a:cxn>
                <a:cxn ang="0">
                  <a:pos x="4" y="43"/>
                </a:cxn>
                <a:cxn ang="0">
                  <a:pos x="1" y="41"/>
                </a:cxn>
                <a:cxn ang="0">
                  <a:pos x="0" y="37"/>
                </a:cxn>
                <a:cxn ang="0">
                  <a:pos x="0" y="32"/>
                </a:cxn>
                <a:cxn ang="0">
                  <a:pos x="0" y="23"/>
                </a:cxn>
                <a:cxn ang="0">
                  <a:pos x="1" y="17"/>
                </a:cxn>
                <a:cxn ang="0">
                  <a:pos x="1" y="17"/>
                </a:cxn>
                <a:cxn ang="0">
                  <a:pos x="3" y="15"/>
                </a:cxn>
                <a:cxn ang="0">
                  <a:pos x="4" y="14"/>
                </a:cxn>
                <a:cxn ang="0">
                  <a:pos x="11" y="12"/>
                </a:cxn>
                <a:cxn ang="0">
                  <a:pos x="24" y="12"/>
                </a:cxn>
                <a:cxn ang="0">
                  <a:pos x="42" y="12"/>
                </a:cxn>
                <a:cxn ang="0">
                  <a:pos x="42" y="12"/>
                </a:cxn>
                <a:cxn ang="0">
                  <a:pos x="48" y="12"/>
                </a:cxn>
                <a:cxn ang="0">
                  <a:pos x="54" y="9"/>
                </a:cxn>
                <a:cxn ang="0">
                  <a:pos x="68" y="5"/>
                </a:cxn>
                <a:cxn ang="0">
                  <a:pos x="82" y="2"/>
                </a:cxn>
                <a:cxn ang="0">
                  <a:pos x="88" y="2"/>
                </a:cxn>
                <a:cxn ang="0">
                  <a:pos x="93" y="0"/>
                </a:cxn>
                <a:cxn ang="0">
                  <a:pos x="93" y="0"/>
                </a:cxn>
                <a:cxn ang="0">
                  <a:pos x="94" y="2"/>
                </a:cxn>
                <a:cxn ang="0">
                  <a:pos x="94" y="4"/>
                </a:cxn>
                <a:cxn ang="0">
                  <a:pos x="91" y="10"/>
                </a:cxn>
                <a:cxn ang="0">
                  <a:pos x="84" y="18"/>
                </a:cxn>
                <a:cxn ang="0">
                  <a:pos x="82" y="23"/>
                </a:cxn>
                <a:cxn ang="0">
                  <a:pos x="82" y="23"/>
                </a:cxn>
                <a:cxn ang="0">
                  <a:pos x="81" y="25"/>
                </a:cxn>
                <a:cxn ang="0">
                  <a:pos x="81" y="28"/>
                </a:cxn>
                <a:cxn ang="0">
                  <a:pos x="78" y="29"/>
                </a:cxn>
                <a:cxn ang="0">
                  <a:pos x="76" y="32"/>
                </a:cxn>
                <a:cxn ang="0">
                  <a:pos x="70" y="33"/>
                </a:cxn>
                <a:cxn ang="0">
                  <a:pos x="65" y="34"/>
                </a:cxn>
                <a:cxn ang="0">
                  <a:pos x="49" y="36"/>
                </a:cxn>
                <a:cxn ang="0">
                  <a:pos x="49" y="36"/>
                </a:cxn>
              </a:cxnLst>
              <a:rect l="0" t="0" r="r" b="b"/>
              <a:pathLst>
                <a:path w="94" h="46">
                  <a:moveTo>
                    <a:pt x="49" y="36"/>
                  </a:moveTo>
                  <a:lnTo>
                    <a:pt x="49" y="36"/>
                  </a:lnTo>
                  <a:lnTo>
                    <a:pt x="39" y="38"/>
                  </a:lnTo>
                  <a:lnTo>
                    <a:pt x="28" y="41"/>
                  </a:lnTo>
                  <a:lnTo>
                    <a:pt x="15" y="44"/>
                  </a:lnTo>
                  <a:lnTo>
                    <a:pt x="11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4" y="43"/>
                  </a:lnTo>
                  <a:lnTo>
                    <a:pt x="1" y="41"/>
                  </a:lnTo>
                  <a:lnTo>
                    <a:pt x="0" y="37"/>
                  </a:lnTo>
                  <a:lnTo>
                    <a:pt x="0" y="32"/>
                  </a:lnTo>
                  <a:lnTo>
                    <a:pt x="0" y="23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3" y="15"/>
                  </a:lnTo>
                  <a:lnTo>
                    <a:pt x="4" y="14"/>
                  </a:lnTo>
                  <a:lnTo>
                    <a:pt x="11" y="12"/>
                  </a:lnTo>
                  <a:lnTo>
                    <a:pt x="24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88" y="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4" y="2"/>
                  </a:lnTo>
                  <a:lnTo>
                    <a:pt x="94" y="4"/>
                  </a:lnTo>
                  <a:lnTo>
                    <a:pt x="91" y="10"/>
                  </a:lnTo>
                  <a:lnTo>
                    <a:pt x="84" y="18"/>
                  </a:lnTo>
                  <a:lnTo>
                    <a:pt x="82" y="23"/>
                  </a:lnTo>
                  <a:lnTo>
                    <a:pt x="82" y="23"/>
                  </a:lnTo>
                  <a:lnTo>
                    <a:pt x="81" y="25"/>
                  </a:lnTo>
                  <a:lnTo>
                    <a:pt x="81" y="28"/>
                  </a:lnTo>
                  <a:lnTo>
                    <a:pt x="78" y="29"/>
                  </a:lnTo>
                  <a:lnTo>
                    <a:pt x="76" y="32"/>
                  </a:lnTo>
                  <a:lnTo>
                    <a:pt x="70" y="33"/>
                  </a:lnTo>
                  <a:lnTo>
                    <a:pt x="65" y="34"/>
                  </a:lnTo>
                  <a:lnTo>
                    <a:pt x="49" y="36"/>
                  </a:lnTo>
                  <a:lnTo>
                    <a:pt x="49" y="3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4" name="Freeform 224"/>
            <p:cNvSpPr>
              <a:spLocks noChangeAspect="1"/>
            </p:cNvSpPr>
            <p:nvPr/>
          </p:nvSpPr>
          <p:spPr bwMode="auto">
            <a:xfrm>
              <a:off x="1632993" y="3374872"/>
              <a:ext cx="109011" cy="133122"/>
            </a:xfrm>
            <a:custGeom>
              <a:avLst/>
              <a:gdLst/>
              <a:ahLst/>
              <a:cxnLst>
                <a:cxn ang="0">
                  <a:pos x="55" y="225"/>
                </a:cxn>
                <a:cxn ang="0">
                  <a:pos x="95" y="186"/>
                </a:cxn>
                <a:cxn ang="0">
                  <a:pos x="134" y="154"/>
                </a:cxn>
                <a:cxn ang="0">
                  <a:pos x="134" y="90"/>
                </a:cxn>
                <a:cxn ang="0">
                  <a:pos x="186" y="48"/>
                </a:cxn>
                <a:cxn ang="0">
                  <a:pos x="158" y="0"/>
                </a:cxn>
                <a:cxn ang="0">
                  <a:pos x="103" y="44"/>
                </a:cxn>
                <a:cxn ang="0">
                  <a:pos x="40" y="35"/>
                </a:cxn>
                <a:cxn ang="0">
                  <a:pos x="9" y="8"/>
                </a:cxn>
                <a:cxn ang="0">
                  <a:pos x="7" y="114"/>
                </a:cxn>
                <a:cxn ang="0">
                  <a:pos x="0" y="170"/>
                </a:cxn>
                <a:cxn ang="0">
                  <a:pos x="0" y="225"/>
                </a:cxn>
                <a:cxn ang="0">
                  <a:pos x="55" y="225"/>
                </a:cxn>
              </a:cxnLst>
              <a:rect l="0" t="0" r="r" b="b"/>
              <a:pathLst>
                <a:path w="186" h="225">
                  <a:moveTo>
                    <a:pt x="55" y="225"/>
                  </a:moveTo>
                  <a:lnTo>
                    <a:pt x="95" y="186"/>
                  </a:lnTo>
                  <a:lnTo>
                    <a:pt x="134" y="154"/>
                  </a:lnTo>
                  <a:lnTo>
                    <a:pt x="134" y="90"/>
                  </a:lnTo>
                  <a:lnTo>
                    <a:pt x="186" y="48"/>
                  </a:lnTo>
                  <a:lnTo>
                    <a:pt x="158" y="0"/>
                  </a:lnTo>
                  <a:lnTo>
                    <a:pt x="103" y="44"/>
                  </a:lnTo>
                  <a:lnTo>
                    <a:pt x="40" y="35"/>
                  </a:lnTo>
                  <a:lnTo>
                    <a:pt x="9" y="8"/>
                  </a:lnTo>
                  <a:lnTo>
                    <a:pt x="7" y="114"/>
                  </a:lnTo>
                  <a:lnTo>
                    <a:pt x="0" y="170"/>
                  </a:lnTo>
                  <a:lnTo>
                    <a:pt x="0" y="225"/>
                  </a:lnTo>
                  <a:lnTo>
                    <a:pt x="55" y="22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5" name="Freeform 225"/>
            <p:cNvSpPr>
              <a:spLocks noChangeAspect="1"/>
            </p:cNvSpPr>
            <p:nvPr/>
          </p:nvSpPr>
          <p:spPr bwMode="auto">
            <a:xfrm>
              <a:off x="1638268" y="3247075"/>
              <a:ext cx="154725" cy="154421"/>
            </a:xfrm>
            <a:custGeom>
              <a:avLst/>
              <a:gdLst/>
              <a:ahLst/>
              <a:cxnLst>
                <a:cxn ang="0">
                  <a:pos x="0" y="226"/>
                </a:cxn>
                <a:cxn ang="0">
                  <a:pos x="31" y="253"/>
                </a:cxn>
                <a:cxn ang="0">
                  <a:pos x="94" y="262"/>
                </a:cxn>
                <a:cxn ang="0">
                  <a:pos x="149" y="218"/>
                </a:cxn>
                <a:cxn ang="0">
                  <a:pos x="197" y="190"/>
                </a:cxn>
                <a:cxn ang="0">
                  <a:pos x="256" y="150"/>
                </a:cxn>
                <a:cxn ang="0">
                  <a:pos x="263" y="108"/>
                </a:cxn>
                <a:cxn ang="0">
                  <a:pos x="264" y="47"/>
                </a:cxn>
                <a:cxn ang="0">
                  <a:pos x="249" y="0"/>
                </a:cxn>
                <a:cxn ang="0">
                  <a:pos x="190" y="11"/>
                </a:cxn>
                <a:cxn ang="0">
                  <a:pos x="139" y="11"/>
                </a:cxn>
                <a:cxn ang="0">
                  <a:pos x="67" y="20"/>
                </a:cxn>
                <a:cxn ang="0">
                  <a:pos x="27" y="27"/>
                </a:cxn>
                <a:cxn ang="0">
                  <a:pos x="15" y="72"/>
                </a:cxn>
                <a:cxn ang="0">
                  <a:pos x="27" y="123"/>
                </a:cxn>
                <a:cxn ang="0">
                  <a:pos x="66" y="150"/>
                </a:cxn>
                <a:cxn ang="0">
                  <a:pos x="42" y="202"/>
                </a:cxn>
                <a:cxn ang="0">
                  <a:pos x="0" y="226"/>
                </a:cxn>
              </a:cxnLst>
              <a:rect l="0" t="0" r="r" b="b"/>
              <a:pathLst>
                <a:path w="264" h="262">
                  <a:moveTo>
                    <a:pt x="0" y="226"/>
                  </a:moveTo>
                  <a:lnTo>
                    <a:pt x="31" y="253"/>
                  </a:lnTo>
                  <a:lnTo>
                    <a:pt x="94" y="262"/>
                  </a:lnTo>
                  <a:lnTo>
                    <a:pt x="149" y="218"/>
                  </a:lnTo>
                  <a:lnTo>
                    <a:pt x="197" y="190"/>
                  </a:lnTo>
                  <a:lnTo>
                    <a:pt x="256" y="150"/>
                  </a:lnTo>
                  <a:lnTo>
                    <a:pt x="263" y="108"/>
                  </a:lnTo>
                  <a:lnTo>
                    <a:pt x="264" y="47"/>
                  </a:lnTo>
                  <a:lnTo>
                    <a:pt x="249" y="0"/>
                  </a:lnTo>
                  <a:lnTo>
                    <a:pt x="190" y="11"/>
                  </a:lnTo>
                  <a:lnTo>
                    <a:pt x="139" y="11"/>
                  </a:lnTo>
                  <a:lnTo>
                    <a:pt x="67" y="20"/>
                  </a:lnTo>
                  <a:lnTo>
                    <a:pt x="27" y="27"/>
                  </a:lnTo>
                  <a:lnTo>
                    <a:pt x="15" y="72"/>
                  </a:lnTo>
                  <a:lnTo>
                    <a:pt x="27" y="123"/>
                  </a:lnTo>
                  <a:lnTo>
                    <a:pt x="66" y="150"/>
                  </a:lnTo>
                  <a:lnTo>
                    <a:pt x="42" y="202"/>
                  </a:lnTo>
                  <a:lnTo>
                    <a:pt x="0" y="22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6" name="Freeform 226"/>
            <p:cNvSpPr>
              <a:spLocks noChangeAspect="1"/>
            </p:cNvSpPr>
            <p:nvPr/>
          </p:nvSpPr>
          <p:spPr bwMode="auto">
            <a:xfrm>
              <a:off x="2299368" y="3202701"/>
              <a:ext cx="355165" cy="319492"/>
            </a:xfrm>
            <a:custGeom>
              <a:avLst/>
              <a:gdLst/>
              <a:ahLst/>
              <a:cxnLst>
                <a:cxn ang="0">
                  <a:pos x="604" y="88"/>
                </a:cxn>
                <a:cxn ang="0">
                  <a:pos x="506" y="83"/>
                </a:cxn>
                <a:cxn ang="0">
                  <a:pos x="506" y="83"/>
                </a:cxn>
                <a:cxn ang="0">
                  <a:pos x="459" y="63"/>
                </a:cxn>
                <a:cxn ang="0">
                  <a:pos x="435" y="4"/>
                </a:cxn>
                <a:cxn ang="0">
                  <a:pos x="411" y="0"/>
                </a:cxn>
                <a:cxn ang="0">
                  <a:pos x="391" y="41"/>
                </a:cxn>
                <a:cxn ang="0">
                  <a:pos x="321" y="56"/>
                </a:cxn>
                <a:cxn ang="0">
                  <a:pos x="293" y="72"/>
                </a:cxn>
                <a:cxn ang="0">
                  <a:pos x="257" y="56"/>
                </a:cxn>
                <a:cxn ang="0">
                  <a:pos x="198" y="52"/>
                </a:cxn>
                <a:cxn ang="0">
                  <a:pos x="174" y="72"/>
                </a:cxn>
                <a:cxn ang="0">
                  <a:pos x="139" y="76"/>
                </a:cxn>
                <a:cxn ang="0">
                  <a:pos x="127" y="100"/>
                </a:cxn>
                <a:cxn ang="0">
                  <a:pos x="95" y="120"/>
                </a:cxn>
                <a:cxn ang="0">
                  <a:pos x="87" y="159"/>
                </a:cxn>
                <a:cxn ang="0">
                  <a:pos x="39" y="170"/>
                </a:cxn>
                <a:cxn ang="0">
                  <a:pos x="0" y="206"/>
                </a:cxn>
                <a:cxn ang="0">
                  <a:pos x="12" y="277"/>
                </a:cxn>
                <a:cxn ang="0">
                  <a:pos x="0" y="388"/>
                </a:cxn>
                <a:cxn ang="0">
                  <a:pos x="56" y="388"/>
                </a:cxn>
                <a:cxn ang="0">
                  <a:pos x="71" y="444"/>
                </a:cxn>
                <a:cxn ang="0">
                  <a:pos x="48" y="475"/>
                </a:cxn>
                <a:cxn ang="0">
                  <a:pos x="43" y="518"/>
                </a:cxn>
                <a:cxn ang="0">
                  <a:pos x="95" y="542"/>
                </a:cxn>
                <a:cxn ang="0">
                  <a:pos x="115" y="503"/>
                </a:cxn>
                <a:cxn ang="0">
                  <a:pos x="245" y="490"/>
                </a:cxn>
                <a:cxn ang="0">
                  <a:pos x="265" y="444"/>
                </a:cxn>
                <a:cxn ang="0">
                  <a:pos x="301" y="416"/>
                </a:cxn>
                <a:cxn ang="0">
                  <a:pos x="352" y="383"/>
                </a:cxn>
                <a:cxn ang="0">
                  <a:pos x="391" y="380"/>
                </a:cxn>
                <a:cxn ang="0">
                  <a:pos x="404" y="324"/>
                </a:cxn>
                <a:cxn ang="0">
                  <a:pos x="435" y="304"/>
                </a:cxn>
                <a:cxn ang="0">
                  <a:pos x="455" y="258"/>
                </a:cxn>
                <a:cxn ang="0">
                  <a:pos x="473" y="200"/>
                </a:cxn>
                <a:cxn ang="0">
                  <a:pos x="473" y="200"/>
                </a:cxn>
                <a:cxn ang="0">
                  <a:pos x="483" y="151"/>
                </a:cxn>
                <a:cxn ang="0">
                  <a:pos x="525" y="135"/>
                </a:cxn>
                <a:cxn ang="0">
                  <a:pos x="525" y="135"/>
                </a:cxn>
                <a:cxn ang="0">
                  <a:pos x="554" y="142"/>
                </a:cxn>
                <a:cxn ang="0">
                  <a:pos x="593" y="162"/>
                </a:cxn>
                <a:cxn ang="0">
                  <a:pos x="604" y="88"/>
                </a:cxn>
              </a:cxnLst>
              <a:rect l="0" t="0" r="r" b="b"/>
              <a:pathLst>
                <a:path w="604" h="542">
                  <a:moveTo>
                    <a:pt x="604" y="88"/>
                  </a:moveTo>
                  <a:lnTo>
                    <a:pt x="506" y="83"/>
                  </a:lnTo>
                  <a:lnTo>
                    <a:pt x="506" y="83"/>
                  </a:lnTo>
                  <a:lnTo>
                    <a:pt x="459" y="63"/>
                  </a:lnTo>
                  <a:lnTo>
                    <a:pt x="435" y="4"/>
                  </a:lnTo>
                  <a:lnTo>
                    <a:pt x="411" y="0"/>
                  </a:lnTo>
                  <a:lnTo>
                    <a:pt x="391" y="41"/>
                  </a:lnTo>
                  <a:lnTo>
                    <a:pt x="321" y="56"/>
                  </a:lnTo>
                  <a:lnTo>
                    <a:pt x="293" y="72"/>
                  </a:lnTo>
                  <a:lnTo>
                    <a:pt x="257" y="56"/>
                  </a:lnTo>
                  <a:lnTo>
                    <a:pt x="198" y="52"/>
                  </a:lnTo>
                  <a:lnTo>
                    <a:pt x="174" y="72"/>
                  </a:lnTo>
                  <a:lnTo>
                    <a:pt x="139" y="76"/>
                  </a:lnTo>
                  <a:lnTo>
                    <a:pt x="127" y="100"/>
                  </a:lnTo>
                  <a:lnTo>
                    <a:pt x="95" y="120"/>
                  </a:lnTo>
                  <a:lnTo>
                    <a:pt x="87" y="159"/>
                  </a:lnTo>
                  <a:lnTo>
                    <a:pt x="39" y="170"/>
                  </a:lnTo>
                  <a:lnTo>
                    <a:pt x="0" y="206"/>
                  </a:lnTo>
                  <a:lnTo>
                    <a:pt x="12" y="277"/>
                  </a:lnTo>
                  <a:lnTo>
                    <a:pt x="0" y="388"/>
                  </a:lnTo>
                  <a:lnTo>
                    <a:pt x="56" y="388"/>
                  </a:lnTo>
                  <a:lnTo>
                    <a:pt x="71" y="444"/>
                  </a:lnTo>
                  <a:lnTo>
                    <a:pt x="48" y="475"/>
                  </a:lnTo>
                  <a:lnTo>
                    <a:pt x="43" y="518"/>
                  </a:lnTo>
                  <a:lnTo>
                    <a:pt x="95" y="542"/>
                  </a:lnTo>
                  <a:lnTo>
                    <a:pt x="115" y="503"/>
                  </a:lnTo>
                  <a:lnTo>
                    <a:pt x="245" y="490"/>
                  </a:lnTo>
                  <a:lnTo>
                    <a:pt x="265" y="444"/>
                  </a:lnTo>
                  <a:lnTo>
                    <a:pt x="301" y="416"/>
                  </a:lnTo>
                  <a:lnTo>
                    <a:pt x="352" y="383"/>
                  </a:lnTo>
                  <a:lnTo>
                    <a:pt x="391" y="380"/>
                  </a:lnTo>
                  <a:lnTo>
                    <a:pt x="404" y="324"/>
                  </a:lnTo>
                  <a:lnTo>
                    <a:pt x="435" y="304"/>
                  </a:lnTo>
                  <a:lnTo>
                    <a:pt x="455" y="258"/>
                  </a:lnTo>
                  <a:lnTo>
                    <a:pt x="473" y="200"/>
                  </a:lnTo>
                  <a:lnTo>
                    <a:pt x="473" y="200"/>
                  </a:lnTo>
                  <a:lnTo>
                    <a:pt x="483" y="151"/>
                  </a:lnTo>
                  <a:lnTo>
                    <a:pt x="525" y="135"/>
                  </a:lnTo>
                  <a:lnTo>
                    <a:pt x="525" y="135"/>
                  </a:lnTo>
                  <a:lnTo>
                    <a:pt x="554" y="142"/>
                  </a:lnTo>
                  <a:lnTo>
                    <a:pt x="593" y="162"/>
                  </a:lnTo>
                  <a:lnTo>
                    <a:pt x="604" y="8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7" name="Freeform 227"/>
            <p:cNvSpPr>
              <a:spLocks noChangeAspect="1"/>
            </p:cNvSpPr>
            <p:nvPr/>
          </p:nvSpPr>
          <p:spPr bwMode="auto">
            <a:xfrm>
              <a:off x="2079587" y="3082004"/>
              <a:ext cx="337583" cy="241394"/>
            </a:xfrm>
            <a:custGeom>
              <a:avLst/>
              <a:gdLst/>
              <a:ahLst/>
              <a:cxnLst>
                <a:cxn ang="0">
                  <a:pos x="573" y="256"/>
                </a:cxn>
                <a:cxn ang="0">
                  <a:pos x="549" y="276"/>
                </a:cxn>
                <a:cxn ang="0">
                  <a:pos x="514" y="280"/>
                </a:cxn>
                <a:cxn ang="0">
                  <a:pos x="502" y="304"/>
                </a:cxn>
                <a:cxn ang="0">
                  <a:pos x="470" y="324"/>
                </a:cxn>
                <a:cxn ang="0">
                  <a:pos x="462" y="363"/>
                </a:cxn>
                <a:cxn ang="0">
                  <a:pos x="414" y="374"/>
                </a:cxn>
                <a:cxn ang="0">
                  <a:pos x="375" y="410"/>
                </a:cxn>
                <a:cxn ang="0">
                  <a:pos x="391" y="307"/>
                </a:cxn>
                <a:cxn ang="0">
                  <a:pos x="328" y="276"/>
                </a:cxn>
                <a:cxn ang="0">
                  <a:pos x="256" y="225"/>
                </a:cxn>
                <a:cxn ang="0">
                  <a:pos x="205" y="221"/>
                </a:cxn>
                <a:cxn ang="0">
                  <a:pos x="126" y="204"/>
                </a:cxn>
                <a:cxn ang="0">
                  <a:pos x="107" y="245"/>
                </a:cxn>
                <a:cxn ang="0">
                  <a:pos x="59" y="263"/>
                </a:cxn>
                <a:cxn ang="0">
                  <a:pos x="52" y="204"/>
                </a:cxn>
                <a:cxn ang="0">
                  <a:pos x="48" y="173"/>
                </a:cxn>
                <a:cxn ang="0">
                  <a:pos x="35" y="149"/>
                </a:cxn>
                <a:cxn ang="0">
                  <a:pos x="28" y="98"/>
                </a:cxn>
                <a:cxn ang="0">
                  <a:pos x="8" y="78"/>
                </a:cxn>
                <a:cxn ang="0">
                  <a:pos x="24" y="59"/>
                </a:cxn>
                <a:cxn ang="0">
                  <a:pos x="0" y="42"/>
                </a:cxn>
                <a:cxn ang="0">
                  <a:pos x="4" y="11"/>
                </a:cxn>
                <a:cxn ang="0">
                  <a:pos x="52" y="58"/>
                </a:cxn>
                <a:cxn ang="0">
                  <a:pos x="75" y="17"/>
                </a:cxn>
                <a:cxn ang="0">
                  <a:pos x="119" y="0"/>
                </a:cxn>
                <a:cxn ang="0">
                  <a:pos x="156" y="15"/>
                </a:cxn>
                <a:cxn ang="0">
                  <a:pos x="156" y="46"/>
                </a:cxn>
                <a:cxn ang="0">
                  <a:pos x="197" y="59"/>
                </a:cxn>
                <a:cxn ang="0">
                  <a:pos x="254" y="76"/>
                </a:cxn>
                <a:cxn ang="0">
                  <a:pos x="261" y="42"/>
                </a:cxn>
                <a:cxn ang="0">
                  <a:pos x="291" y="34"/>
                </a:cxn>
                <a:cxn ang="0">
                  <a:pos x="322" y="19"/>
                </a:cxn>
                <a:cxn ang="0">
                  <a:pos x="337" y="46"/>
                </a:cxn>
                <a:cxn ang="0">
                  <a:pos x="360" y="65"/>
                </a:cxn>
                <a:cxn ang="0">
                  <a:pos x="349" y="88"/>
                </a:cxn>
                <a:cxn ang="0">
                  <a:pos x="383" y="95"/>
                </a:cxn>
                <a:cxn ang="0">
                  <a:pos x="406" y="95"/>
                </a:cxn>
                <a:cxn ang="0">
                  <a:pos x="432" y="106"/>
                </a:cxn>
                <a:cxn ang="0">
                  <a:pos x="421" y="144"/>
                </a:cxn>
                <a:cxn ang="0">
                  <a:pos x="526" y="227"/>
                </a:cxn>
                <a:cxn ang="0">
                  <a:pos x="553" y="212"/>
                </a:cxn>
                <a:cxn ang="0">
                  <a:pos x="575" y="223"/>
                </a:cxn>
                <a:cxn ang="0">
                  <a:pos x="573" y="256"/>
                </a:cxn>
              </a:cxnLst>
              <a:rect l="0" t="0" r="r" b="b"/>
              <a:pathLst>
                <a:path w="575" h="410">
                  <a:moveTo>
                    <a:pt x="573" y="256"/>
                  </a:moveTo>
                  <a:lnTo>
                    <a:pt x="549" y="276"/>
                  </a:lnTo>
                  <a:lnTo>
                    <a:pt x="514" y="280"/>
                  </a:lnTo>
                  <a:lnTo>
                    <a:pt x="502" y="304"/>
                  </a:lnTo>
                  <a:lnTo>
                    <a:pt x="470" y="324"/>
                  </a:lnTo>
                  <a:lnTo>
                    <a:pt x="462" y="363"/>
                  </a:lnTo>
                  <a:lnTo>
                    <a:pt x="414" y="374"/>
                  </a:lnTo>
                  <a:lnTo>
                    <a:pt x="375" y="410"/>
                  </a:lnTo>
                  <a:lnTo>
                    <a:pt x="391" y="307"/>
                  </a:lnTo>
                  <a:lnTo>
                    <a:pt x="328" y="276"/>
                  </a:lnTo>
                  <a:lnTo>
                    <a:pt x="256" y="225"/>
                  </a:lnTo>
                  <a:lnTo>
                    <a:pt x="205" y="221"/>
                  </a:lnTo>
                  <a:lnTo>
                    <a:pt x="126" y="204"/>
                  </a:lnTo>
                  <a:lnTo>
                    <a:pt x="107" y="245"/>
                  </a:lnTo>
                  <a:lnTo>
                    <a:pt x="59" y="263"/>
                  </a:lnTo>
                  <a:lnTo>
                    <a:pt x="52" y="204"/>
                  </a:lnTo>
                  <a:lnTo>
                    <a:pt x="48" y="173"/>
                  </a:lnTo>
                  <a:lnTo>
                    <a:pt x="35" y="149"/>
                  </a:lnTo>
                  <a:lnTo>
                    <a:pt x="28" y="98"/>
                  </a:lnTo>
                  <a:lnTo>
                    <a:pt x="8" y="78"/>
                  </a:lnTo>
                  <a:lnTo>
                    <a:pt x="24" y="59"/>
                  </a:lnTo>
                  <a:lnTo>
                    <a:pt x="0" y="42"/>
                  </a:lnTo>
                  <a:lnTo>
                    <a:pt x="4" y="11"/>
                  </a:lnTo>
                  <a:lnTo>
                    <a:pt x="52" y="58"/>
                  </a:lnTo>
                  <a:lnTo>
                    <a:pt x="75" y="17"/>
                  </a:lnTo>
                  <a:lnTo>
                    <a:pt x="119" y="0"/>
                  </a:lnTo>
                  <a:lnTo>
                    <a:pt x="156" y="15"/>
                  </a:lnTo>
                  <a:lnTo>
                    <a:pt x="156" y="46"/>
                  </a:lnTo>
                  <a:lnTo>
                    <a:pt x="197" y="59"/>
                  </a:lnTo>
                  <a:lnTo>
                    <a:pt x="254" y="76"/>
                  </a:lnTo>
                  <a:lnTo>
                    <a:pt x="261" y="42"/>
                  </a:lnTo>
                  <a:lnTo>
                    <a:pt x="291" y="34"/>
                  </a:lnTo>
                  <a:lnTo>
                    <a:pt x="322" y="19"/>
                  </a:lnTo>
                  <a:lnTo>
                    <a:pt x="337" y="46"/>
                  </a:lnTo>
                  <a:lnTo>
                    <a:pt x="360" y="65"/>
                  </a:lnTo>
                  <a:lnTo>
                    <a:pt x="349" y="88"/>
                  </a:lnTo>
                  <a:lnTo>
                    <a:pt x="383" y="95"/>
                  </a:lnTo>
                  <a:lnTo>
                    <a:pt x="406" y="95"/>
                  </a:lnTo>
                  <a:lnTo>
                    <a:pt x="432" y="106"/>
                  </a:lnTo>
                  <a:lnTo>
                    <a:pt x="421" y="144"/>
                  </a:lnTo>
                  <a:lnTo>
                    <a:pt x="526" y="227"/>
                  </a:lnTo>
                  <a:lnTo>
                    <a:pt x="553" y="212"/>
                  </a:lnTo>
                  <a:lnTo>
                    <a:pt x="575" y="223"/>
                  </a:lnTo>
                  <a:lnTo>
                    <a:pt x="573" y="25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8" name="Freeform 228"/>
            <p:cNvSpPr>
              <a:spLocks noChangeAspect="1"/>
            </p:cNvSpPr>
            <p:nvPr/>
          </p:nvSpPr>
          <p:spPr bwMode="auto">
            <a:xfrm>
              <a:off x="2471676" y="3115729"/>
              <a:ext cx="214506" cy="138447"/>
            </a:xfrm>
            <a:custGeom>
              <a:avLst/>
              <a:gdLst/>
              <a:ahLst/>
              <a:cxnLst>
                <a:cxn ang="0">
                  <a:pos x="112" y="26"/>
                </a:cxn>
                <a:cxn ang="0">
                  <a:pos x="85" y="79"/>
                </a:cxn>
                <a:cxn ang="0">
                  <a:pos x="48" y="128"/>
                </a:cxn>
                <a:cxn ang="0">
                  <a:pos x="0" y="218"/>
                </a:cxn>
                <a:cxn ang="0">
                  <a:pos x="28" y="202"/>
                </a:cxn>
                <a:cxn ang="0">
                  <a:pos x="98" y="187"/>
                </a:cxn>
                <a:cxn ang="0">
                  <a:pos x="118" y="146"/>
                </a:cxn>
                <a:cxn ang="0">
                  <a:pos x="142" y="150"/>
                </a:cxn>
                <a:cxn ang="0">
                  <a:pos x="166" y="209"/>
                </a:cxn>
                <a:cxn ang="0">
                  <a:pos x="213" y="229"/>
                </a:cxn>
                <a:cxn ang="0">
                  <a:pos x="213" y="229"/>
                </a:cxn>
                <a:cxn ang="0">
                  <a:pos x="311" y="234"/>
                </a:cxn>
                <a:cxn ang="0">
                  <a:pos x="311" y="194"/>
                </a:cxn>
                <a:cxn ang="0">
                  <a:pos x="304" y="199"/>
                </a:cxn>
                <a:cxn ang="0">
                  <a:pos x="256" y="168"/>
                </a:cxn>
                <a:cxn ang="0">
                  <a:pos x="265" y="96"/>
                </a:cxn>
                <a:cxn ang="0">
                  <a:pos x="300" y="69"/>
                </a:cxn>
                <a:cxn ang="0">
                  <a:pos x="367" y="113"/>
                </a:cxn>
                <a:cxn ang="0">
                  <a:pos x="324" y="0"/>
                </a:cxn>
                <a:cxn ang="0">
                  <a:pos x="270" y="37"/>
                </a:cxn>
                <a:cxn ang="0">
                  <a:pos x="225" y="45"/>
                </a:cxn>
                <a:cxn ang="0">
                  <a:pos x="112" y="26"/>
                </a:cxn>
              </a:cxnLst>
              <a:rect l="0" t="0" r="r" b="b"/>
              <a:pathLst>
                <a:path w="367" h="234">
                  <a:moveTo>
                    <a:pt x="112" y="26"/>
                  </a:moveTo>
                  <a:lnTo>
                    <a:pt x="85" y="79"/>
                  </a:lnTo>
                  <a:lnTo>
                    <a:pt x="48" y="128"/>
                  </a:lnTo>
                  <a:lnTo>
                    <a:pt x="0" y="218"/>
                  </a:lnTo>
                  <a:lnTo>
                    <a:pt x="28" y="202"/>
                  </a:lnTo>
                  <a:lnTo>
                    <a:pt x="98" y="187"/>
                  </a:lnTo>
                  <a:lnTo>
                    <a:pt x="118" y="146"/>
                  </a:lnTo>
                  <a:lnTo>
                    <a:pt x="142" y="150"/>
                  </a:lnTo>
                  <a:lnTo>
                    <a:pt x="166" y="209"/>
                  </a:lnTo>
                  <a:lnTo>
                    <a:pt x="213" y="229"/>
                  </a:lnTo>
                  <a:lnTo>
                    <a:pt x="213" y="229"/>
                  </a:lnTo>
                  <a:lnTo>
                    <a:pt x="311" y="234"/>
                  </a:lnTo>
                  <a:lnTo>
                    <a:pt x="311" y="194"/>
                  </a:lnTo>
                  <a:lnTo>
                    <a:pt x="304" y="199"/>
                  </a:lnTo>
                  <a:lnTo>
                    <a:pt x="256" y="168"/>
                  </a:lnTo>
                  <a:lnTo>
                    <a:pt x="265" y="96"/>
                  </a:lnTo>
                  <a:lnTo>
                    <a:pt x="300" y="69"/>
                  </a:lnTo>
                  <a:lnTo>
                    <a:pt x="367" y="113"/>
                  </a:lnTo>
                  <a:lnTo>
                    <a:pt x="324" y="0"/>
                  </a:lnTo>
                  <a:lnTo>
                    <a:pt x="270" y="37"/>
                  </a:lnTo>
                  <a:lnTo>
                    <a:pt x="225" y="45"/>
                  </a:lnTo>
                  <a:lnTo>
                    <a:pt x="112" y="2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9" name="Freeform 229"/>
            <p:cNvSpPr>
              <a:spLocks noChangeAspect="1"/>
            </p:cNvSpPr>
            <p:nvPr/>
          </p:nvSpPr>
          <p:spPr bwMode="auto">
            <a:xfrm>
              <a:off x="2195631" y="2936458"/>
              <a:ext cx="341099" cy="308842"/>
            </a:xfrm>
            <a:custGeom>
              <a:avLst/>
              <a:gdLst/>
              <a:ahLst/>
              <a:cxnLst>
                <a:cxn ang="0">
                  <a:pos x="471" y="522"/>
                </a:cxn>
                <a:cxn ang="0">
                  <a:pos x="435" y="506"/>
                </a:cxn>
                <a:cxn ang="0">
                  <a:pos x="376" y="502"/>
                </a:cxn>
                <a:cxn ang="0">
                  <a:pos x="378" y="469"/>
                </a:cxn>
                <a:cxn ang="0">
                  <a:pos x="356" y="458"/>
                </a:cxn>
                <a:cxn ang="0">
                  <a:pos x="329" y="473"/>
                </a:cxn>
                <a:cxn ang="0">
                  <a:pos x="224" y="390"/>
                </a:cxn>
                <a:cxn ang="0">
                  <a:pos x="235" y="352"/>
                </a:cxn>
                <a:cxn ang="0">
                  <a:pos x="209" y="341"/>
                </a:cxn>
                <a:cxn ang="0">
                  <a:pos x="186" y="341"/>
                </a:cxn>
                <a:cxn ang="0">
                  <a:pos x="152" y="334"/>
                </a:cxn>
                <a:cxn ang="0">
                  <a:pos x="163" y="311"/>
                </a:cxn>
                <a:cxn ang="0">
                  <a:pos x="140" y="292"/>
                </a:cxn>
                <a:cxn ang="0">
                  <a:pos x="125" y="265"/>
                </a:cxn>
                <a:cxn ang="0">
                  <a:pos x="94" y="280"/>
                </a:cxn>
                <a:cxn ang="0">
                  <a:pos x="64" y="288"/>
                </a:cxn>
                <a:cxn ang="0">
                  <a:pos x="57" y="322"/>
                </a:cxn>
                <a:cxn ang="0">
                  <a:pos x="0" y="305"/>
                </a:cxn>
                <a:cxn ang="0">
                  <a:pos x="34" y="76"/>
                </a:cxn>
                <a:cxn ang="0">
                  <a:pos x="133" y="0"/>
                </a:cxn>
                <a:cxn ang="0">
                  <a:pos x="142" y="115"/>
                </a:cxn>
                <a:cxn ang="0">
                  <a:pos x="189" y="115"/>
                </a:cxn>
                <a:cxn ang="0">
                  <a:pos x="212" y="138"/>
                </a:cxn>
                <a:cxn ang="0">
                  <a:pos x="268" y="138"/>
                </a:cxn>
                <a:cxn ang="0">
                  <a:pos x="271" y="64"/>
                </a:cxn>
                <a:cxn ang="0">
                  <a:pos x="303" y="118"/>
                </a:cxn>
                <a:cxn ang="0">
                  <a:pos x="318" y="155"/>
                </a:cxn>
                <a:cxn ang="0">
                  <a:pos x="374" y="140"/>
                </a:cxn>
                <a:cxn ang="0">
                  <a:pos x="427" y="148"/>
                </a:cxn>
                <a:cxn ang="0">
                  <a:pos x="477" y="170"/>
                </a:cxn>
                <a:cxn ang="0">
                  <a:pos x="481" y="238"/>
                </a:cxn>
                <a:cxn ang="0">
                  <a:pos x="496" y="280"/>
                </a:cxn>
                <a:cxn ang="0">
                  <a:pos x="549" y="307"/>
                </a:cxn>
                <a:cxn ang="0">
                  <a:pos x="583" y="330"/>
                </a:cxn>
                <a:cxn ang="0">
                  <a:pos x="556" y="383"/>
                </a:cxn>
                <a:cxn ang="0">
                  <a:pos x="519" y="432"/>
                </a:cxn>
                <a:cxn ang="0">
                  <a:pos x="471" y="522"/>
                </a:cxn>
              </a:cxnLst>
              <a:rect l="0" t="0" r="r" b="b"/>
              <a:pathLst>
                <a:path w="583" h="522">
                  <a:moveTo>
                    <a:pt x="471" y="522"/>
                  </a:moveTo>
                  <a:lnTo>
                    <a:pt x="435" y="506"/>
                  </a:lnTo>
                  <a:lnTo>
                    <a:pt x="376" y="502"/>
                  </a:lnTo>
                  <a:lnTo>
                    <a:pt x="378" y="469"/>
                  </a:lnTo>
                  <a:lnTo>
                    <a:pt x="356" y="458"/>
                  </a:lnTo>
                  <a:lnTo>
                    <a:pt x="329" y="473"/>
                  </a:lnTo>
                  <a:lnTo>
                    <a:pt x="224" y="390"/>
                  </a:lnTo>
                  <a:lnTo>
                    <a:pt x="235" y="352"/>
                  </a:lnTo>
                  <a:lnTo>
                    <a:pt x="209" y="341"/>
                  </a:lnTo>
                  <a:lnTo>
                    <a:pt x="186" y="341"/>
                  </a:lnTo>
                  <a:lnTo>
                    <a:pt x="152" y="334"/>
                  </a:lnTo>
                  <a:lnTo>
                    <a:pt x="163" y="311"/>
                  </a:lnTo>
                  <a:lnTo>
                    <a:pt x="140" y="292"/>
                  </a:lnTo>
                  <a:lnTo>
                    <a:pt x="125" y="265"/>
                  </a:lnTo>
                  <a:lnTo>
                    <a:pt x="94" y="280"/>
                  </a:lnTo>
                  <a:lnTo>
                    <a:pt x="64" y="288"/>
                  </a:lnTo>
                  <a:lnTo>
                    <a:pt x="57" y="322"/>
                  </a:lnTo>
                  <a:lnTo>
                    <a:pt x="0" y="305"/>
                  </a:lnTo>
                  <a:lnTo>
                    <a:pt x="34" y="76"/>
                  </a:lnTo>
                  <a:lnTo>
                    <a:pt x="133" y="0"/>
                  </a:lnTo>
                  <a:lnTo>
                    <a:pt x="142" y="115"/>
                  </a:lnTo>
                  <a:lnTo>
                    <a:pt x="189" y="115"/>
                  </a:lnTo>
                  <a:lnTo>
                    <a:pt x="212" y="138"/>
                  </a:lnTo>
                  <a:lnTo>
                    <a:pt x="268" y="138"/>
                  </a:lnTo>
                  <a:lnTo>
                    <a:pt x="271" y="64"/>
                  </a:lnTo>
                  <a:lnTo>
                    <a:pt x="303" y="118"/>
                  </a:lnTo>
                  <a:lnTo>
                    <a:pt x="318" y="155"/>
                  </a:lnTo>
                  <a:lnTo>
                    <a:pt x="374" y="140"/>
                  </a:lnTo>
                  <a:lnTo>
                    <a:pt x="427" y="148"/>
                  </a:lnTo>
                  <a:lnTo>
                    <a:pt x="477" y="170"/>
                  </a:lnTo>
                  <a:lnTo>
                    <a:pt x="481" y="238"/>
                  </a:lnTo>
                  <a:lnTo>
                    <a:pt x="496" y="280"/>
                  </a:lnTo>
                  <a:lnTo>
                    <a:pt x="549" y="307"/>
                  </a:lnTo>
                  <a:lnTo>
                    <a:pt x="583" y="330"/>
                  </a:lnTo>
                  <a:lnTo>
                    <a:pt x="556" y="383"/>
                  </a:lnTo>
                  <a:lnTo>
                    <a:pt x="519" y="432"/>
                  </a:lnTo>
                  <a:lnTo>
                    <a:pt x="471" y="52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0" name="Freeform 230"/>
            <p:cNvSpPr>
              <a:spLocks noChangeAspect="1"/>
            </p:cNvSpPr>
            <p:nvPr/>
          </p:nvSpPr>
          <p:spPr bwMode="auto">
            <a:xfrm>
              <a:off x="1875631" y="3018106"/>
              <a:ext cx="140660" cy="161521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15" y="93"/>
                </a:cxn>
                <a:cxn ang="0">
                  <a:pos x="51" y="162"/>
                </a:cxn>
                <a:cxn ang="0">
                  <a:pos x="92" y="245"/>
                </a:cxn>
                <a:cxn ang="0">
                  <a:pos x="56" y="268"/>
                </a:cxn>
                <a:cxn ang="0">
                  <a:pos x="115" y="268"/>
                </a:cxn>
                <a:cxn ang="0">
                  <a:pos x="127" y="230"/>
                </a:cxn>
                <a:cxn ang="0">
                  <a:pos x="155" y="213"/>
                </a:cxn>
                <a:cxn ang="0">
                  <a:pos x="170" y="274"/>
                </a:cxn>
                <a:cxn ang="0">
                  <a:pos x="197" y="253"/>
                </a:cxn>
                <a:cxn ang="0">
                  <a:pos x="205" y="206"/>
                </a:cxn>
                <a:cxn ang="0">
                  <a:pos x="238" y="194"/>
                </a:cxn>
                <a:cxn ang="0">
                  <a:pos x="229" y="167"/>
                </a:cxn>
                <a:cxn ang="0">
                  <a:pos x="182" y="134"/>
                </a:cxn>
                <a:cxn ang="0">
                  <a:pos x="138" y="88"/>
                </a:cxn>
                <a:cxn ang="0">
                  <a:pos x="91" y="0"/>
                </a:cxn>
                <a:cxn ang="0">
                  <a:pos x="0" y="25"/>
                </a:cxn>
              </a:cxnLst>
              <a:rect l="0" t="0" r="r" b="b"/>
              <a:pathLst>
                <a:path w="238" h="274">
                  <a:moveTo>
                    <a:pt x="0" y="25"/>
                  </a:moveTo>
                  <a:lnTo>
                    <a:pt x="15" y="93"/>
                  </a:lnTo>
                  <a:lnTo>
                    <a:pt x="51" y="162"/>
                  </a:lnTo>
                  <a:lnTo>
                    <a:pt x="92" y="245"/>
                  </a:lnTo>
                  <a:lnTo>
                    <a:pt x="56" y="268"/>
                  </a:lnTo>
                  <a:lnTo>
                    <a:pt x="115" y="268"/>
                  </a:lnTo>
                  <a:lnTo>
                    <a:pt x="127" y="230"/>
                  </a:lnTo>
                  <a:lnTo>
                    <a:pt x="155" y="213"/>
                  </a:lnTo>
                  <a:lnTo>
                    <a:pt x="170" y="274"/>
                  </a:lnTo>
                  <a:lnTo>
                    <a:pt x="197" y="253"/>
                  </a:lnTo>
                  <a:lnTo>
                    <a:pt x="205" y="206"/>
                  </a:lnTo>
                  <a:lnTo>
                    <a:pt x="238" y="194"/>
                  </a:lnTo>
                  <a:lnTo>
                    <a:pt x="229" y="167"/>
                  </a:lnTo>
                  <a:lnTo>
                    <a:pt x="182" y="134"/>
                  </a:lnTo>
                  <a:lnTo>
                    <a:pt x="138" y="88"/>
                  </a:lnTo>
                  <a:lnTo>
                    <a:pt x="91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1" name="Freeform 231"/>
            <p:cNvSpPr>
              <a:spLocks noChangeAspect="1"/>
            </p:cNvSpPr>
            <p:nvPr/>
          </p:nvSpPr>
          <p:spPr bwMode="auto">
            <a:xfrm>
              <a:off x="298486" y="3987232"/>
              <a:ext cx="86154" cy="30174"/>
            </a:xfrm>
            <a:custGeom>
              <a:avLst/>
              <a:gdLst/>
              <a:ahLst/>
              <a:cxnLst>
                <a:cxn ang="0">
                  <a:pos x="8" y="6"/>
                </a:cxn>
                <a:cxn ang="0">
                  <a:pos x="68" y="7"/>
                </a:cxn>
                <a:cxn ang="0">
                  <a:pos x="92" y="0"/>
                </a:cxn>
                <a:cxn ang="0">
                  <a:pos x="148" y="7"/>
                </a:cxn>
                <a:cxn ang="0">
                  <a:pos x="147" y="36"/>
                </a:cxn>
                <a:cxn ang="0">
                  <a:pos x="121" y="32"/>
                </a:cxn>
                <a:cxn ang="0">
                  <a:pos x="94" y="25"/>
                </a:cxn>
                <a:cxn ang="0">
                  <a:pos x="49" y="49"/>
                </a:cxn>
                <a:cxn ang="0">
                  <a:pos x="0" y="41"/>
                </a:cxn>
                <a:cxn ang="0">
                  <a:pos x="27" y="24"/>
                </a:cxn>
                <a:cxn ang="0">
                  <a:pos x="8" y="6"/>
                </a:cxn>
              </a:cxnLst>
              <a:rect l="0" t="0" r="r" b="b"/>
              <a:pathLst>
                <a:path w="148" h="49">
                  <a:moveTo>
                    <a:pt x="8" y="6"/>
                  </a:moveTo>
                  <a:lnTo>
                    <a:pt x="68" y="7"/>
                  </a:lnTo>
                  <a:lnTo>
                    <a:pt x="92" y="0"/>
                  </a:lnTo>
                  <a:lnTo>
                    <a:pt x="148" y="7"/>
                  </a:lnTo>
                  <a:lnTo>
                    <a:pt x="147" y="36"/>
                  </a:lnTo>
                  <a:lnTo>
                    <a:pt x="121" y="32"/>
                  </a:lnTo>
                  <a:lnTo>
                    <a:pt x="94" y="25"/>
                  </a:lnTo>
                  <a:lnTo>
                    <a:pt x="49" y="49"/>
                  </a:lnTo>
                  <a:lnTo>
                    <a:pt x="0" y="41"/>
                  </a:lnTo>
                  <a:lnTo>
                    <a:pt x="27" y="24"/>
                  </a:lnTo>
                  <a:lnTo>
                    <a:pt x="8" y="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2" name="Freeform 232"/>
            <p:cNvSpPr>
              <a:spLocks noChangeAspect="1"/>
            </p:cNvSpPr>
            <p:nvPr/>
          </p:nvSpPr>
          <p:spPr bwMode="auto">
            <a:xfrm>
              <a:off x="1130135" y="2835286"/>
              <a:ext cx="163517" cy="92298"/>
            </a:xfrm>
            <a:custGeom>
              <a:avLst/>
              <a:gdLst/>
              <a:ahLst/>
              <a:cxnLst>
                <a:cxn ang="0">
                  <a:pos x="280" y="39"/>
                </a:cxn>
                <a:cxn ang="0">
                  <a:pos x="244" y="9"/>
                </a:cxn>
                <a:cxn ang="0">
                  <a:pos x="220" y="0"/>
                </a:cxn>
                <a:cxn ang="0">
                  <a:pos x="144" y="16"/>
                </a:cxn>
                <a:cxn ang="0">
                  <a:pos x="93" y="16"/>
                </a:cxn>
                <a:cxn ang="0">
                  <a:pos x="31" y="7"/>
                </a:cxn>
                <a:cxn ang="0">
                  <a:pos x="36" y="51"/>
                </a:cxn>
                <a:cxn ang="0">
                  <a:pos x="19" y="79"/>
                </a:cxn>
                <a:cxn ang="0">
                  <a:pos x="16" y="90"/>
                </a:cxn>
                <a:cxn ang="0">
                  <a:pos x="0" y="113"/>
                </a:cxn>
                <a:cxn ang="0">
                  <a:pos x="20" y="118"/>
                </a:cxn>
                <a:cxn ang="0">
                  <a:pos x="20" y="118"/>
                </a:cxn>
                <a:cxn ang="0">
                  <a:pos x="69" y="143"/>
                </a:cxn>
                <a:cxn ang="0">
                  <a:pos x="121" y="156"/>
                </a:cxn>
                <a:cxn ang="0">
                  <a:pos x="148" y="132"/>
                </a:cxn>
                <a:cxn ang="0">
                  <a:pos x="185" y="134"/>
                </a:cxn>
                <a:cxn ang="0">
                  <a:pos x="229" y="122"/>
                </a:cxn>
                <a:cxn ang="0">
                  <a:pos x="260" y="71"/>
                </a:cxn>
                <a:cxn ang="0">
                  <a:pos x="280" y="39"/>
                </a:cxn>
              </a:cxnLst>
              <a:rect l="0" t="0" r="r" b="b"/>
              <a:pathLst>
                <a:path w="280" h="156">
                  <a:moveTo>
                    <a:pt x="280" y="39"/>
                  </a:moveTo>
                  <a:lnTo>
                    <a:pt x="244" y="9"/>
                  </a:lnTo>
                  <a:lnTo>
                    <a:pt x="220" y="0"/>
                  </a:lnTo>
                  <a:lnTo>
                    <a:pt x="144" y="16"/>
                  </a:lnTo>
                  <a:lnTo>
                    <a:pt x="93" y="16"/>
                  </a:lnTo>
                  <a:lnTo>
                    <a:pt x="31" y="7"/>
                  </a:lnTo>
                  <a:lnTo>
                    <a:pt x="36" y="51"/>
                  </a:lnTo>
                  <a:lnTo>
                    <a:pt x="19" y="79"/>
                  </a:lnTo>
                  <a:lnTo>
                    <a:pt x="16" y="90"/>
                  </a:lnTo>
                  <a:lnTo>
                    <a:pt x="0" y="113"/>
                  </a:lnTo>
                  <a:lnTo>
                    <a:pt x="20" y="118"/>
                  </a:lnTo>
                  <a:lnTo>
                    <a:pt x="20" y="118"/>
                  </a:lnTo>
                  <a:lnTo>
                    <a:pt x="69" y="143"/>
                  </a:lnTo>
                  <a:lnTo>
                    <a:pt x="121" y="156"/>
                  </a:lnTo>
                  <a:lnTo>
                    <a:pt x="148" y="132"/>
                  </a:lnTo>
                  <a:lnTo>
                    <a:pt x="185" y="134"/>
                  </a:lnTo>
                  <a:lnTo>
                    <a:pt x="229" y="122"/>
                  </a:lnTo>
                  <a:lnTo>
                    <a:pt x="260" y="71"/>
                  </a:lnTo>
                  <a:lnTo>
                    <a:pt x="280" y="3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3" name="Freeform 233"/>
            <p:cNvSpPr>
              <a:spLocks noChangeAspect="1"/>
            </p:cNvSpPr>
            <p:nvPr/>
          </p:nvSpPr>
          <p:spPr bwMode="auto">
            <a:xfrm>
              <a:off x="808377" y="2721688"/>
              <a:ext cx="84396" cy="69223"/>
            </a:xfrm>
            <a:custGeom>
              <a:avLst/>
              <a:gdLst/>
              <a:ahLst/>
              <a:cxnLst>
                <a:cxn ang="0">
                  <a:pos x="3" y="9"/>
                </a:cxn>
                <a:cxn ang="0">
                  <a:pos x="0" y="37"/>
                </a:cxn>
                <a:cxn ang="0">
                  <a:pos x="36" y="57"/>
                </a:cxn>
                <a:cxn ang="0">
                  <a:pos x="55" y="96"/>
                </a:cxn>
                <a:cxn ang="0">
                  <a:pos x="108" y="116"/>
                </a:cxn>
                <a:cxn ang="0">
                  <a:pos x="114" y="92"/>
                </a:cxn>
                <a:cxn ang="0">
                  <a:pos x="144" y="61"/>
                </a:cxn>
                <a:cxn ang="0">
                  <a:pos x="114" y="44"/>
                </a:cxn>
                <a:cxn ang="0">
                  <a:pos x="106" y="5"/>
                </a:cxn>
                <a:cxn ang="0">
                  <a:pos x="77" y="0"/>
                </a:cxn>
                <a:cxn ang="0">
                  <a:pos x="51" y="9"/>
                </a:cxn>
                <a:cxn ang="0">
                  <a:pos x="3" y="9"/>
                </a:cxn>
              </a:cxnLst>
              <a:rect l="0" t="0" r="r" b="b"/>
              <a:pathLst>
                <a:path w="144" h="116">
                  <a:moveTo>
                    <a:pt x="3" y="9"/>
                  </a:moveTo>
                  <a:lnTo>
                    <a:pt x="0" y="37"/>
                  </a:lnTo>
                  <a:lnTo>
                    <a:pt x="36" y="57"/>
                  </a:lnTo>
                  <a:lnTo>
                    <a:pt x="55" y="96"/>
                  </a:lnTo>
                  <a:lnTo>
                    <a:pt x="108" y="116"/>
                  </a:lnTo>
                  <a:lnTo>
                    <a:pt x="114" y="92"/>
                  </a:lnTo>
                  <a:lnTo>
                    <a:pt x="144" y="61"/>
                  </a:lnTo>
                  <a:lnTo>
                    <a:pt x="114" y="44"/>
                  </a:lnTo>
                  <a:lnTo>
                    <a:pt x="106" y="5"/>
                  </a:lnTo>
                  <a:lnTo>
                    <a:pt x="77" y="0"/>
                  </a:lnTo>
                  <a:lnTo>
                    <a:pt x="51" y="9"/>
                  </a:lnTo>
                  <a:lnTo>
                    <a:pt x="3" y="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4" name="Freeform 234"/>
            <p:cNvSpPr>
              <a:spLocks noChangeAspect="1"/>
            </p:cNvSpPr>
            <p:nvPr/>
          </p:nvSpPr>
          <p:spPr bwMode="auto">
            <a:xfrm>
              <a:off x="929696" y="2485619"/>
              <a:ext cx="72088" cy="115372"/>
            </a:xfrm>
            <a:custGeom>
              <a:avLst/>
              <a:gdLst/>
              <a:ahLst/>
              <a:cxnLst>
                <a:cxn ang="0">
                  <a:pos x="98" y="183"/>
                </a:cxn>
                <a:cxn ang="0">
                  <a:pos x="47" y="196"/>
                </a:cxn>
                <a:cxn ang="0">
                  <a:pos x="27" y="150"/>
                </a:cxn>
                <a:cxn ang="0">
                  <a:pos x="0" y="138"/>
                </a:cxn>
                <a:cxn ang="0">
                  <a:pos x="0" y="59"/>
                </a:cxn>
                <a:cxn ang="0">
                  <a:pos x="60" y="55"/>
                </a:cxn>
                <a:cxn ang="0">
                  <a:pos x="88" y="0"/>
                </a:cxn>
                <a:cxn ang="0">
                  <a:pos x="123" y="55"/>
                </a:cxn>
                <a:cxn ang="0">
                  <a:pos x="91" y="134"/>
                </a:cxn>
                <a:cxn ang="0">
                  <a:pos x="98" y="183"/>
                </a:cxn>
              </a:cxnLst>
              <a:rect l="0" t="0" r="r" b="b"/>
              <a:pathLst>
                <a:path w="123" h="196">
                  <a:moveTo>
                    <a:pt x="98" y="183"/>
                  </a:moveTo>
                  <a:lnTo>
                    <a:pt x="47" y="196"/>
                  </a:lnTo>
                  <a:lnTo>
                    <a:pt x="27" y="150"/>
                  </a:lnTo>
                  <a:lnTo>
                    <a:pt x="0" y="138"/>
                  </a:lnTo>
                  <a:lnTo>
                    <a:pt x="0" y="59"/>
                  </a:lnTo>
                  <a:lnTo>
                    <a:pt x="60" y="55"/>
                  </a:lnTo>
                  <a:lnTo>
                    <a:pt x="88" y="0"/>
                  </a:lnTo>
                  <a:lnTo>
                    <a:pt x="123" y="55"/>
                  </a:lnTo>
                  <a:lnTo>
                    <a:pt x="91" y="134"/>
                  </a:lnTo>
                  <a:lnTo>
                    <a:pt x="98" y="18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5" name="Freeform 235"/>
            <p:cNvSpPr>
              <a:spLocks noChangeAspect="1"/>
            </p:cNvSpPr>
            <p:nvPr/>
          </p:nvSpPr>
          <p:spPr bwMode="auto">
            <a:xfrm>
              <a:off x="957828" y="2466095"/>
              <a:ext cx="33407" cy="14200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8" y="0"/>
                </a:cxn>
                <a:cxn ang="0">
                  <a:pos x="37" y="0"/>
                </a:cxn>
                <a:cxn ang="0">
                  <a:pos x="56" y="0"/>
                </a:cxn>
                <a:cxn ang="0">
                  <a:pos x="0" y="24"/>
                </a:cxn>
              </a:cxnLst>
              <a:rect l="0" t="0" r="r" b="b"/>
              <a:pathLst>
                <a:path w="56" h="24">
                  <a:moveTo>
                    <a:pt x="0" y="24"/>
                  </a:moveTo>
                  <a:lnTo>
                    <a:pt x="8" y="0"/>
                  </a:lnTo>
                  <a:lnTo>
                    <a:pt x="37" y="0"/>
                  </a:lnTo>
                  <a:lnTo>
                    <a:pt x="56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6" name="Freeform 236"/>
            <p:cNvSpPr>
              <a:spLocks noChangeAspect="1"/>
            </p:cNvSpPr>
            <p:nvPr/>
          </p:nvSpPr>
          <p:spPr bwMode="auto">
            <a:xfrm>
              <a:off x="8688189" y="2068176"/>
              <a:ext cx="246154" cy="149096"/>
            </a:xfrm>
            <a:custGeom>
              <a:avLst/>
              <a:gdLst/>
              <a:ahLst/>
              <a:cxnLst>
                <a:cxn ang="0">
                  <a:pos x="127" y="47"/>
                </a:cxn>
                <a:cxn ang="0">
                  <a:pos x="72" y="0"/>
                </a:cxn>
                <a:cxn ang="0">
                  <a:pos x="0" y="79"/>
                </a:cxn>
                <a:cxn ang="0">
                  <a:pos x="8" y="118"/>
                </a:cxn>
                <a:cxn ang="0">
                  <a:pos x="87" y="103"/>
                </a:cxn>
                <a:cxn ang="0">
                  <a:pos x="87" y="165"/>
                </a:cxn>
                <a:cxn ang="0">
                  <a:pos x="64" y="205"/>
                </a:cxn>
                <a:cxn ang="0">
                  <a:pos x="135" y="189"/>
                </a:cxn>
                <a:cxn ang="0">
                  <a:pos x="206" y="221"/>
                </a:cxn>
                <a:cxn ang="0">
                  <a:pos x="230" y="252"/>
                </a:cxn>
                <a:cxn ang="0">
                  <a:pos x="293" y="189"/>
                </a:cxn>
                <a:cxn ang="0">
                  <a:pos x="348" y="189"/>
                </a:cxn>
                <a:cxn ang="0">
                  <a:pos x="403" y="150"/>
                </a:cxn>
                <a:cxn ang="0">
                  <a:pos x="420" y="86"/>
                </a:cxn>
                <a:cxn ang="0">
                  <a:pos x="403" y="16"/>
                </a:cxn>
                <a:cxn ang="0">
                  <a:pos x="324" y="16"/>
                </a:cxn>
                <a:cxn ang="0">
                  <a:pos x="245" y="38"/>
                </a:cxn>
                <a:cxn ang="0">
                  <a:pos x="158" y="7"/>
                </a:cxn>
                <a:cxn ang="0">
                  <a:pos x="127" y="47"/>
                </a:cxn>
              </a:cxnLst>
              <a:rect l="0" t="0" r="r" b="b"/>
              <a:pathLst>
                <a:path w="420" h="252">
                  <a:moveTo>
                    <a:pt x="127" y="47"/>
                  </a:moveTo>
                  <a:lnTo>
                    <a:pt x="72" y="0"/>
                  </a:lnTo>
                  <a:lnTo>
                    <a:pt x="0" y="79"/>
                  </a:lnTo>
                  <a:lnTo>
                    <a:pt x="8" y="118"/>
                  </a:lnTo>
                  <a:lnTo>
                    <a:pt x="87" y="103"/>
                  </a:lnTo>
                  <a:lnTo>
                    <a:pt x="87" y="165"/>
                  </a:lnTo>
                  <a:lnTo>
                    <a:pt x="64" y="205"/>
                  </a:lnTo>
                  <a:lnTo>
                    <a:pt x="135" y="189"/>
                  </a:lnTo>
                  <a:lnTo>
                    <a:pt x="206" y="221"/>
                  </a:lnTo>
                  <a:lnTo>
                    <a:pt x="230" y="252"/>
                  </a:lnTo>
                  <a:lnTo>
                    <a:pt x="293" y="189"/>
                  </a:lnTo>
                  <a:lnTo>
                    <a:pt x="348" y="189"/>
                  </a:lnTo>
                  <a:lnTo>
                    <a:pt x="403" y="150"/>
                  </a:lnTo>
                  <a:lnTo>
                    <a:pt x="420" y="86"/>
                  </a:lnTo>
                  <a:lnTo>
                    <a:pt x="403" y="16"/>
                  </a:lnTo>
                  <a:lnTo>
                    <a:pt x="324" y="16"/>
                  </a:lnTo>
                  <a:lnTo>
                    <a:pt x="245" y="38"/>
                  </a:lnTo>
                  <a:lnTo>
                    <a:pt x="158" y="7"/>
                  </a:lnTo>
                  <a:lnTo>
                    <a:pt x="127" y="4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7" name="Freeform 237"/>
            <p:cNvSpPr>
              <a:spLocks noChangeAspect="1"/>
            </p:cNvSpPr>
            <p:nvPr/>
          </p:nvSpPr>
          <p:spPr bwMode="auto">
            <a:xfrm>
              <a:off x="1256729" y="2425271"/>
              <a:ext cx="216264" cy="102947"/>
            </a:xfrm>
            <a:custGeom>
              <a:avLst/>
              <a:gdLst/>
              <a:ahLst/>
              <a:cxnLst>
                <a:cxn ang="0">
                  <a:pos x="270" y="174"/>
                </a:cxn>
                <a:cxn ang="0">
                  <a:pos x="267" y="143"/>
                </a:cxn>
                <a:cxn ang="0">
                  <a:pos x="176" y="106"/>
                </a:cxn>
                <a:cxn ang="0">
                  <a:pos x="81" y="162"/>
                </a:cxn>
                <a:cxn ang="0">
                  <a:pos x="5" y="166"/>
                </a:cxn>
                <a:cxn ang="0">
                  <a:pos x="0" y="87"/>
                </a:cxn>
                <a:cxn ang="0">
                  <a:pos x="33" y="56"/>
                </a:cxn>
                <a:cxn ang="0">
                  <a:pos x="68" y="107"/>
                </a:cxn>
                <a:cxn ang="0">
                  <a:pos x="116" y="107"/>
                </a:cxn>
                <a:cxn ang="0">
                  <a:pos x="127" y="59"/>
                </a:cxn>
                <a:cxn ang="0">
                  <a:pos x="92" y="44"/>
                </a:cxn>
                <a:cxn ang="0">
                  <a:pos x="76" y="8"/>
                </a:cxn>
                <a:cxn ang="0">
                  <a:pos x="165" y="0"/>
                </a:cxn>
                <a:cxn ang="0">
                  <a:pos x="210" y="38"/>
                </a:cxn>
                <a:cxn ang="0">
                  <a:pos x="297" y="42"/>
                </a:cxn>
                <a:cxn ang="0">
                  <a:pos x="368" y="106"/>
                </a:cxn>
                <a:cxn ang="0">
                  <a:pos x="334" y="128"/>
                </a:cxn>
                <a:cxn ang="0">
                  <a:pos x="289" y="113"/>
                </a:cxn>
                <a:cxn ang="0">
                  <a:pos x="270" y="174"/>
                </a:cxn>
              </a:cxnLst>
              <a:rect l="0" t="0" r="r" b="b"/>
              <a:pathLst>
                <a:path w="368" h="174">
                  <a:moveTo>
                    <a:pt x="270" y="174"/>
                  </a:moveTo>
                  <a:lnTo>
                    <a:pt x="267" y="143"/>
                  </a:lnTo>
                  <a:lnTo>
                    <a:pt x="176" y="106"/>
                  </a:lnTo>
                  <a:lnTo>
                    <a:pt x="81" y="162"/>
                  </a:lnTo>
                  <a:lnTo>
                    <a:pt x="5" y="166"/>
                  </a:lnTo>
                  <a:lnTo>
                    <a:pt x="0" y="87"/>
                  </a:lnTo>
                  <a:lnTo>
                    <a:pt x="33" y="56"/>
                  </a:lnTo>
                  <a:lnTo>
                    <a:pt x="68" y="107"/>
                  </a:lnTo>
                  <a:lnTo>
                    <a:pt x="116" y="107"/>
                  </a:lnTo>
                  <a:lnTo>
                    <a:pt x="127" y="59"/>
                  </a:lnTo>
                  <a:lnTo>
                    <a:pt x="92" y="44"/>
                  </a:lnTo>
                  <a:lnTo>
                    <a:pt x="76" y="8"/>
                  </a:lnTo>
                  <a:lnTo>
                    <a:pt x="165" y="0"/>
                  </a:lnTo>
                  <a:lnTo>
                    <a:pt x="210" y="38"/>
                  </a:lnTo>
                  <a:lnTo>
                    <a:pt x="297" y="42"/>
                  </a:lnTo>
                  <a:lnTo>
                    <a:pt x="368" y="106"/>
                  </a:lnTo>
                  <a:lnTo>
                    <a:pt x="334" y="128"/>
                  </a:lnTo>
                  <a:lnTo>
                    <a:pt x="289" y="113"/>
                  </a:lnTo>
                  <a:lnTo>
                    <a:pt x="270" y="17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8" name="Freeform 238"/>
            <p:cNvSpPr>
              <a:spLocks noChangeAspect="1"/>
            </p:cNvSpPr>
            <p:nvPr/>
          </p:nvSpPr>
          <p:spPr bwMode="auto">
            <a:xfrm>
              <a:off x="1290136" y="2977282"/>
              <a:ext cx="147692" cy="113597"/>
            </a:xfrm>
            <a:custGeom>
              <a:avLst/>
              <a:gdLst/>
              <a:ahLst/>
              <a:cxnLst>
                <a:cxn ang="0">
                  <a:pos x="191" y="166"/>
                </a:cxn>
                <a:cxn ang="0">
                  <a:pos x="148" y="174"/>
                </a:cxn>
                <a:cxn ang="0">
                  <a:pos x="126" y="172"/>
                </a:cxn>
                <a:cxn ang="0">
                  <a:pos x="95" y="192"/>
                </a:cxn>
                <a:cxn ang="0">
                  <a:pos x="56" y="181"/>
                </a:cxn>
                <a:cxn ang="0">
                  <a:pos x="31" y="181"/>
                </a:cxn>
                <a:cxn ang="0">
                  <a:pos x="28" y="111"/>
                </a:cxn>
                <a:cxn ang="0">
                  <a:pos x="4" y="67"/>
                </a:cxn>
                <a:cxn ang="0">
                  <a:pos x="0" y="39"/>
                </a:cxn>
                <a:cxn ang="0">
                  <a:pos x="40" y="7"/>
                </a:cxn>
                <a:cxn ang="0">
                  <a:pos x="51" y="19"/>
                </a:cxn>
                <a:cxn ang="0">
                  <a:pos x="65" y="0"/>
                </a:cxn>
                <a:cxn ang="0">
                  <a:pos x="117" y="19"/>
                </a:cxn>
                <a:cxn ang="0">
                  <a:pos x="131" y="58"/>
                </a:cxn>
                <a:cxn ang="0">
                  <a:pos x="196" y="50"/>
                </a:cxn>
                <a:cxn ang="0">
                  <a:pos x="237" y="44"/>
                </a:cxn>
                <a:cxn ang="0">
                  <a:pos x="252" y="83"/>
                </a:cxn>
                <a:cxn ang="0">
                  <a:pos x="239" y="114"/>
                </a:cxn>
                <a:cxn ang="0">
                  <a:pos x="221" y="136"/>
                </a:cxn>
                <a:cxn ang="0">
                  <a:pos x="235" y="160"/>
                </a:cxn>
                <a:cxn ang="0">
                  <a:pos x="191" y="166"/>
                </a:cxn>
              </a:cxnLst>
              <a:rect l="0" t="0" r="r" b="b"/>
              <a:pathLst>
                <a:path w="252" h="192">
                  <a:moveTo>
                    <a:pt x="191" y="166"/>
                  </a:moveTo>
                  <a:lnTo>
                    <a:pt x="148" y="174"/>
                  </a:lnTo>
                  <a:lnTo>
                    <a:pt x="126" y="172"/>
                  </a:lnTo>
                  <a:lnTo>
                    <a:pt x="95" y="192"/>
                  </a:lnTo>
                  <a:lnTo>
                    <a:pt x="56" y="181"/>
                  </a:lnTo>
                  <a:lnTo>
                    <a:pt x="31" y="181"/>
                  </a:lnTo>
                  <a:lnTo>
                    <a:pt x="28" y="111"/>
                  </a:lnTo>
                  <a:lnTo>
                    <a:pt x="4" y="67"/>
                  </a:lnTo>
                  <a:lnTo>
                    <a:pt x="0" y="39"/>
                  </a:lnTo>
                  <a:lnTo>
                    <a:pt x="40" y="7"/>
                  </a:lnTo>
                  <a:lnTo>
                    <a:pt x="51" y="19"/>
                  </a:lnTo>
                  <a:lnTo>
                    <a:pt x="65" y="0"/>
                  </a:lnTo>
                  <a:lnTo>
                    <a:pt x="117" y="19"/>
                  </a:lnTo>
                  <a:lnTo>
                    <a:pt x="131" y="58"/>
                  </a:lnTo>
                  <a:lnTo>
                    <a:pt x="196" y="50"/>
                  </a:lnTo>
                  <a:lnTo>
                    <a:pt x="237" y="44"/>
                  </a:lnTo>
                  <a:lnTo>
                    <a:pt x="252" y="83"/>
                  </a:lnTo>
                  <a:lnTo>
                    <a:pt x="239" y="114"/>
                  </a:lnTo>
                  <a:lnTo>
                    <a:pt x="221" y="136"/>
                  </a:lnTo>
                  <a:lnTo>
                    <a:pt x="235" y="160"/>
                  </a:lnTo>
                  <a:lnTo>
                    <a:pt x="191" y="16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9" name="Freeform 239"/>
            <p:cNvSpPr>
              <a:spLocks noChangeAspect="1"/>
            </p:cNvSpPr>
            <p:nvPr/>
          </p:nvSpPr>
          <p:spPr bwMode="auto">
            <a:xfrm>
              <a:off x="1302443" y="2393322"/>
              <a:ext cx="128352" cy="56799"/>
            </a:xfrm>
            <a:custGeom>
              <a:avLst/>
              <a:gdLst/>
              <a:ahLst/>
              <a:cxnLst>
                <a:cxn ang="0">
                  <a:pos x="221" y="96"/>
                </a:cxn>
                <a:cxn ang="0">
                  <a:pos x="134" y="92"/>
                </a:cxn>
                <a:cxn ang="0">
                  <a:pos x="89" y="54"/>
                </a:cxn>
                <a:cxn ang="0">
                  <a:pos x="0" y="62"/>
                </a:cxn>
                <a:cxn ang="0">
                  <a:pos x="36" y="30"/>
                </a:cxn>
                <a:cxn ang="0">
                  <a:pos x="99" y="0"/>
                </a:cxn>
                <a:cxn ang="0">
                  <a:pos x="171" y="24"/>
                </a:cxn>
                <a:cxn ang="0">
                  <a:pos x="221" y="96"/>
                </a:cxn>
              </a:cxnLst>
              <a:rect l="0" t="0" r="r" b="b"/>
              <a:pathLst>
                <a:path w="221" h="96">
                  <a:moveTo>
                    <a:pt x="221" y="96"/>
                  </a:moveTo>
                  <a:lnTo>
                    <a:pt x="134" y="92"/>
                  </a:lnTo>
                  <a:lnTo>
                    <a:pt x="89" y="54"/>
                  </a:lnTo>
                  <a:lnTo>
                    <a:pt x="0" y="62"/>
                  </a:lnTo>
                  <a:lnTo>
                    <a:pt x="36" y="30"/>
                  </a:lnTo>
                  <a:lnTo>
                    <a:pt x="99" y="0"/>
                  </a:lnTo>
                  <a:lnTo>
                    <a:pt x="171" y="24"/>
                  </a:lnTo>
                  <a:lnTo>
                    <a:pt x="221" y="9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0" name="Freeform 240"/>
            <p:cNvSpPr>
              <a:spLocks noChangeAspect="1"/>
            </p:cNvSpPr>
            <p:nvPr/>
          </p:nvSpPr>
          <p:spPr bwMode="auto">
            <a:xfrm>
              <a:off x="1240905" y="1947808"/>
              <a:ext cx="256704" cy="454389"/>
            </a:xfrm>
            <a:custGeom>
              <a:avLst/>
              <a:gdLst/>
              <a:ahLst/>
              <a:cxnLst>
                <a:cxn ang="0">
                  <a:pos x="59" y="320"/>
                </a:cxn>
                <a:cxn ang="0">
                  <a:pos x="91" y="300"/>
                </a:cxn>
                <a:cxn ang="0">
                  <a:pos x="86" y="202"/>
                </a:cxn>
                <a:cxn ang="0">
                  <a:pos x="82" y="169"/>
                </a:cxn>
                <a:cxn ang="0">
                  <a:pos x="47" y="138"/>
                </a:cxn>
                <a:cxn ang="0">
                  <a:pos x="12" y="99"/>
                </a:cxn>
                <a:cxn ang="0">
                  <a:pos x="44" y="106"/>
                </a:cxn>
                <a:cxn ang="0">
                  <a:pos x="86" y="114"/>
                </a:cxn>
                <a:cxn ang="0">
                  <a:pos x="150" y="106"/>
                </a:cxn>
                <a:cxn ang="0">
                  <a:pos x="170" y="59"/>
                </a:cxn>
                <a:cxn ang="0">
                  <a:pos x="198" y="23"/>
                </a:cxn>
                <a:cxn ang="0">
                  <a:pos x="226" y="0"/>
                </a:cxn>
                <a:cxn ang="0">
                  <a:pos x="261" y="7"/>
                </a:cxn>
                <a:cxn ang="0">
                  <a:pos x="296" y="40"/>
                </a:cxn>
                <a:cxn ang="0">
                  <a:pos x="268" y="114"/>
                </a:cxn>
                <a:cxn ang="0">
                  <a:pos x="318" y="160"/>
                </a:cxn>
                <a:cxn ang="0">
                  <a:pos x="318" y="160"/>
                </a:cxn>
                <a:cxn ang="0">
                  <a:pos x="318" y="211"/>
                </a:cxn>
                <a:cxn ang="0">
                  <a:pos x="335" y="273"/>
                </a:cxn>
                <a:cxn ang="0">
                  <a:pos x="339" y="349"/>
                </a:cxn>
                <a:cxn ang="0">
                  <a:pos x="359" y="411"/>
                </a:cxn>
                <a:cxn ang="0">
                  <a:pos x="383" y="483"/>
                </a:cxn>
                <a:cxn ang="0">
                  <a:pos x="405" y="511"/>
                </a:cxn>
                <a:cxn ang="0">
                  <a:pos x="438" y="538"/>
                </a:cxn>
                <a:cxn ang="0">
                  <a:pos x="403" y="568"/>
                </a:cxn>
                <a:cxn ang="0">
                  <a:pos x="355" y="620"/>
                </a:cxn>
                <a:cxn ang="0">
                  <a:pos x="312" y="671"/>
                </a:cxn>
                <a:cxn ang="0">
                  <a:pos x="300" y="715"/>
                </a:cxn>
                <a:cxn ang="0">
                  <a:pos x="303" y="767"/>
                </a:cxn>
                <a:cxn ang="0">
                  <a:pos x="257" y="696"/>
                </a:cxn>
                <a:cxn ang="0">
                  <a:pos x="198" y="707"/>
                </a:cxn>
                <a:cxn ang="0">
                  <a:pos x="170" y="734"/>
                </a:cxn>
                <a:cxn ang="0">
                  <a:pos x="91" y="730"/>
                </a:cxn>
                <a:cxn ang="0">
                  <a:pos x="36" y="691"/>
                </a:cxn>
                <a:cxn ang="0">
                  <a:pos x="16" y="640"/>
                </a:cxn>
                <a:cxn ang="0">
                  <a:pos x="0" y="589"/>
                </a:cxn>
                <a:cxn ang="0">
                  <a:pos x="12" y="502"/>
                </a:cxn>
                <a:cxn ang="0">
                  <a:pos x="67" y="478"/>
                </a:cxn>
                <a:cxn ang="0">
                  <a:pos x="106" y="438"/>
                </a:cxn>
                <a:cxn ang="0">
                  <a:pos x="119" y="386"/>
                </a:cxn>
                <a:cxn ang="0">
                  <a:pos x="185" y="395"/>
                </a:cxn>
                <a:cxn ang="0">
                  <a:pos x="146" y="327"/>
                </a:cxn>
                <a:cxn ang="0">
                  <a:pos x="59" y="320"/>
                </a:cxn>
              </a:cxnLst>
              <a:rect l="0" t="0" r="r" b="b"/>
              <a:pathLst>
                <a:path w="438" h="767">
                  <a:moveTo>
                    <a:pt x="59" y="320"/>
                  </a:moveTo>
                  <a:lnTo>
                    <a:pt x="91" y="300"/>
                  </a:lnTo>
                  <a:lnTo>
                    <a:pt x="86" y="202"/>
                  </a:lnTo>
                  <a:lnTo>
                    <a:pt x="82" y="169"/>
                  </a:lnTo>
                  <a:lnTo>
                    <a:pt x="47" y="138"/>
                  </a:lnTo>
                  <a:lnTo>
                    <a:pt x="12" y="99"/>
                  </a:lnTo>
                  <a:lnTo>
                    <a:pt x="44" y="106"/>
                  </a:lnTo>
                  <a:lnTo>
                    <a:pt x="86" y="114"/>
                  </a:lnTo>
                  <a:lnTo>
                    <a:pt x="150" y="106"/>
                  </a:lnTo>
                  <a:lnTo>
                    <a:pt x="170" y="59"/>
                  </a:lnTo>
                  <a:lnTo>
                    <a:pt x="198" y="23"/>
                  </a:lnTo>
                  <a:lnTo>
                    <a:pt x="226" y="0"/>
                  </a:lnTo>
                  <a:lnTo>
                    <a:pt x="261" y="7"/>
                  </a:lnTo>
                  <a:lnTo>
                    <a:pt x="296" y="40"/>
                  </a:lnTo>
                  <a:lnTo>
                    <a:pt x="268" y="114"/>
                  </a:lnTo>
                  <a:lnTo>
                    <a:pt x="318" y="160"/>
                  </a:lnTo>
                  <a:lnTo>
                    <a:pt x="318" y="160"/>
                  </a:lnTo>
                  <a:lnTo>
                    <a:pt x="318" y="211"/>
                  </a:lnTo>
                  <a:lnTo>
                    <a:pt x="335" y="273"/>
                  </a:lnTo>
                  <a:lnTo>
                    <a:pt x="339" y="349"/>
                  </a:lnTo>
                  <a:lnTo>
                    <a:pt x="359" y="411"/>
                  </a:lnTo>
                  <a:lnTo>
                    <a:pt x="383" y="483"/>
                  </a:lnTo>
                  <a:lnTo>
                    <a:pt x="405" y="511"/>
                  </a:lnTo>
                  <a:lnTo>
                    <a:pt x="438" y="538"/>
                  </a:lnTo>
                  <a:lnTo>
                    <a:pt x="403" y="568"/>
                  </a:lnTo>
                  <a:lnTo>
                    <a:pt x="355" y="620"/>
                  </a:lnTo>
                  <a:lnTo>
                    <a:pt x="312" y="671"/>
                  </a:lnTo>
                  <a:lnTo>
                    <a:pt x="300" y="715"/>
                  </a:lnTo>
                  <a:lnTo>
                    <a:pt x="303" y="767"/>
                  </a:lnTo>
                  <a:lnTo>
                    <a:pt x="257" y="696"/>
                  </a:lnTo>
                  <a:lnTo>
                    <a:pt x="198" y="707"/>
                  </a:lnTo>
                  <a:lnTo>
                    <a:pt x="170" y="734"/>
                  </a:lnTo>
                  <a:lnTo>
                    <a:pt x="91" y="730"/>
                  </a:lnTo>
                  <a:lnTo>
                    <a:pt x="36" y="691"/>
                  </a:lnTo>
                  <a:lnTo>
                    <a:pt x="16" y="640"/>
                  </a:lnTo>
                  <a:lnTo>
                    <a:pt x="0" y="589"/>
                  </a:lnTo>
                  <a:lnTo>
                    <a:pt x="12" y="502"/>
                  </a:lnTo>
                  <a:lnTo>
                    <a:pt x="67" y="478"/>
                  </a:lnTo>
                  <a:lnTo>
                    <a:pt x="106" y="438"/>
                  </a:lnTo>
                  <a:lnTo>
                    <a:pt x="119" y="386"/>
                  </a:lnTo>
                  <a:lnTo>
                    <a:pt x="185" y="395"/>
                  </a:lnTo>
                  <a:lnTo>
                    <a:pt x="146" y="327"/>
                  </a:lnTo>
                  <a:lnTo>
                    <a:pt x="59" y="32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1" name="Freeform 241"/>
            <p:cNvSpPr>
              <a:spLocks noChangeAspect="1"/>
            </p:cNvSpPr>
            <p:nvPr/>
          </p:nvSpPr>
          <p:spPr bwMode="auto">
            <a:xfrm>
              <a:off x="977168" y="2808661"/>
              <a:ext cx="174066" cy="102947"/>
            </a:xfrm>
            <a:custGeom>
              <a:avLst/>
              <a:gdLst/>
              <a:ahLst/>
              <a:cxnLst>
                <a:cxn ang="0">
                  <a:pos x="9" y="137"/>
                </a:cxn>
                <a:cxn ang="0">
                  <a:pos x="0" y="105"/>
                </a:cxn>
                <a:cxn ang="0">
                  <a:pos x="18" y="110"/>
                </a:cxn>
                <a:cxn ang="0">
                  <a:pos x="35" y="113"/>
                </a:cxn>
                <a:cxn ang="0">
                  <a:pos x="91" y="90"/>
                </a:cxn>
                <a:cxn ang="0">
                  <a:pos x="133" y="62"/>
                </a:cxn>
                <a:cxn ang="0">
                  <a:pos x="147" y="47"/>
                </a:cxn>
                <a:cxn ang="0">
                  <a:pos x="150" y="0"/>
                </a:cxn>
                <a:cxn ang="0">
                  <a:pos x="185" y="31"/>
                </a:cxn>
                <a:cxn ang="0">
                  <a:pos x="217" y="27"/>
                </a:cxn>
                <a:cxn ang="0">
                  <a:pos x="226" y="2"/>
                </a:cxn>
                <a:cxn ang="0">
                  <a:pos x="266" y="6"/>
                </a:cxn>
                <a:cxn ang="0">
                  <a:pos x="263" y="36"/>
                </a:cxn>
                <a:cxn ang="0">
                  <a:pos x="291" y="52"/>
                </a:cxn>
                <a:cxn ang="0">
                  <a:pos x="296" y="96"/>
                </a:cxn>
                <a:cxn ang="0">
                  <a:pos x="279" y="124"/>
                </a:cxn>
                <a:cxn ang="0">
                  <a:pos x="276" y="135"/>
                </a:cxn>
                <a:cxn ang="0">
                  <a:pos x="260" y="158"/>
                </a:cxn>
                <a:cxn ang="0">
                  <a:pos x="217" y="175"/>
                </a:cxn>
                <a:cxn ang="0">
                  <a:pos x="143" y="159"/>
                </a:cxn>
                <a:cxn ang="0">
                  <a:pos x="116" y="129"/>
                </a:cxn>
                <a:cxn ang="0">
                  <a:pos x="77" y="148"/>
                </a:cxn>
                <a:cxn ang="0">
                  <a:pos x="29" y="148"/>
                </a:cxn>
                <a:cxn ang="0">
                  <a:pos x="9" y="137"/>
                </a:cxn>
              </a:cxnLst>
              <a:rect l="0" t="0" r="r" b="b"/>
              <a:pathLst>
                <a:path w="296" h="175">
                  <a:moveTo>
                    <a:pt x="9" y="137"/>
                  </a:moveTo>
                  <a:lnTo>
                    <a:pt x="0" y="105"/>
                  </a:lnTo>
                  <a:lnTo>
                    <a:pt x="18" y="110"/>
                  </a:lnTo>
                  <a:lnTo>
                    <a:pt x="35" y="113"/>
                  </a:lnTo>
                  <a:lnTo>
                    <a:pt x="91" y="90"/>
                  </a:lnTo>
                  <a:lnTo>
                    <a:pt x="133" y="62"/>
                  </a:lnTo>
                  <a:lnTo>
                    <a:pt x="147" y="47"/>
                  </a:lnTo>
                  <a:lnTo>
                    <a:pt x="150" y="0"/>
                  </a:lnTo>
                  <a:lnTo>
                    <a:pt x="185" y="31"/>
                  </a:lnTo>
                  <a:lnTo>
                    <a:pt x="217" y="27"/>
                  </a:lnTo>
                  <a:lnTo>
                    <a:pt x="226" y="2"/>
                  </a:lnTo>
                  <a:lnTo>
                    <a:pt x="266" y="6"/>
                  </a:lnTo>
                  <a:lnTo>
                    <a:pt x="263" y="36"/>
                  </a:lnTo>
                  <a:lnTo>
                    <a:pt x="291" y="52"/>
                  </a:lnTo>
                  <a:lnTo>
                    <a:pt x="296" y="96"/>
                  </a:lnTo>
                  <a:lnTo>
                    <a:pt x="279" y="124"/>
                  </a:lnTo>
                  <a:lnTo>
                    <a:pt x="276" y="135"/>
                  </a:lnTo>
                  <a:lnTo>
                    <a:pt x="260" y="158"/>
                  </a:lnTo>
                  <a:lnTo>
                    <a:pt x="217" y="175"/>
                  </a:lnTo>
                  <a:lnTo>
                    <a:pt x="143" y="159"/>
                  </a:lnTo>
                  <a:lnTo>
                    <a:pt x="116" y="129"/>
                  </a:lnTo>
                  <a:lnTo>
                    <a:pt x="77" y="148"/>
                  </a:lnTo>
                  <a:lnTo>
                    <a:pt x="29" y="148"/>
                  </a:lnTo>
                  <a:lnTo>
                    <a:pt x="9" y="13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2" name="Freeform 242"/>
            <p:cNvSpPr>
              <a:spLocks noChangeAspect="1"/>
            </p:cNvSpPr>
            <p:nvPr/>
          </p:nvSpPr>
          <p:spPr bwMode="auto">
            <a:xfrm>
              <a:off x="977168" y="2808661"/>
              <a:ext cx="174066" cy="102947"/>
            </a:xfrm>
            <a:custGeom>
              <a:avLst/>
              <a:gdLst/>
              <a:ahLst/>
              <a:cxnLst>
                <a:cxn ang="0">
                  <a:pos x="9" y="137"/>
                </a:cxn>
                <a:cxn ang="0">
                  <a:pos x="0" y="105"/>
                </a:cxn>
                <a:cxn ang="0">
                  <a:pos x="18" y="110"/>
                </a:cxn>
                <a:cxn ang="0">
                  <a:pos x="35" y="113"/>
                </a:cxn>
                <a:cxn ang="0">
                  <a:pos x="91" y="90"/>
                </a:cxn>
                <a:cxn ang="0">
                  <a:pos x="133" y="62"/>
                </a:cxn>
                <a:cxn ang="0">
                  <a:pos x="147" y="47"/>
                </a:cxn>
                <a:cxn ang="0">
                  <a:pos x="150" y="0"/>
                </a:cxn>
                <a:cxn ang="0">
                  <a:pos x="185" y="31"/>
                </a:cxn>
                <a:cxn ang="0">
                  <a:pos x="217" y="27"/>
                </a:cxn>
                <a:cxn ang="0">
                  <a:pos x="226" y="2"/>
                </a:cxn>
                <a:cxn ang="0">
                  <a:pos x="266" y="6"/>
                </a:cxn>
                <a:cxn ang="0">
                  <a:pos x="263" y="36"/>
                </a:cxn>
                <a:cxn ang="0">
                  <a:pos x="291" y="52"/>
                </a:cxn>
                <a:cxn ang="0">
                  <a:pos x="296" y="96"/>
                </a:cxn>
                <a:cxn ang="0">
                  <a:pos x="279" y="124"/>
                </a:cxn>
                <a:cxn ang="0">
                  <a:pos x="276" y="135"/>
                </a:cxn>
                <a:cxn ang="0">
                  <a:pos x="260" y="158"/>
                </a:cxn>
                <a:cxn ang="0">
                  <a:pos x="217" y="175"/>
                </a:cxn>
                <a:cxn ang="0">
                  <a:pos x="143" y="159"/>
                </a:cxn>
                <a:cxn ang="0">
                  <a:pos x="116" y="129"/>
                </a:cxn>
                <a:cxn ang="0">
                  <a:pos x="77" y="148"/>
                </a:cxn>
                <a:cxn ang="0">
                  <a:pos x="29" y="148"/>
                </a:cxn>
                <a:cxn ang="0">
                  <a:pos x="9" y="137"/>
                </a:cxn>
              </a:cxnLst>
              <a:rect l="0" t="0" r="r" b="b"/>
              <a:pathLst>
                <a:path w="296" h="175">
                  <a:moveTo>
                    <a:pt x="9" y="137"/>
                  </a:moveTo>
                  <a:lnTo>
                    <a:pt x="0" y="105"/>
                  </a:lnTo>
                  <a:lnTo>
                    <a:pt x="18" y="110"/>
                  </a:lnTo>
                  <a:lnTo>
                    <a:pt x="35" y="113"/>
                  </a:lnTo>
                  <a:lnTo>
                    <a:pt x="91" y="90"/>
                  </a:lnTo>
                  <a:lnTo>
                    <a:pt x="133" y="62"/>
                  </a:lnTo>
                  <a:lnTo>
                    <a:pt x="147" y="47"/>
                  </a:lnTo>
                  <a:lnTo>
                    <a:pt x="150" y="0"/>
                  </a:lnTo>
                  <a:lnTo>
                    <a:pt x="185" y="31"/>
                  </a:lnTo>
                  <a:lnTo>
                    <a:pt x="217" y="27"/>
                  </a:lnTo>
                  <a:lnTo>
                    <a:pt x="226" y="2"/>
                  </a:lnTo>
                  <a:lnTo>
                    <a:pt x="266" y="6"/>
                  </a:lnTo>
                  <a:lnTo>
                    <a:pt x="263" y="36"/>
                  </a:lnTo>
                  <a:lnTo>
                    <a:pt x="291" y="52"/>
                  </a:lnTo>
                  <a:lnTo>
                    <a:pt x="296" y="96"/>
                  </a:lnTo>
                  <a:lnTo>
                    <a:pt x="279" y="124"/>
                  </a:lnTo>
                  <a:lnTo>
                    <a:pt x="276" y="135"/>
                  </a:lnTo>
                  <a:lnTo>
                    <a:pt x="260" y="158"/>
                  </a:lnTo>
                  <a:lnTo>
                    <a:pt x="217" y="175"/>
                  </a:lnTo>
                  <a:lnTo>
                    <a:pt x="143" y="159"/>
                  </a:lnTo>
                  <a:lnTo>
                    <a:pt x="116" y="129"/>
                  </a:lnTo>
                  <a:lnTo>
                    <a:pt x="77" y="148"/>
                  </a:lnTo>
                  <a:lnTo>
                    <a:pt x="29" y="148"/>
                  </a:lnTo>
                  <a:lnTo>
                    <a:pt x="9" y="137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3" name="Freeform 243"/>
            <p:cNvSpPr>
              <a:spLocks noChangeAspect="1"/>
            </p:cNvSpPr>
            <p:nvPr/>
          </p:nvSpPr>
          <p:spPr bwMode="auto">
            <a:xfrm>
              <a:off x="664201" y="2425271"/>
              <a:ext cx="15824" cy="8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16"/>
                </a:cxn>
                <a:cxn ang="0">
                  <a:pos x="29" y="0"/>
                </a:cxn>
                <a:cxn ang="0">
                  <a:pos x="0" y="0"/>
                </a:cxn>
              </a:cxnLst>
              <a:rect l="0" t="0" r="r" b="b"/>
              <a:pathLst>
                <a:path w="29" h="16">
                  <a:moveTo>
                    <a:pt x="0" y="0"/>
                  </a:moveTo>
                  <a:lnTo>
                    <a:pt x="5" y="16"/>
                  </a:lnTo>
                  <a:lnTo>
                    <a:pt x="2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4" name="Freeform 244"/>
            <p:cNvSpPr>
              <a:spLocks noChangeAspect="1"/>
            </p:cNvSpPr>
            <p:nvPr/>
          </p:nvSpPr>
          <p:spPr bwMode="auto">
            <a:xfrm>
              <a:off x="1080905" y="3202701"/>
              <a:ext cx="54506" cy="39049"/>
            </a:xfrm>
            <a:custGeom>
              <a:avLst/>
              <a:gdLst/>
              <a:ahLst/>
              <a:cxnLst>
                <a:cxn ang="0">
                  <a:pos x="85" y="0"/>
                </a:cxn>
                <a:cxn ang="0">
                  <a:pos x="48" y="8"/>
                </a:cxn>
                <a:cxn ang="0">
                  <a:pos x="0" y="5"/>
                </a:cxn>
                <a:cxn ang="0">
                  <a:pos x="8" y="20"/>
                </a:cxn>
                <a:cxn ang="0">
                  <a:pos x="18" y="41"/>
                </a:cxn>
                <a:cxn ang="0">
                  <a:pos x="44" y="45"/>
                </a:cxn>
                <a:cxn ang="0">
                  <a:pos x="93" y="64"/>
                </a:cxn>
                <a:cxn ang="0">
                  <a:pos x="91" y="30"/>
                </a:cxn>
                <a:cxn ang="0">
                  <a:pos x="85" y="0"/>
                </a:cxn>
              </a:cxnLst>
              <a:rect l="0" t="0" r="r" b="b"/>
              <a:pathLst>
                <a:path w="93" h="64">
                  <a:moveTo>
                    <a:pt x="85" y="0"/>
                  </a:moveTo>
                  <a:lnTo>
                    <a:pt x="48" y="8"/>
                  </a:lnTo>
                  <a:lnTo>
                    <a:pt x="0" y="5"/>
                  </a:lnTo>
                  <a:lnTo>
                    <a:pt x="8" y="20"/>
                  </a:lnTo>
                  <a:lnTo>
                    <a:pt x="18" y="41"/>
                  </a:lnTo>
                  <a:lnTo>
                    <a:pt x="44" y="45"/>
                  </a:lnTo>
                  <a:lnTo>
                    <a:pt x="93" y="64"/>
                  </a:lnTo>
                  <a:lnTo>
                    <a:pt x="91" y="30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5" name="Freeform 245"/>
            <p:cNvSpPr>
              <a:spLocks noChangeAspect="1"/>
            </p:cNvSpPr>
            <p:nvPr/>
          </p:nvSpPr>
          <p:spPr bwMode="auto">
            <a:xfrm>
              <a:off x="476069" y="2583242"/>
              <a:ext cx="109011" cy="140222"/>
            </a:xfrm>
            <a:custGeom>
              <a:avLst/>
              <a:gdLst/>
              <a:ahLst/>
              <a:cxnLst>
                <a:cxn ang="0">
                  <a:pos x="98" y="0"/>
                </a:cxn>
                <a:cxn ang="0">
                  <a:pos x="83" y="21"/>
                </a:cxn>
                <a:cxn ang="0">
                  <a:pos x="83" y="52"/>
                </a:cxn>
                <a:cxn ang="0">
                  <a:pos x="8" y="59"/>
                </a:cxn>
                <a:cxn ang="0">
                  <a:pos x="0" y="83"/>
                </a:cxn>
                <a:cxn ang="0">
                  <a:pos x="0" y="124"/>
                </a:cxn>
                <a:cxn ang="0">
                  <a:pos x="23" y="127"/>
                </a:cxn>
                <a:cxn ang="0">
                  <a:pos x="23" y="155"/>
                </a:cxn>
                <a:cxn ang="0">
                  <a:pos x="0" y="171"/>
                </a:cxn>
                <a:cxn ang="0">
                  <a:pos x="4" y="210"/>
                </a:cxn>
                <a:cxn ang="0">
                  <a:pos x="4" y="238"/>
                </a:cxn>
                <a:cxn ang="0">
                  <a:pos x="56" y="234"/>
                </a:cxn>
                <a:cxn ang="0">
                  <a:pos x="102" y="203"/>
                </a:cxn>
                <a:cxn ang="0">
                  <a:pos x="142" y="203"/>
                </a:cxn>
                <a:cxn ang="0">
                  <a:pos x="174" y="194"/>
                </a:cxn>
                <a:cxn ang="0">
                  <a:pos x="185" y="127"/>
                </a:cxn>
                <a:cxn ang="0">
                  <a:pos x="167" y="78"/>
                </a:cxn>
                <a:cxn ang="0">
                  <a:pos x="116" y="78"/>
                </a:cxn>
                <a:cxn ang="0">
                  <a:pos x="108" y="51"/>
                </a:cxn>
                <a:cxn ang="0">
                  <a:pos x="121" y="14"/>
                </a:cxn>
                <a:cxn ang="0">
                  <a:pos x="98" y="0"/>
                </a:cxn>
              </a:cxnLst>
              <a:rect l="0" t="0" r="r" b="b"/>
              <a:pathLst>
                <a:path w="185" h="238">
                  <a:moveTo>
                    <a:pt x="98" y="0"/>
                  </a:moveTo>
                  <a:lnTo>
                    <a:pt x="83" y="21"/>
                  </a:lnTo>
                  <a:lnTo>
                    <a:pt x="83" y="52"/>
                  </a:lnTo>
                  <a:lnTo>
                    <a:pt x="8" y="59"/>
                  </a:lnTo>
                  <a:lnTo>
                    <a:pt x="0" y="83"/>
                  </a:lnTo>
                  <a:lnTo>
                    <a:pt x="0" y="124"/>
                  </a:lnTo>
                  <a:lnTo>
                    <a:pt x="23" y="127"/>
                  </a:lnTo>
                  <a:lnTo>
                    <a:pt x="23" y="155"/>
                  </a:lnTo>
                  <a:lnTo>
                    <a:pt x="0" y="171"/>
                  </a:lnTo>
                  <a:lnTo>
                    <a:pt x="4" y="210"/>
                  </a:lnTo>
                  <a:lnTo>
                    <a:pt x="4" y="238"/>
                  </a:lnTo>
                  <a:lnTo>
                    <a:pt x="56" y="234"/>
                  </a:lnTo>
                  <a:lnTo>
                    <a:pt x="102" y="203"/>
                  </a:lnTo>
                  <a:lnTo>
                    <a:pt x="142" y="203"/>
                  </a:lnTo>
                  <a:lnTo>
                    <a:pt x="174" y="194"/>
                  </a:lnTo>
                  <a:lnTo>
                    <a:pt x="185" y="127"/>
                  </a:lnTo>
                  <a:lnTo>
                    <a:pt x="167" y="78"/>
                  </a:lnTo>
                  <a:lnTo>
                    <a:pt x="116" y="78"/>
                  </a:lnTo>
                  <a:lnTo>
                    <a:pt x="108" y="51"/>
                  </a:lnTo>
                  <a:lnTo>
                    <a:pt x="121" y="14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6" name="Freeform 246"/>
            <p:cNvSpPr>
              <a:spLocks noChangeAspect="1"/>
            </p:cNvSpPr>
            <p:nvPr/>
          </p:nvSpPr>
          <p:spPr bwMode="auto">
            <a:xfrm>
              <a:off x="539366" y="2581467"/>
              <a:ext cx="54506" cy="47924"/>
            </a:xfrm>
            <a:custGeom>
              <a:avLst/>
              <a:gdLst/>
              <a:ahLst/>
              <a:cxnLst>
                <a:cxn ang="0">
                  <a:pos x="59" y="81"/>
                </a:cxn>
                <a:cxn ang="0">
                  <a:pos x="8" y="81"/>
                </a:cxn>
                <a:cxn ang="0">
                  <a:pos x="0" y="54"/>
                </a:cxn>
                <a:cxn ang="0">
                  <a:pos x="13" y="17"/>
                </a:cxn>
                <a:cxn ang="0">
                  <a:pos x="38" y="0"/>
                </a:cxn>
                <a:cxn ang="0">
                  <a:pos x="66" y="7"/>
                </a:cxn>
                <a:cxn ang="0">
                  <a:pos x="86" y="27"/>
                </a:cxn>
                <a:cxn ang="0">
                  <a:pos x="93" y="59"/>
                </a:cxn>
                <a:cxn ang="0">
                  <a:pos x="59" y="81"/>
                </a:cxn>
              </a:cxnLst>
              <a:rect l="0" t="0" r="r" b="b"/>
              <a:pathLst>
                <a:path w="93" h="81">
                  <a:moveTo>
                    <a:pt x="59" y="81"/>
                  </a:moveTo>
                  <a:lnTo>
                    <a:pt x="8" y="81"/>
                  </a:lnTo>
                  <a:lnTo>
                    <a:pt x="0" y="54"/>
                  </a:lnTo>
                  <a:lnTo>
                    <a:pt x="13" y="17"/>
                  </a:lnTo>
                  <a:lnTo>
                    <a:pt x="38" y="0"/>
                  </a:lnTo>
                  <a:lnTo>
                    <a:pt x="66" y="7"/>
                  </a:lnTo>
                  <a:lnTo>
                    <a:pt x="86" y="27"/>
                  </a:lnTo>
                  <a:lnTo>
                    <a:pt x="93" y="59"/>
                  </a:lnTo>
                  <a:lnTo>
                    <a:pt x="59" y="8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7" name="Freeform 247"/>
            <p:cNvSpPr>
              <a:spLocks noChangeAspect="1"/>
            </p:cNvSpPr>
            <p:nvPr/>
          </p:nvSpPr>
          <p:spPr bwMode="auto">
            <a:xfrm>
              <a:off x="553431" y="2455445"/>
              <a:ext cx="22857" cy="39049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5" y="20"/>
                </a:cxn>
                <a:cxn ang="0">
                  <a:pos x="0" y="52"/>
                </a:cxn>
                <a:cxn ang="0">
                  <a:pos x="16" y="68"/>
                </a:cxn>
                <a:cxn ang="0">
                  <a:pos x="40" y="35"/>
                </a:cxn>
                <a:cxn ang="0">
                  <a:pos x="36" y="0"/>
                </a:cxn>
              </a:cxnLst>
              <a:rect l="0" t="0" r="r" b="b"/>
              <a:pathLst>
                <a:path w="40" h="68">
                  <a:moveTo>
                    <a:pt x="36" y="0"/>
                  </a:moveTo>
                  <a:lnTo>
                    <a:pt x="5" y="20"/>
                  </a:lnTo>
                  <a:lnTo>
                    <a:pt x="0" y="52"/>
                  </a:lnTo>
                  <a:lnTo>
                    <a:pt x="16" y="68"/>
                  </a:lnTo>
                  <a:lnTo>
                    <a:pt x="40" y="35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8" name="Freeform 248"/>
            <p:cNvSpPr>
              <a:spLocks noChangeAspect="1"/>
            </p:cNvSpPr>
            <p:nvPr/>
          </p:nvSpPr>
          <p:spPr bwMode="auto">
            <a:xfrm>
              <a:off x="579805" y="2448345"/>
              <a:ext cx="193407" cy="337242"/>
            </a:xfrm>
            <a:custGeom>
              <a:avLst/>
              <a:gdLst/>
              <a:ahLst/>
              <a:cxnLst>
                <a:cxn ang="0">
                  <a:pos x="52" y="7"/>
                </a:cxn>
                <a:cxn ang="0">
                  <a:pos x="32" y="43"/>
                </a:cxn>
                <a:cxn ang="0">
                  <a:pos x="0" y="79"/>
                </a:cxn>
                <a:cxn ang="0">
                  <a:pos x="24" y="90"/>
                </a:cxn>
                <a:cxn ang="0">
                  <a:pos x="32" y="118"/>
                </a:cxn>
                <a:cxn ang="0">
                  <a:pos x="32" y="146"/>
                </a:cxn>
                <a:cxn ang="0">
                  <a:pos x="4" y="162"/>
                </a:cxn>
                <a:cxn ang="0">
                  <a:pos x="17" y="190"/>
                </a:cxn>
                <a:cxn ang="0">
                  <a:pos x="44" y="193"/>
                </a:cxn>
                <a:cxn ang="0">
                  <a:pos x="52" y="217"/>
                </a:cxn>
                <a:cxn ang="0">
                  <a:pos x="41" y="241"/>
                </a:cxn>
                <a:cxn ang="0">
                  <a:pos x="115" y="256"/>
                </a:cxn>
                <a:cxn ang="0">
                  <a:pos x="131" y="284"/>
                </a:cxn>
                <a:cxn ang="0">
                  <a:pos x="155" y="292"/>
                </a:cxn>
                <a:cxn ang="0">
                  <a:pos x="147" y="315"/>
                </a:cxn>
                <a:cxn ang="0">
                  <a:pos x="107" y="339"/>
                </a:cxn>
                <a:cxn ang="0">
                  <a:pos x="76" y="339"/>
                </a:cxn>
                <a:cxn ang="0">
                  <a:pos x="72" y="375"/>
                </a:cxn>
                <a:cxn ang="0">
                  <a:pos x="83" y="394"/>
                </a:cxn>
                <a:cxn ang="0">
                  <a:pos x="76" y="427"/>
                </a:cxn>
                <a:cxn ang="0">
                  <a:pos x="52" y="442"/>
                </a:cxn>
                <a:cxn ang="0">
                  <a:pos x="123" y="458"/>
                </a:cxn>
                <a:cxn ang="0">
                  <a:pos x="120" y="470"/>
                </a:cxn>
                <a:cxn ang="0">
                  <a:pos x="92" y="473"/>
                </a:cxn>
                <a:cxn ang="0">
                  <a:pos x="63" y="505"/>
                </a:cxn>
                <a:cxn ang="0">
                  <a:pos x="36" y="537"/>
                </a:cxn>
                <a:cxn ang="0">
                  <a:pos x="32" y="569"/>
                </a:cxn>
                <a:cxn ang="0">
                  <a:pos x="100" y="541"/>
                </a:cxn>
                <a:cxn ang="0">
                  <a:pos x="142" y="517"/>
                </a:cxn>
                <a:cxn ang="0">
                  <a:pos x="203" y="534"/>
                </a:cxn>
                <a:cxn ang="0">
                  <a:pos x="249" y="501"/>
                </a:cxn>
                <a:cxn ang="0">
                  <a:pos x="309" y="486"/>
                </a:cxn>
                <a:cxn ang="0">
                  <a:pos x="273" y="458"/>
                </a:cxn>
                <a:cxn ang="0">
                  <a:pos x="293" y="442"/>
                </a:cxn>
                <a:cxn ang="0">
                  <a:pos x="324" y="446"/>
                </a:cxn>
                <a:cxn ang="0">
                  <a:pos x="328" y="375"/>
                </a:cxn>
                <a:cxn ang="0">
                  <a:pos x="269" y="355"/>
                </a:cxn>
                <a:cxn ang="0">
                  <a:pos x="265" y="308"/>
                </a:cxn>
                <a:cxn ang="0">
                  <a:pos x="258" y="280"/>
                </a:cxn>
                <a:cxn ang="0">
                  <a:pos x="226" y="269"/>
                </a:cxn>
                <a:cxn ang="0">
                  <a:pos x="230" y="228"/>
                </a:cxn>
                <a:cxn ang="0">
                  <a:pos x="203" y="221"/>
                </a:cxn>
                <a:cxn ang="0">
                  <a:pos x="210" y="166"/>
                </a:cxn>
                <a:cxn ang="0">
                  <a:pos x="135" y="110"/>
                </a:cxn>
                <a:cxn ang="0">
                  <a:pos x="175" y="98"/>
                </a:cxn>
                <a:cxn ang="0">
                  <a:pos x="179" y="51"/>
                </a:cxn>
                <a:cxn ang="0">
                  <a:pos x="107" y="51"/>
                </a:cxn>
                <a:cxn ang="0">
                  <a:pos x="107" y="0"/>
                </a:cxn>
                <a:cxn ang="0">
                  <a:pos x="52" y="7"/>
                </a:cxn>
              </a:cxnLst>
              <a:rect l="0" t="0" r="r" b="b"/>
              <a:pathLst>
                <a:path w="328" h="569">
                  <a:moveTo>
                    <a:pt x="52" y="7"/>
                  </a:moveTo>
                  <a:lnTo>
                    <a:pt x="32" y="43"/>
                  </a:lnTo>
                  <a:lnTo>
                    <a:pt x="0" y="79"/>
                  </a:lnTo>
                  <a:lnTo>
                    <a:pt x="24" y="90"/>
                  </a:lnTo>
                  <a:lnTo>
                    <a:pt x="32" y="118"/>
                  </a:lnTo>
                  <a:lnTo>
                    <a:pt x="32" y="146"/>
                  </a:lnTo>
                  <a:lnTo>
                    <a:pt x="4" y="162"/>
                  </a:lnTo>
                  <a:lnTo>
                    <a:pt x="17" y="190"/>
                  </a:lnTo>
                  <a:lnTo>
                    <a:pt x="44" y="193"/>
                  </a:lnTo>
                  <a:lnTo>
                    <a:pt x="52" y="217"/>
                  </a:lnTo>
                  <a:lnTo>
                    <a:pt x="41" y="241"/>
                  </a:lnTo>
                  <a:lnTo>
                    <a:pt x="115" y="256"/>
                  </a:lnTo>
                  <a:lnTo>
                    <a:pt x="131" y="284"/>
                  </a:lnTo>
                  <a:lnTo>
                    <a:pt x="155" y="292"/>
                  </a:lnTo>
                  <a:lnTo>
                    <a:pt x="147" y="315"/>
                  </a:lnTo>
                  <a:lnTo>
                    <a:pt x="107" y="339"/>
                  </a:lnTo>
                  <a:lnTo>
                    <a:pt x="76" y="339"/>
                  </a:lnTo>
                  <a:lnTo>
                    <a:pt x="72" y="375"/>
                  </a:lnTo>
                  <a:lnTo>
                    <a:pt x="83" y="394"/>
                  </a:lnTo>
                  <a:lnTo>
                    <a:pt x="76" y="427"/>
                  </a:lnTo>
                  <a:lnTo>
                    <a:pt x="52" y="442"/>
                  </a:lnTo>
                  <a:lnTo>
                    <a:pt x="123" y="458"/>
                  </a:lnTo>
                  <a:lnTo>
                    <a:pt x="120" y="470"/>
                  </a:lnTo>
                  <a:lnTo>
                    <a:pt x="92" y="473"/>
                  </a:lnTo>
                  <a:lnTo>
                    <a:pt x="63" y="505"/>
                  </a:lnTo>
                  <a:lnTo>
                    <a:pt x="36" y="537"/>
                  </a:lnTo>
                  <a:lnTo>
                    <a:pt x="32" y="569"/>
                  </a:lnTo>
                  <a:lnTo>
                    <a:pt x="100" y="541"/>
                  </a:lnTo>
                  <a:lnTo>
                    <a:pt x="142" y="517"/>
                  </a:lnTo>
                  <a:lnTo>
                    <a:pt x="203" y="534"/>
                  </a:lnTo>
                  <a:lnTo>
                    <a:pt x="249" y="501"/>
                  </a:lnTo>
                  <a:lnTo>
                    <a:pt x="309" y="486"/>
                  </a:lnTo>
                  <a:lnTo>
                    <a:pt x="273" y="458"/>
                  </a:lnTo>
                  <a:lnTo>
                    <a:pt x="293" y="442"/>
                  </a:lnTo>
                  <a:lnTo>
                    <a:pt x="324" y="446"/>
                  </a:lnTo>
                  <a:lnTo>
                    <a:pt x="328" y="375"/>
                  </a:lnTo>
                  <a:lnTo>
                    <a:pt x="269" y="355"/>
                  </a:lnTo>
                  <a:lnTo>
                    <a:pt x="265" y="308"/>
                  </a:lnTo>
                  <a:lnTo>
                    <a:pt x="258" y="280"/>
                  </a:lnTo>
                  <a:lnTo>
                    <a:pt x="226" y="269"/>
                  </a:lnTo>
                  <a:lnTo>
                    <a:pt x="230" y="228"/>
                  </a:lnTo>
                  <a:lnTo>
                    <a:pt x="203" y="221"/>
                  </a:lnTo>
                  <a:lnTo>
                    <a:pt x="210" y="166"/>
                  </a:lnTo>
                  <a:lnTo>
                    <a:pt x="135" y="110"/>
                  </a:lnTo>
                  <a:lnTo>
                    <a:pt x="175" y="98"/>
                  </a:lnTo>
                  <a:lnTo>
                    <a:pt x="179" y="51"/>
                  </a:lnTo>
                  <a:lnTo>
                    <a:pt x="107" y="51"/>
                  </a:lnTo>
                  <a:lnTo>
                    <a:pt x="107" y="0"/>
                  </a:lnTo>
                  <a:lnTo>
                    <a:pt x="52" y="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9" name="Freeform 249"/>
            <p:cNvSpPr>
              <a:spLocks noChangeAspect="1"/>
            </p:cNvSpPr>
            <p:nvPr/>
          </p:nvSpPr>
          <p:spPr bwMode="auto">
            <a:xfrm>
              <a:off x="688816" y="2359597"/>
              <a:ext cx="17582" cy="33724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28"/>
                </a:cxn>
                <a:cxn ang="0">
                  <a:pos x="8" y="59"/>
                </a:cxn>
                <a:cxn ang="0">
                  <a:pos x="28" y="59"/>
                </a:cxn>
                <a:cxn ang="0">
                  <a:pos x="24" y="0"/>
                </a:cxn>
              </a:cxnLst>
              <a:rect l="0" t="0" r="r" b="b"/>
              <a:pathLst>
                <a:path w="28" h="59">
                  <a:moveTo>
                    <a:pt x="24" y="0"/>
                  </a:moveTo>
                  <a:lnTo>
                    <a:pt x="0" y="28"/>
                  </a:lnTo>
                  <a:lnTo>
                    <a:pt x="8" y="59"/>
                  </a:lnTo>
                  <a:lnTo>
                    <a:pt x="28" y="59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0" name="Freeform 250"/>
            <p:cNvSpPr>
              <a:spLocks noChangeAspect="1"/>
            </p:cNvSpPr>
            <p:nvPr/>
          </p:nvSpPr>
          <p:spPr bwMode="auto">
            <a:xfrm>
              <a:off x="850575" y="1891009"/>
              <a:ext cx="652308" cy="573311"/>
            </a:xfrm>
            <a:custGeom>
              <a:avLst/>
              <a:gdLst/>
              <a:ahLst/>
              <a:cxnLst>
                <a:cxn ang="0">
                  <a:pos x="961" y="136"/>
                </a:cxn>
                <a:cxn ang="0">
                  <a:pos x="891" y="96"/>
                </a:cxn>
                <a:cxn ang="0">
                  <a:pos x="835" y="155"/>
                </a:cxn>
                <a:cxn ang="0">
                  <a:pos x="751" y="210"/>
                </a:cxn>
                <a:cxn ang="0">
                  <a:pos x="677" y="195"/>
                </a:cxn>
                <a:cxn ang="0">
                  <a:pos x="626" y="246"/>
                </a:cxn>
                <a:cxn ang="0">
                  <a:pos x="550" y="250"/>
                </a:cxn>
                <a:cxn ang="0">
                  <a:pos x="503" y="285"/>
                </a:cxn>
                <a:cxn ang="0">
                  <a:pos x="471" y="317"/>
                </a:cxn>
                <a:cxn ang="0">
                  <a:pos x="440" y="372"/>
                </a:cxn>
                <a:cxn ang="0">
                  <a:pos x="396" y="412"/>
                </a:cxn>
                <a:cxn ang="0">
                  <a:pos x="365" y="482"/>
                </a:cxn>
                <a:cxn ang="0">
                  <a:pos x="372" y="546"/>
                </a:cxn>
                <a:cxn ang="0">
                  <a:pos x="309" y="554"/>
                </a:cxn>
                <a:cxn ang="0">
                  <a:pos x="309" y="668"/>
                </a:cxn>
                <a:cxn ang="0">
                  <a:pos x="341" y="771"/>
                </a:cxn>
                <a:cxn ang="0">
                  <a:pos x="309" y="850"/>
                </a:cxn>
                <a:cxn ang="0">
                  <a:pos x="278" y="937"/>
                </a:cxn>
                <a:cxn ang="0">
                  <a:pos x="179" y="929"/>
                </a:cxn>
                <a:cxn ang="0">
                  <a:pos x="107" y="965"/>
                </a:cxn>
                <a:cxn ang="0">
                  <a:pos x="48" y="914"/>
                </a:cxn>
                <a:cxn ang="0">
                  <a:pos x="37" y="815"/>
                </a:cxn>
                <a:cxn ang="0">
                  <a:pos x="0" y="692"/>
                </a:cxn>
                <a:cxn ang="0">
                  <a:pos x="44" y="653"/>
                </a:cxn>
                <a:cxn ang="0">
                  <a:pos x="127" y="633"/>
                </a:cxn>
                <a:cxn ang="0">
                  <a:pos x="195" y="602"/>
                </a:cxn>
                <a:cxn ang="0">
                  <a:pos x="262" y="526"/>
                </a:cxn>
                <a:cxn ang="0">
                  <a:pos x="302" y="460"/>
                </a:cxn>
                <a:cxn ang="0">
                  <a:pos x="326" y="372"/>
                </a:cxn>
                <a:cxn ang="0">
                  <a:pos x="412" y="278"/>
                </a:cxn>
                <a:cxn ang="0">
                  <a:pos x="519" y="237"/>
                </a:cxn>
                <a:cxn ang="0">
                  <a:pos x="622" y="206"/>
                </a:cxn>
                <a:cxn ang="0">
                  <a:pos x="672" y="147"/>
                </a:cxn>
                <a:cxn ang="0">
                  <a:pos x="629" y="76"/>
                </a:cxn>
                <a:cxn ang="0">
                  <a:pos x="692" y="29"/>
                </a:cxn>
                <a:cxn ang="0">
                  <a:pos x="724" y="79"/>
                </a:cxn>
                <a:cxn ang="0">
                  <a:pos x="747" y="57"/>
                </a:cxn>
                <a:cxn ang="0">
                  <a:pos x="788" y="84"/>
                </a:cxn>
                <a:cxn ang="0">
                  <a:pos x="779" y="33"/>
                </a:cxn>
                <a:cxn ang="0">
                  <a:pos x="858" y="40"/>
                </a:cxn>
                <a:cxn ang="0">
                  <a:pos x="894" y="44"/>
                </a:cxn>
                <a:cxn ang="0">
                  <a:pos x="977" y="16"/>
                </a:cxn>
                <a:cxn ang="0">
                  <a:pos x="1020" y="84"/>
                </a:cxn>
                <a:cxn ang="0">
                  <a:pos x="1055" y="152"/>
                </a:cxn>
                <a:cxn ang="0">
                  <a:pos x="983" y="256"/>
                </a:cxn>
                <a:cxn ang="0">
                  <a:pos x="961" y="136"/>
                </a:cxn>
              </a:cxnLst>
              <a:rect l="0" t="0" r="r" b="b"/>
              <a:pathLst>
                <a:path w="1112" h="970">
                  <a:moveTo>
                    <a:pt x="933" y="210"/>
                  </a:moveTo>
                  <a:lnTo>
                    <a:pt x="961" y="136"/>
                  </a:lnTo>
                  <a:lnTo>
                    <a:pt x="926" y="103"/>
                  </a:lnTo>
                  <a:lnTo>
                    <a:pt x="891" y="96"/>
                  </a:lnTo>
                  <a:lnTo>
                    <a:pt x="863" y="119"/>
                  </a:lnTo>
                  <a:lnTo>
                    <a:pt x="835" y="155"/>
                  </a:lnTo>
                  <a:lnTo>
                    <a:pt x="815" y="202"/>
                  </a:lnTo>
                  <a:lnTo>
                    <a:pt x="751" y="210"/>
                  </a:lnTo>
                  <a:lnTo>
                    <a:pt x="709" y="202"/>
                  </a:lnTo>
                  <a:lnTo>
                    <a:pt x="677" y="195"/>
                  </a:lnTo>
                  <a:lnTo>
                    <a:pt x="650" y="219"/>
                  </a:lnTo>
                  <a:lnTo>
                    <a:pt x="626" y="246"/>
                  </a:lnTo>
                  <a:lnTo>
                    <a:pt x="582" y="246"/>
                  </a:lnTo>
                  <a:lnTo>
                    <a:pt x="550" y="250"/>
                  </a:lnTo>
                  <a:lnTo>
                    <a:pt x="526" y="274"/>
                  </a:lnTo>
                  <a:lnTo>
                    <a:pt x="503" y="285"/>
                  </a:lnTo>
                  <a:lnTo>
                    <a:pt x="475" y="278"/>
                  </a:lnTo>
                  <a:lnTo>
                    <a:pt x="471" y="317"/>
                  </a:lnTo>
                  <a:lnTo>
                    <a:pt x="447" y="333"/>
                  </a:lnTo>
                  <a:lnTo>
                    <a:pt x="440" y="372"/>
                  </a:lnTo>
                  <a:lnTo>
                    <a:pt x="408" y="377"/>
                  </a:lnTo>
                  <a:lnTo>
                    <a:pt x="396" y="412"/>
                  </a:lnTo>
                  <a:lnTo>
                    <a:pt x="372" y="423"/>
                  </a:lnTo>
                  <a:lnTo>
                    <a:pt x="365" y="482"/>
                  </a:lnTo>
                  <a:lnTo>
                    <a:pt x="344" y="523"/>
                  </a:lnTo>
                  <a:lnTo>
                    <a:pt x="372" y="546"/>
                  </a:lnTo>
                  <a:lnTo>
                    <a:pt x="353" y="561"/>
                  </a:lnTo>
                  <a:lnTo>
                    <a:pt x="309" y="554"/>
                  </a:lnTo>
                  <a:lnTo>
                    <a:pt x="298" y="585"/>
                  </a:lnTo>
                  <a:lnTo>
                    <a:pt x="309" y="668"/>
                  </a:lnTo>
                  <a:lnTo>
                    <a:pt x="317" y="720"/>
                  </a:lnTo>
                  <a:lnTo>
                    <a:pt x="341" y="771"/>
                  </a:lnTo>
                  <a:lnTo>
                    <a:pt x="353" y="826"/>
                  </a:lnTo>
                  <a:lnTo>
                    <a:pt x="309" y="850"/>
                  </a:lnTo>
                  <a:lnTo>
                    <a:pt x="293" y="906"/>
                  </a:lnTo>
                  <a:lnTo>
                    <a:pt x="278" y="937"/>
                  </a:lnTo>
                  <a:lnTo>
                    <a:pt x="247" y="918"/>
                  </a:lnTo>
                  <a:lnTo>
                    <a:pt x="179" y="929"/>
                  </a:lnTo>
                  <a:lnTo>
                    <a:pt x="144" y="953"/>
                  </a:lnTo>
                  <a:lnTo>
                    <a:pt x="107" y="965"/>
                  </a:lnTo>
                  <a:lnTo>
                    <a:pt x="52" y="970"/>
                  </a:lnTo>
                  <a:lnTo>
                    <a:pt x="48" y="914"/>
                  </a:lnTo>
                  <a:lnTo>
                    <a:pt x="24" y="898"/>
                  </a:lnTo>
                  <a:lnTo>
                    <a:pt x="37" y="815"/>
                  </a:lnTo>
                  <a:lnTo>
                    <a:pt x="5" y="811"/>
                  </a:lnTo>
                  <a:lnTo>
                    <a:pt x="0" y="692"/>
                  </a:lnTo>
                  <a:lnTo>
                    <a:pt x="37" y="681"/>
                  </a:lnTo>
                  <a:lnTo>
                    <a:pt x="44" y="653"/>
                  </a:lnTo>
                  <a:lnTo>
                    <a:pt x="88" y="637"/>
                  </a:lnTo>
                  <a:lnTo>
                    <a:pt x="127" y="633"/>
                  </a:lnTo>
                  <a:lnTo>
                    <a:pt x="147" y="605"/>
                  </a:lnTo>
                  <a:lnTo>
                    <a:pt x="195" y="602"/>
                  </a:lnTo>
                  <a:lnTo>
                    <a:pt x="199" y="546"/>
                  </a:lnTo>
                  <a:lnTo>
                    <a:pt x="262" y="526"/>
                  </a:lnTo>
                  <a:lnTo>
                    <a:pt x="269" y="482"/>
                  </a:lnTo>
                  <a:lnTo>
                    <a:pt x="302" y="460"/>
                  </a:lnTo>
                  <a:lnTo>
                    <a:pt x="313" y="416"/>
                  </a:lnTo>
                  <a:lnTo>
                    <a:pt x="326" y="372"/>
                  </a:lnTo>
                  <a:lnTo>
                    <a:pt x="372" y="325"/>
                  </a:lnTo>
                  <a:lnTo>
                    <a:pt x="412" y="278"/>
                  </a:lnTo>
                  <a:lnTo>
                    <a:pt x="455" y="246"/>
                  </a:lnTo>
                  <a:lnTo>
                    <a:pt x="519" y="237"/>
                  </a:lnTo>
                  <a:lnTo>
                    <a:pt x="554" y="219"/>
                  </a:lnTo>
                  <a:lnTo>
                    <a:pt x="622" y="206"/>
                  </a:lnTo>
                  <a:lnTo>
                    <a:pt x="633" y="167"/>
                  </a:lnTo>
                  <a:lnTo>
                    <a:pt x="672" y="147"/>
                  </a:lnTo>
                  <a:lnTo>
                    <a:pt x="661" y="99"/>
                  </a:lnTo>
                  <a:lnTo>
                    <a:pt x="629" y="76"/>
                  </a:lnTo>
                  <a:lnTo>
                    <a:pt x="677" y="60"/>
                  </a:lnTo>
                  <a:lnTo>
                    <a:pt x="692" y="29"/>
                  </a:lnTo>
                  <a:lnTo>
                    <a:pt x="701" y="72"/>
                  </a:lnTo>
                  <a:lnTo>
                    <a:pt x="724" y="79"/>
                  </a:lnTo>
                  <a:lnTo>
                    <a:pt x="724" y="57"/>
                  </a:lnTo>
                  <a:lnTo>
                    <a:pt x="747" y="57"/>
                  </a:lnTo>
                  <a:lnTo>
                    <a:pt x="756" y="76"/>
                  </a:lnTo>
                  <a:lnTo>
                    <a:pt x="788" y="84"/>
                  </a:lnTo>
                  <a:lnTo>
                    <a:pt x="803" y="48"/>
                  </a:lnTo>
                  <a:lnTo>
                    <a:pt x="779" y="33"/>
                  </a:lnTo>
                  <a:lnTo>
                    <a:pt x="819" y="9"/>
                  </a:lnTo>
                  <a:lnTo>
                    <a:pt x="858" y="40"/>
                  </a:lnTo>
                  <a:lnTo>
                    <a:pt x="882" y="0"/>
                  </a:lnTo>
                  <a:lnTo>
                    <a:pt x="894" y="44"/>
                  </a:lnTo>
                  <a:lnTo>
                    <a:pt x="933" y="48"/>
                  </a:lnTo>
                  <a:lnTo>
                    <a:pt x="977" y="16"/>
                  </a:lnTo>
                  <a:lnTo>
                    <a:pt x="1029" y="48"/>
                  </a:lnTo>
                  <a:lnTo>
                    <a:pt x="1020" y="84"/>
                  </a:lnTo>
                  <a:lnTo>
                    <a:pt x="1112" y="116"/>
                  </a:lnTo>
                  <a:lnTo>
                    <a:pt x="1055" y="152"/>
                  </a:lnTo>
                  <a:lnTo>
                    <a:pt x="1004" y="207"/>
                  </a:lnTo>
                  <a:lnTo>
                    <a:pt x="983" y="256"/>
                  </a:lnTo>
                  <a:lnTo>
                    <a:pt x="933" y="210"/>
                  </a:lnTo>
                  <a:lnTo>
                    <a:pt x="961" y="136"/>
                  </a:lnTo>
                  <a:lnTo>
                    <a:pt x="933" y="21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1" name="Freeform 251"/>
            <p:cNvSpPr>
              <a:spLocks noChangeAspect="1"/>
            </p:cNvSpPr>
            <p:nvPr/>
          </p:nvSpPr>
          <p:spPr bwMode="auto">
            <a:xfrm>
              <a:off x="850575" y="1891009"/>
              <a:ext cx="652308" cy="573311"/>
            </a:xfrm>
            <a:custGeom>
              <a:avLst/>
              <a:gdLst/>
              <a:ahLst/>
              <a:cxnLst>
                <a:cxn ang="0">
                  <a:pos x="961" y="136"/>
                </a:cxn>
                <a:cxn ang="0">
                  <a:pos x="891" y="96"/>
                </a:cxn>
                <a:cxn ang="0">
                  <a:pos x="835" y="155"/>
                </a:cxn>
                <a:cxn ang="0">
                  <a:pos x="751" y="210"/>
                </a:cxn>
                <a:cxn ang="0">
                  <a:pos x="677" y="195"/>
                </a:cxn>
                <a:cxn ang="0">
                  <a:pos x="626" y="246"/>
                </a:cxn>
                <a:cxn ang="0">
                  <a:pos x="550" y="250"/>
                </a:cxn>
                <a:cxn ang="0">
                  <a:pos x="503" y="285"/>
                </a:cxn>
                <a:cxn ang="0">
                  <a:pos x="471" y="317"/>
                </a:cxn>
                <a:cxn ang="0">
                  <a:pos x="440" y="372"/>
                </a:cxn>
                <a:cxn ang="0">
                  <a:pos x="396" y="412"/>
                </a:cxn>
                <a:cxn ang="0">
                  <a:pos x="365" y="482"/>
                </a:cxn>
                <a:cxn ang="0">
                  <a:pos x="372" y="546"/>
                </a:cxn>
                <a:cxn ang="0">
                  <a:pos x="309" y="554"/>
                </a:cxn>
                <a:cxn ang="0">
                  <a:pos x="309" y="668"/>
                </a:cxn>
                <a:cxn ang="0">
                  <a:pos x="341" y="771"/>
                </a:cxn>
                <a:cxn ang="0">
                  <a:pos x="309" y="850"/>
                </a:cxn>
                <a:cxn ang="0">
                  <a:pos x="278" y="937"/>
                </a:cxn>
                <a:cxn ang="0">
                  <a:pos x="179" y="929"/>
                </a:cxn>
                <a:cxn ang="0">
                  <a:pos x="107" y="965"/>
                </a:cxn>
                <a:cxn ang="0">
                  <a:pos x="48" y="914"/>
                </a:cxn>
                <a:cxn ang="0">
                  <a:pos x="37" y="815"/>
                </a:cxn>
                <a:cxn ang="0">
                  <a:pos x="0" y="692"/>
                </a:cxn>
                <a:cxn ang="0">
                  <a:pos x="44" y="653"/>
                </a:cxn>
                <a:cxn ang="0">
                  <a:pos x="127" y="633"/>
                </a:cxn>
                <a:cxn ang="0">
                  <a:pos x="195" y="602"/>
                </a:cxn>
                <a:cxn ang="0">
                  <a:pos x="262" y="526"/>
                </a:cxn>
                <a:cxn ang="0">
                  <a:pos x="302" y="460"/>
                </a:cxn>
                <a:cxn ang="0">
                  <a:pos x="326" y="372"/>
                </a:cxn>
                <a:cxn ang="0">
                  <a:pos x="412" y="278"/>
                </a:cxn>
                <a:cxn ang="0">
                  <a:pos x="519" y="237"/>
                </a:cxn>
                <a:cxn ang="0">
                  <a:pos x="622" y="206"/>
                </a:cxn>
                <a:cxn ang="0">
                  <a:pos x="672" y="147"/>
                </a:cxn>
                <a:cxn ang="0">
                  <a:pos x="629" y="76"/>
                </a:cxn>
                <a:cxn ang="0">
                  <a:pos x="692" y="29"/>
                </a:cxn>
                <a:cxn ang="0">
                  <a:pos x="724" y="79"/>
                </a:cxn>
                <a:cxn ang="0">
                  <a:pos x="747" y="57"/>
                </a:cxn>
                <a:cxn ang="0">
                  <a:pos x="788" y="84"/>
                </a:cxn>
                <a:cxn ang="0">
                  <a:pos x="779" y="33"/>
                </a:cxn>
                <a:cxn ang="0">
                  <a:pos x="858" y="40"/>
                </a:cxn>
                <a:cxn ang="0">
                  <a:pos x="894" y="44"/>
                </a:cxn>
                <a:cxn ang="0">
                  <a:pos x="977" y="16"/>
                </a:cxn>
                <a:cxn ang="0">
                  <a:pos x="1020" y="84"/>
                </a:cxn>
                <a:cxn ang="0">
                  <a:pos x="1055" y="152"/>
                </a:cxn>
                <a:cxn ang="0">
                  <a:pos x="983" y="256"/>
                </a:cxn>
                <a:cxn ang="0">
                  <a:pos x="961" y="136"/>
                </a:cxn>
              </a:cxnLst>
              <a:rect l="0" t="0" r="r" b="b"/>
              <a:pathLst>
                <a:path w="1112" h="970">
                  <a:moveTo>
                    <a:pt x="933" y="210"/>
                  </a:moveTo>
                  <a:lnTo>
                    <a:pt x="961" y="136"/>
                  </a:lnTo>
                  <a:lnTo>
                    <a:pt x="926" y="103"/>
                  </a:lnTo>
                  <a:lnTo>
                    <a:pt x="891" y="96"/>
                  </a:lnTo>
                  <a:lnTo>
                    <a:pt x="863" y="119"/>
                  </a:lnTo>
                  <a:lnTo>
                    <a:pt x="835" y="155"/>
                  </a:lnTo>
                  <a:lnTo>
                    <a:pt x="815" y="202"/>
                  </a:lnTo>
                  <a:lnTo>
                    <a:pt x="751" y="210"/>
                  </a:lnTo>
                  <a:lnTo>
                    <a:pt x="709" y="202"/>
                  </a:lnTo>
                  <a:lnTo>
                    <a:pt x="677" y="195"/>
                  </a:lnTo>
                  <a:lnTo>
                    <a:pt x="650" y="219"/>
                  </a:lnTo>
                  <a:lnTo>
                    <a:pt x="626" y="246"/>
                  </a:lnTo>
                  <a:lnTo>
                    <a:pt x="582" y="246"/>
                  </a:lnTo>
                  <a:lnTo>
                    <a:pt x="550" y="250"/>
                  </a:lnTo>
                  <a:lnTo>
                    <a:pt x="526" y="274"/>
                  </a:lnTo>
                  <a:lnTo>
                    <a:pt x="503" y="285"/>
                  </a:lnTo>
                  <a:lnTo>
                    <a:pt x="475" y="278"/>
                  </a:lnTo>
                  <a:lnTo>
                    <a:pt x="471" y="317"/>
                  </a:lnTo>
                  <a:lnTo>
                    <a:pt x="447" y="333"/>
                  </a:lnTo>
                  <a:lnTo>
                    <a:pt x="440" y="372"/>
                  </a:lnTo>
                  <a:lnTo>
                    <a:pt x="408" y="377"/>
                  </a:lnTo>
                  <a:lnTo>
                    <a:pt x="396" y="412"/>
                  </a:lnTo>
                  <a:lnTo>
                    <a:pt x="372" y="423"/>
                  </a:lnTo>
                  <a:lnTo>
                    <a:pt x="365" y="482"/>
                  </a:lnTo>
                  <a:lnTo>
                    <a:pt x="344" y="523"/>
                  </a:lnTo>
                  <a:lnTo>
                    <a:pt x="372" y="546"/>
                  </a:lnTo>
                  <a:lnTo>
                    <a:pt x="353" y="561"/>
                  </a:lnTo>
                  <a:lnTo>
                    <a:pt x="309" y="554"/>
                  </a:lnTo>
                  <a:lnTo>
                    <a:pt x="298" y="585"/>
                  </a:lnTo>
                  <a:lnTo>
                    <a:pt x="309" y="668"/>
                  </a:lnTo>
                  <a:lnTo>
                    <a:pt x="317" y="720"/>
                  </a:lnTo>
                  <a:lnTo>
                    <a:pt x="341" y="771"/>
                  </a:lnTo>
                  <a:lnTo>
                    <a:pt x="353" y="826"/>
                  </a:lnTo>
                  <a:lnTo>
                    <a:pt x="309" y="850"/>
                  </a:lnTo>
                  <a:lnTo>
                    <a:pt x="293" y="906"/>
                  </a:lnTo>
                  <a:lnTo>
                    <a:pt x="278" y="937"/>
                  </a:lnTo>
                  <a:lnTo>
                    <a:pt x="247" y="918"/>
                  </a:lnTo>
                  <a:lnTo>
                    <a:pt x="179" y="929"/>
                  </a:lnTo>
                  <a:lnTo>
                    <a:pt x="144" y="953"/>
                  </a:lnTo>
                  <a:lnTo>
                    <a:pt x="107" y="965"/>
                  </a:lnTo>
                  <a:lnTo>
                    <a:pt x="52" y="970"/>
                  </a:lnTo>
                  <a:lnTo>
                    <a:pt x="48" y="914"/>
                  </a:lnTo>
                  <a:lnTo>
                    <a:pt x="24" y="898"/>
                  </a:lnTo>
                  <a:lnTo>
                    <a:pt x="37" y="815"/>
                  </a:lnTo>
                  <a:lnTo>
                    <a:pt x="5" y="811"/>
                  </a:lnTo>
                  <a:lnTo>
                    <a:pt x="0" y="692"/>
                  </a:lnTo>
                  <a:lnTo>
                    <a:pt x="37" y="681"/>
                  </a:lnTo>
                  <a:lnTo>
                    <a:pt x="44" y="653"/>
                  </a:lnTo>
                  <a:lnTo>
                    <a:pt x="88" y="637"/>
                  </a:lnTo>
                  <a:lnTo>
                    <a:pt x="127" y="633"/>
                  </a:lnTo>
                  <a:lnTo>
                    <a:pt x="147" y="605"/>
                  </a:lnTo>
                  <a:lnTo>
                    <a:pt x="195" y="602"/>
                  </a:lnTo>
                  <a:lnTo>
                    <a:pt x="199" y="546"/>
                  </a:lnTo>
                  <a:lnTo>
                    <a:pt x="262" y="526"/>
                  </a:lnTo>
                  <a:lnTo>
                    <a:pt x="269" y="482"/>
                  </a:lnTo>
                  <a:lnTo>
                    <a:pt x="302" y="460"/>
                  </a:lnTo>
                  <a:lnTo>
                    <a:pt x="313" y="416"/>
                  </a:lnTo>
                  <a:lnTo>
                    <a:pt x="326" y="372"/>
                  </a:lnTo>
                  <a:lnTo>
                    <a:pt x="372" y="325"/>
                  </a:lnTo>
                  <a:lnTo>
                    <a:pt x="412" y="278"/>
                  </a:lnTo>
                  <a:lnTo>
                    <a:pt x="455" y="246"/>
                  </a:lnTo>
                  <a:lnTo>
                    <a:pt x="519" y="237"/>
                  </a:lnTo>
                  <a:lnTo>
                    <a:pt x="554" y="219"/>
                  </a:lnTo>
                  <a:lnTo>
                    <a:pt x="622" y="206"/>
                  </a:lnTo>
                  <a:lnTo>
                    <a:pt x="633" y="167"/>
                  </a:lnTo>
                  <a:lnTo>
                    <a:pt x="672" y="147"/>
                  </a:lnTo>
                  <a:lnTo>
                    <a:pt x="661" y="99"/>
                  </a:lnTo>
                  <a:lnTo>
                    <a:pt x="629" y="76"/>
                  </a:lnTo>
                  <a:lnTo>
                    <a:pt x="677" y="60"/>
                  </a:lnTo>
                  <a:lnTo>
                    <a:pt x="692" y="29"/>
                  </a:lnTo>
                  <a:lnTo>
                    <a:pt x="701" y="72"/>
                  </a:lnTo>
                  <a:lnTo>
                    <a:pt x="724" y="79"/>
                  </a:lnTo>
                  <a:lnTo>
                    <a:pt x="724" y="57"/>
                  </a:lnTo>
                  <a:lnTo>
                    <a:pt x="747" y="57"/>
                  </a:lnTo>
                  <a:lnTo>
                    <a:pt x="756" y="76"/>
                  </a:lnTo>
                  <a:lnTo>
                    <a:pt x="788" y="84"/>
                  </a:lnTo>
                  <a:lnTo>
                    <a:pt x="803" y="48"/>
                  </a:lnTo>
                  <a:lnTo>
                    <a:pt x="779" y="33"/>
                  </a:lnTo>
                  <a:lnTo>
                    <a:pt x="819" y="9"/>
                  </a:lnTo>
                  <a:lnTo>
                    <a:pt x="858" y="40"/>
                  </a:lnTo>
                  <a:lnTo>
                    <a:pt x="882" y="0"/>
                  </a:lnTo>
                  <a:lnTo>
                    <a:pt x="894" y="44"/>
                  </a:lnTo>
                  <a:lnTo>
                    <a:pt x="933" y="48"/>
                  </a:lnTo>
                  <a:lnTo>
                    <a:pt x="977" y="16"/>
                  </a:lnTo>
                  <a:lnTo>
                    <a:pt x="1029" y="48"/>
                  </a:lnTo>
                  <a:lnTo>
                    <a:pt x="1020" y="84"/>
                  </a:lnTo>
                  <a:lnTo>
                    <a:pt x="1112" y="116"/>
                  </a:lnTo>
                  <a:lnTo>
                    <a:pt x="1055" y="152"/>
                  </a:lnTo>
                  <a:lnTo>
                    <a:pt x="1004" y="207"/>
                  </a:lnTo>
                  <a:lnTo>
                    <a:pt x="983" y="256"/>
                  </a:lnTo>
                  <a:lnTo>
                    <a:pt x="933" y="210"/>
                  </a:lnTo>
                  <a:lnTo>
                    <a:pt x="961" y="136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2" name="Freeform 252"/>
            <p:cNvSpPr>
              <a:spLocks noChangeAspect="1"/>
            </p:cNvSpPr>
            <p:nvPr/>
          </p:nvSpPr>
          <p:spPr bwMode="auto">
            <a:xfrm>
              <a:off x="620245" y="2727013"/>
              <a:ext cx="312967" cy="331917"/>
            </a:xfrm>
            <a:custGeom>
              <a:avLst/>
              <a:gdLst/>
              <a:ahLst/>
              <a:cxnLst>
                <a:cxn ang="0">
                  <a:pos x="280" y="10"/>
                </a:cxn>
                <a:cxn ang="0">
                  <a:pos x="269" y="49"/>
                </a:cxn>
                <a:cxn ang="0">
                  <a:pos x="245" y="69"/>
                </a:cxn>
                <a:cxn ang="0">
                  <a:pos x="237" y="93"/>
                </a:cxn>
                <a:cxn ang="0">
                  <a:pos x="201" y="89"/>
                </a:cxn>
                <a:cxn ang="0">
                  <a:pos x="194" y="117"/>
                </a:cxn>
                <a:cxn ang="0">
                  <a:pos x="158" y="121"/>
                </a:cxn>
                <a:cxn ang="0">
                  <a:pos x="135" y="92"/>
                </a:cxn>
                <a:cxn ang="0">
                  <a:pos x="111" y="101"/>
                </a:cxn>
                <a:cxn ang="0">
                  <a:pos x="122" y="123"/>
                </a:cxn>
                <a:cxn ang="0">
                  <a:pos x="114" y="152"/>
                </a:cxn>
                <a:cxn ang="0">
                  <a:pos x="74" y="156"/>
                </a:cxn>
                <a:cxn ang="0">
                  <a:pos x="55" y="168"/>
                </a:cxn>
                <a:cxn ang="0">
                  <a:pos x="47" y="172"/>
                </a:cxn>
                <a:cxn ang="0">
                  <a:pos x="3" y="180"/>
                </a:cxn>
                <a:cxn ang="0">
                  <a:pos x="3" y="191"/>
                </a:cxn>
                <a:cxn ang="0">
                  <a:pos x="0" y="211"/>
                </a:cxn>
                <a:cxn ang="0">
                  <a:pos x="58" y="239"/>
                </a:cxn>
                <a:cxn ang="0">
                  <a:pos x="83" y="251"/>
                </a:cxn>
                <a:cxn ang="0">
                  <a:pos x="111" y="283"/>
                </a:cxn>
                <a:cxn ang="0">
                  <a:pos x="126" y="325"/>
                </a:cxn>
                <a:cxn ang="0">
                  <a:pos x="153" y="353"/>
                </a:cxn>
                <a:cxn ang="0">
                  <a:pos x="131" y="365"/>
                </a:cxn>
                <a:cxn ang="0">
                  <a:pos x="114" y="480"/>
                </a:cxn>
                <a:cxn ang="0">
                  <a:pos x="98" y="507"/>
                </a:cxn>
                <a:cxn ang="0">
                  <a:pos x="158" y="527"/>
                </a:cxn>
                <a:cxn ang="0">
                  <a:pos x="221" y="531"/>
                </a:cxn>
                <a:cxn ang="0">
                  <a:pos x="253" y="559"/>
                </a:cxn>
                <a:cxn ang="0">
                  <a:pos x="339" y="555"/>
                </a:cxn>
                <a:cxn ang="0">
                  <a:pos x="332" y="524"/>
                </a:cxn>
                <a:cxn ang="0">
                  <a:pos x="348" y="487"/>
                </a:cxn>
                <a:cxn ang="0">
                  <a:pos x="383" y="483"/>
                </a:cxn>
                <a:cxn ang="0">
                  <a:pos x="422" y="483"/>
                </a:cxn>
                <a:cxn ang="0">
                  <a:pos x="450" y="505"/>
                </a:cxn>
                <a:cxn ang="0">
                  <a:pos x="486" y="515"/>
                </a:cxn>
                <a:cxn ang="0">
                  <a:pos x="511" y="470"/>
                </a:cxn>
                <a:cxn ang="0">
                  <a:pos x="511" y="438"/>
                </a:cxn>
                <a:cxn ang="0">
                  <a:pos x="476" y="423"/>
                </a:cxn>
                <a:cxn ang="0">
                  <a:pos x="472" y="379"/>
                </a:cxn>
                <a:cxn ang="0">
                  <a:pos x="492" y="352"/>
                </a:cxn>
                <a:cxn ang="0">
                  <a:pos x="491" y="318"/>
                </a:cxn>
                <a:cxn ang="0">
                  <a:pos x="467" y="298"/>
                </a:cxn>
                <a:cxn ang="0">
                  <a:pos x="475" y="266"/>
                </a:cxn>
                <a:cxn ang="0">
                  <a:pos x="495" y="239"/>
                </a:cxn>
                <a:cxn ang="0">
                  <a:pos x="524" y="230"/>
                </a:cxn>
                <a:cxn ang="0">
                  <a:pos x="515" y="162"/>
                </a:cxn>
                <a:cxn ang="0">
                  <a:pos x="535" y="138"/>
                </a:cxn>
                <a:cxn ang="0">
                  <a:pos x="492" y="103"/>
                </a:cxn>
                <a:cxn ang="0">
                  <a:pos x="430" y="107"/>
                </a:cxn>
                <a:cxn ang="0">
                  <a:pos x="377" y="87"/>
                </a:cxn>
                <a:cxn ang="0">
                  <a:pos x="358" y="48"/>
                </a:cxn>
                <a:cxn ang="0">
                  <a:pos x="322" y="28"/>
                </a:cxn>
                <a:cxn ang="0">
                  <a:pos x="325" y="0"/>
                </a:cxn>
                <a:cxn ang="0">
                  <a:pos x="280" y="10"/>
                </a:cxn>
              </a:cxnLst>
              <a:rect l="0" t="0" r="r" b="b"/>
              <a:pathLst>
                <a:path w="535" h="559">
                  <a:moveTo>
                    <a:pt x="280" y="10"/>
                  </a:moveTo>
                  <a:lnTo>
                    <a:pt x="269" y="49"/>
                  </a:lnTo>
                  <a:lnTo>
                    <a:pt x="245" y="69"/>
                  </a:lnTo>
                  <a:lnTo>
                    <a:pt x="237" y="93"/>
                  </a:lnTo>
                  <a:lnTo>
                    <a:pt x="201" y="89"/>
                  </a:lnTo>
                  <a:lnTo>
                    <a:pt x="194" y="117"/>
                  </a:lnTo>
                  <a:lnTo>
                    <a:pt x="158" y="121"/>
                  </a:lnTo>
                  <a:lnTo>
                    <a:pt x="135" y="92"/>
                  </a:lnTo>
                  <a:lnTo>
                    <a:pt x="111" y="101"/>
                  </a:lnTo>
                  <a:lnTo>
                    <a:pt x="122" y="123"/>
                  </a:lnTo>
                  <a:lnTo>
                    <a:pt x="114" y="152"/>
                  </a:lnTo>
                  <a:lnTo>
                    <a:pt x="74" y="156"/>
                  </a:lnTo>
                  <a:lnTo>
                    <a:pt x="55" y="168"/>
                  </a:lnTo>
                  <a:lnTo>
                    <a:pt x="47" y="172"/>
                  </a:lnTo>
                  <a:lnTo>
                    <a:pt x="3" y="180"/>
                  </a:lnTo>
                  <a:lnTo>
                    <a:pt x="3" y="191"/>
                  </a:lnTo>
                  <a:lnTo>
                    <a:pt x="0" y="211"/>
                  </a:lnTo>
                  <a:lnTo>
                    <a:pt x="58" y="239"/>
                  </a:lnTo>
                  <a:lnTo>
                    <a:pt x="83" y="251"/>
                  </a:lnTo>
                  <a:lnTo>
                    <a:pt x="111" y="283"/>
                  </a:lnTo>
                  <a:lnTo>
                    <a:pt x="126" y="325"/>
                  </a:lnTo>
                  <a:lnTo>
                    <a:pt x="153" y="353"/>
                  </a:lnTo>
                  <a:lnTo>
                    <a:pt x="131" y="365"/>
                  </a:lnTo>
                  <a:lnTo>
                    <a:pt x="114" y="480"/>
                  </a:lnTo>
                  <a:lnTo>
                    <a:pt x="98" y="507"/>
                  </a:lnTo>
                  <a:lnTo>
                    <a:pt x="158" y="527"/>
                  </a:lnTo>
                  <a:lnTo>
                    <a:pt x="221" y="531"/>
                  </a:lnTo>
                  <a:lnTo>
                    <a:pt x="253" y="559"/>
                  </a:lnTo>
                  <a:lnTo>
                    <a:pt x="339" y="555"/>
                  </a:lnTo>
                  <a:lnTo>
                    <a:pt x="332" y="524"/>
                  </a:lnTo>
                  <a:lnTo>
                    <a:pt x="348" y="487"/>
                  </a:lnTo>
                  <a:lnTo>
                    <a:pt x="383" y="483"/>
                  </a:lnTo>
                  <a:lnTo>
                    <a:pt x="422" y="483"/>
                  </a:lnTo>
                  <a:lnTo>
                    <a:pt x="450" y="505"/>
                  </a:lnTo>
                  <a:lnTo>
                    <a:pt x="486" y="515"/>
                  </a:lnTo>
                  <a:lnTo>
                    <a:pt x="511" y="470"/>
                  </a:lnTo>
                  <a:lnTo>
                    <a:pt x="511" y="438"/>
                  </a:lnTo>
                  <a:lnTo>
                    <a:pt x="476" y="423"/>
                  </a:lnTo>
                  <a:lnTo>
                    <a:pt x="472" y="379"/>
                  </a:lnTo>
                  <a:lnTo>
                    <a:pt x="492" y="352"/>
                  </a:lnTo>
                  <a:lnTo>
                    <a:pt x="491" y="318"/>
                  </a:lnTo>
                  <a:lnTo>
                    <a:pt x="467" y="298"/>
                  </a:lnTo>
                  <a:lnTo>
                    <a:pt x="475" y="266"/>
                  </a:lnTo>
                  <a:lnTo>
                    <a:pt x="495" y="239"/>
                  </a:lnTo>
                  <a:lnTo>
                    <a:pt x="524" y="230"/>
                  </a:lnTo>
                  <a:lnTo>
                    <a:pt x="515" y="162"/>
                  </a:lnTo>
                  <a:lnTo>
                    <a:pt x="535" y="138"/>
                  </a:lnTo>
                  <a:lnTo>
                    <a:pt x="492" y="103"/>
                  </a:lnTo>
                  <a:lnTo>
                    <a:pt x="430" y="107"/>
                  </a:lnTo>
                  <a:lnTo>
                    <a:pt x="377" y="87"/>
                  </a:lnTo>
                  <a:lnTo>
                    <a:pt x="358" y="48"/>
                  </a:lnTo>
                  <a:lnTo>
                    <a:pt x="322" y="28"/>
                  </a:lnTo>
                  <a:lnTo>
                    <a:pt x="325" y="0"/>
                  </a:lnTo>
                  <a:lnTo>
                    <a:pt x="280" y="1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3" name="Freeform 253"/>
            <p:cNvSpPr>
              <a:spLocks noChangeAspect="1"/>
            </p:cNvSpPr>
            <p:nvPr/>
          </p:nvSpPr>
          <p:spPr bwMode="auto">
            <a:xfrm>
              <a:off x="896289" y="2884984"/>
              <a:ext cx="320000" cy="317717"/>
            </a:xfrm>
            <a:custGeom>
              <a:avLst/>
              <a:gdLst/>
              <a:ahLst/>
              <a:cxnLst>
                <a:cxn ang="0">
                  <a:pos x="39" y="205"/>
                </a:cxn>
                <a:cxn ang="0">
                  <a:pos x="39" y="173"/>
                </a:cxn>
                <a:cxn ang="0">
                  <a:pos x="4" y="158"/>
                </a:cxn>
                <a:cxn ang="0">
                  <a:pos x="0" y="114"/>
                </a:cxn>
                <a:cxn ang="0">
                  <a:pos x="20" y="87"/>
                </a:cxn>
                <a:cxn ang="0">
                  <a:pos x="19" y="53"/>
                </a:cxn>
                <a:cxn ang="0">
                  <a:pos x="64" y="50"/>
                </a:cxn>
                <a:cxn ang="0">
                  <a:pos x="82" y="33"/>
                </a:cxn>
                <a:cxn ang="0">
                  <a:pos x="98" y="54"/>
                </a:cxn>
                <a:cxn ang="0">
                  <a:pos x="112" y="36"/>
                </a:cxn>
                <a:cxn ang="0">
                  <a:pos x="130" y="44"/>
                </a:cxn>
                <a:cxn ang="0">
                  <a:pos x="146" y="8"/>
                </a:cxn>
                <a:cxn ang="0">
                  <a:pos x="166" y="19"/>
                </a:cxn>
                <a:cxn ang="0">
                  <a:pos x="214" y="19"/>
                </a:cxn>
                <a:cxn ang="0">
                  <a:pos x="253" y="0"/>
                </a:cxn>
                <a:cxn ang="0">
                  <a:pos x="280" y="30"/>
                </a:cxn>
                <a:cxn ang="0">
                  <a:pos x="292" y="65"/>
                </a:cxn>
                <a:cxn ang="0">
                  <a:pos x="266" y="87"/>
                </a:cxn>
                <a:cxn ang="0">
                  <a:pos x="253" y="128"/>
                </a:cxn>
                <a:cxn ang="0">
                  <a:pos x="256" y="159"/>
                </a:cxn>
                <a:cxn ang="0">
                  <a:pos x="276" y="172"/>
                </a:cxn>
                <a:cxn ang="0">
                  <a:pos x="303" y="218"/>
                </a:cxn>
                <a:cxn ang="0">
                  <a:pos x="335" y="266"/>
                </a:cxn>
                <a:cxn ang="0">
                  <a:pos x="391" y="320"/>
                </a:cxn>
                <a:cxn ang="0">
                  <a:pos x="421" y="321"/>
                </a:cxn>
                <a:cxn ang="0">
                  <a:pos x="442" y="314"/>
                </a:cxn>
                <a:cxn ang="0">
                  <a:pos x="446" y="334"/>
                </a:cxn>
                <a:cxn ang="0">
                  <a:pos x="462" y="352"/>
                </a:cxn>
                <a:cxn ang="0">
                  <a:pos x="475" y="374"/>
                </a:cxn>
                <a:cxn ang="0">
                  <a:pos x="496" y="391"/>
                </a:cxn>
                <a:cxn ang="0">
                  <a:pos x="519" y="411"/>
                </a:cxn>
                <a:cxn ang="0">
                  <a:pos x="544" y="441"/>
                </a:cxn>
                <a:cxn ang="0">
                  <a:pos x="525" y="452"/>
                </a:cxn>
                <a:cxn ang="0">
                  <a:pos x="489" y="426"/>
                </a:cxn>
                <a:cxn ang="0">
                  <a:pos x="459" y="437"/>
                </a:cxn>
                <a:cxn ang="0">
                  <a:pos x="454" y="458"/>
                </a:cxn>
                <a:cxn ang="0">
                  <a:pos x="469" y="493"/>
                </a:cxn>
                <a:cxn ang="0">
                  <a:pos x="454" y="511"/>
                </a:cxn>
                <a:cxn ang="0">
                  <a:pos x="438" y="537"/>
                </a:cxn>
                <a:cxn ang="0">
                  <a:pos x="413" y="535"/>
                </a:cxn>
                <a:cxn ang="0">
                  <a:pos x="417" y="483"/>
                </a:cxn>
                <a:cxn ang="0">
                  <a:pos x="417" y="455"/>
                </a:cxn>
                <a:cxn ang="0">
                  <a:pos x="386" y="434"/>
                </a:cxn>
                <a:cxn ang="0">
                  <a:pos x="369" y="404"/>
                </a:cxn>
                <a:cxn ang="0">
                  <a:pos x="342" y="401"/>
                </a:cxn>
                <a:cxn ang="0">
                  <a:pos x="344" y="373"/>
                </a:cxn>
                <a:cxn ang="0">
                  <a:pos x="279" y="352"/>
                </a:cxn>
                <a:cxn ang="0">
                  <a:pos x="235" y="314"/>
                </a:cxn>
                <a:cxn ang="0">
                  <a:pos x="211" y="296"/>
                </a:cxn>
                <a:cxn ang="0">
                  <a:pos x="184" y="274"/>
                </a:cxn>
                <a:cxn ang="0">
                  <a:pos x="170" y="218"/>
                </a:cxn>
                <a:cxn ang="0">
                  <a:pos x="156" y="187"/>
                </a:cxn>
                <a:cxn ang="0">
                  <a:pos x="104" y="177"/>
                </a:cxn>
                <a:cxn ang="0">
                  <a:pos x="93" y="203"/>
                </a:cxn>
                <a:cxn ang="0">
                  <a:pos x="39" y="205"/>
                </a:cxn>
              </a:cxnLst>
              <a:rect l="0" t="0" r="r" b="b"/>
              <a:pathLst>
                <a:path w="544" h="537">
                  <a:moveTo>
                    <a:pt x="39" y="205"/>
                  </a:moveTo>
                  <a:lnTo>
                    <a:pt x="39" y="173"/>
                  </a:lnTo>
                  <a:lnTo>
                    <a:pt x="4" y="158"/>
                  </a:lnTo>
                  <a:lnTo>
                    <a:pt x="0" y="114"/>
                  </a:lnTo>
                  <a:lnTo>
                    <a:pt x="20" y="87"/>
                  </a:lnTo>
                  <a:lnTo>
                    <a:pt x="19" y="53"/>
                  </a:lnTo>
                  <a:lnTo>
                    <a:pt x="64" y="50"/>
                  </a:lnTo>
                  <a:lnTo>
                    <a:pt x="82" y="33"/>
                  </a:lnTo>
                  <a:lnTo>
                    <a:pt x="98" y="54"/>
                  </a:lnTo>
                  <a:lnTo>
                    <a:pt x="112" y="36"/>
                  </a:lnTo>
                  <a:lnTo>
                    <a:pt x="130" y="44"/>
                  </a:lnTo>
                  <a:lnTo>
                    <a:pt x="146" y="8"/>
                  </a:lnTo>
                  <a:lnTo>
                    <a:pt x="166" y="19"/>
                  </a:lnTo>
                  <a:lnTo>
                    <a:pt x="214" y="19"/>
                  </a:lnTo>
                  <a:lnTo>
                    <a:pt x="253" y="0"/>
                  </a:lnTo>
                  <a:lnTo>
                    <a:pt x="280" y="30"/>
                  </a:lnTo>
                  <a:lnTo>
                    <a:pt x="292" y="65"/>
                  </a:lnTo>
                  <a:lnTo>
                    <a:pt x="266" y="87"/>
                  </a:lnTo>
                  <a:lnTo>
                    <a:pt x="253" y="128"/>
                  </a:lnTo>
                  <a:lnTo>
                    <a:pt x="256" y="159"/>
                  </a:lnTo>
                  <a:lnTo>
                    <a:pt x="276" y="172"/>
                  </a:lnTo>
                  <a:lnTo>
                    <a:pt x="303" y="218"/>
                  </a:lnTo>
                  <a:lnTo>
                    <a:pt x="335" y="266"/>
                  </a:lnTo>
                  <a:lnTo>
                    <a:pt x="391" y="320"/>
                  </a:lnTo>
                  <a:lnTo>
                    <a:pt x="421" y="321"/>
                  </a:lnTo>
                  <a:lnTo>
                    <a:pt x="442" y="314"/>
                  </a:lnTo>
                  <a:lnTo>
                    <a:pt x="446" y="334"/>
                  </a:lnTo>
                  <a:lnTo>
                    <a:pt x="462" y="352"/>
                  </a:lnTo>
                  <a:lnTo>
                    <a:pt x="475" y="374"/>
                  </a:lnTo>
                  <a:lnTo>
                    <a:pt x="496" y="391"/>
                  </a:lnTo>
                  <a:lnTo>
                    <a:pt x="519" y="411"/>
                  </a:lnTo>
                  <a:lnTo>
                    <a:pt x="544" y="441"/>
                  </a:lnTo>
                  <a:lnTo>
                    <a:pt x="525" y="452"/>
                  </a:lnTo>
                  <a:lnTo>
                    <a:pt x="489" y="426"/>
                  </a:lnTo>
                  <a:lnTo>
                    <a:pt x="459" y="437"/>
                  </a:lnTo>
                  <a:lnTo>
                    <a:pt x="454" y="458"/>
                  </a:lnTo>
                  <a:lnTo>
                    <a:pt x="469" y="493"/>
                  </a:lnTo>
                  <a:lnTo>
                    <a:pt x="454" y="511"/>
                  </a:lnTo>
                  <a:lnTo>
                    <a:pt x="438" y="537"/>
                  </a:lnTo>
                  <a:lnTo>
                    <a:pt x="413" y="535"/>
                  </a:lnTo>
                  <a:lnTo>
                    <a:pt x="417" y="483"/>
                  </a:lnTo>
                  <a:lnTo>
                    <a:pt x="417" y="455"/>
                  </a:lnTo>
                  <a:lnTo>
                    <a:pt x="386" y="434"/>
                  </a:lnTo>
                  <a:lnTo>
                    <a:pt x="369" y="404"/>
                  </a:lnTo>
                  <a:lnTo>
                    <a:pt x="342" y="401"/>
                  </a:lnTo>
                  <a:lnTo>
                    <a:pt x="344" y="373"/>
                  </a:lnTo>
                  <a:lnTo>
                    <a:pt x="279" y="352"/>
                  </a:lnTo>
                  <a:lnTo>
                    <a:pt x="235" y="314"/>
                  </a:lnTo>
                  <a:lnTo>
                    <a:pt x="211" y="296"/>
                  </a:lnTo>
                  <a:lnTo>
                    <a:pt x="184" y="274"/>
                  </a:lnTo>
                  <a:lnTo>
                    <a:pt x="170" y="218"/>
                  </a:lnTo>
                  <a:lnTo>
                    <a:pt x="156" y="187"/>
                  </a:lnTo>
                  <a:lnTo>
                    <a:pt x="104" y="177"/>
                  </a:lnTo>
                  <a:lnTo>
                    <a:pt x="93" y="203"/>
                  </a:lnTo>
                  <a:lnTo>
                    <a:pt x="39" y="20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4" name="Freeform 254"/>
            <p:cNvSpPr>
              <a:spLocks noChangeAspect="1"/>
            </p:cNvSpPr>
            <p:nvPr/>
          </p:nvSpPr>
          <p:spPr bwMode="auto">
            <a:xfrm>
              <a:off x="497168" y="3009231"/>
              <a:ext cx="321759" cy="259144"/>
            </a:xfrm>
            <a:custGeom>
              <a:avLst/>
              <a:gdLst/>
              <a:ahLst/>
              <a:cxnLst>
                <a:cxn ang="0">
                  <a:pos x="548" y="79"/>
                </a:cxn>
                <a:cxn ang="0">
                  <a:pos x="462" y="83"/>
                </a:cxn>
                <a:cxn ang="0">
                  <a:pos x="430" y="55"/>
                </a:cxn>
                <a:cxn ang="0">
                  <a:pos x="367" y="51"/>
                </a:cxn>
                <a:cxn ang="0">
                  <a:pos x="307" y="31"/>
                </a:cxn>
                <a:cxn ang="0">
                  <a:pos x="241" y="7"/>
                </a:cxn>
                <a:cxn ang="0">
                  <a:pos x="200" y="20"/>
                </a:cxn>
                <a:cxn ang="0">
                  <a:pos x="169" y="0"/>
                </a:cxn>
                <a:cxn ang="0">
                  <a:pos x="15" y="4"/>
                </a:cxn>
                <a:cxn ang="0">
                  <a:pos x="23" y="28"/>
                </a:cxn>
                <a:cxn ang="0">
                  <a:pos x="0" y="35"/>
                </a:cxn>
                <a:cxn ang="0">
                  <a:pos x="3" y="72"/>
                </a:cxn>
                <a:cxn ang="0">
                  <a:pos x="27" y="95"/>
                </a:cxn>
                <a:cxn ang="0">
                  <a:pos x="35" y="127"/>
                </a:cxn>
                <a:cxn ang="0">
                  <a:pos x="79" y="123"/>
                </a:cxn>
                <a:cxn ang="0">
                  <a:pos x="110" y="110"/>
                </a:cxn>
                <a:cxn ang="0">
                  <a:pos x="121" y="127"/>
                </a:cxn>
                <a:cxn ang="0">
                  <a:pos x="114" y="142"/>
                </a:cxn>
                <a:cxn ang="0">
                  <a:pos x="102" y="158"/>
                </a:cxn>
                <a:cxn ang="0">
                  <a:pos x="86" y="245"/>
                </a:cxn>
                <a:cxn ang="0">
                  <a:pos x="66" y="265"/>
                </a:cxn>
                <a:cxn ang="0">
                  <a:pos x="90" y="285"/>
                </a:cxn>
                <a:cxn ang="0">
                  <a:pos x="94" y="352"/>
                </a:cxn>
                <a:cxn ang="0">
                  <a:pos x="99" y="383"/>
                </a:cxn>
                <a:cxn ang="0">
                  <a:pos x="126" y="387"/>
                </a:cxn>
                <a:cxn ang="0">
                  <a:pos x="126" y="419"/>
                </a:cxn>
                <a:cxn ang="0">
                  <a:pos x="158" y="438"/>
                </a:cxn>
                <a:cxn ang="0">
                  <a:pos x="189" y="431"/>
                </a:cxn>
                <a:cxn ang="0">
                  <a:pos x="209" y="416"/>
                </a:cxn>
                <a:cxn ang="0">
                  <a:pos x="320" y="419"/>
                </a:cxn>
                <a:cxn ang="0">
                  <a:pos x="344" y="399"/>
                </a:cxn>
                <a:cxn ang="0">
                  <a:pos x="344" y="372"/>
                </a:cxn>
                <a:cxn ang="0">
                  <a:pos x="375" y="352"/>
                </a:cxn>
                <a:cxn ang="0">
                  <a:pos x="399" y="324"/>
                </a:cxn>
                <a:cxn ang="0">
                  <a:pos x="406" y="293"/>
                </a:cxn>
                <a:cxn ang="0">
                  <a:pos x="375" y="252"/>
                </a:cxn>
                <a:cxn ang="0">
                  <a:pos x="399" y="225"/>
                </a:cxn>
                <a:cxn ang="0">
                  <a:pos x="418" y="193"/>
                </a:cxn>
                <a:cxn ang="0">
                  <a:pos x="454" y="186"/>
                </a:cxn>
                <a:cxn ang="0">
                  <a:pos x="489" y="138"/>
                </a:cxn>
                <a:cxn ang="0">
                  <a:pos x="513" y="114"/>
                </a:cxn>
                <a:cxn ang="0">
                  <a:pos x="548" y="79"/>
                </a:cxn>
              </a:cxnLst>
              <a:rect l="0" t="0" r="r" b="b"/>
              <a:pathLst>
                <a:path w="548" h="438">
                  <a:moveTo>
                    <a:pt x="548" y="79"/>
                  </a:moveTo>
                  <a:lnTo>
                    <a:pt x="462" y="83"/>
                  </a:lnTo>
                  <a:lnTo>
                    <a:pt x="430" y="55"/>
                  </a:lnTo>
                  <a:lnTo>
                    <a:pt x="367" y="51"/>
                  </a:lnTo>
                  <a:lnTo>
                    <a:pt x="307" y="31"/>
                  </a:lnTo>
                  <a:lnTo>
                    <a:pt x="241" y="7"/>
                  </a:lnTo>
                  <a:lnTo>
                    <a:pt x="200" y="20"/>
                  </a:lnTo>
                  <a:lnTo>
                    <a:pt x="169" y="0"/>
                  </a:lnTo>
                  <a:lnTo>
                    <a:pt x="15" y="4"/>
                  </a:lnTo>
                  <a:lnTo>
                    <a:pt x="23" y="28"/>
                  </a:lnTo>
                  <a:lnTo>
                    <a:pt x="0" y="35"/>
                  </a:lnTo>
                  <a:lnTo>
                    <a:pt x="3" y="72"/>
                  </a:lnTo>
                  <a:lnTo>
                    <a:pt x="27" y="95"/>
                  </a:lnTo>
                  <a:lnTo>
                    <a:pt x="35" y="127"/>
                  </a:lnTo>
                  <a:lnTo>
                    <a:pt x="79" y="123"/>
                  </a:lnTo>
                  <a:lnTo>
                    <a:pt x="110" y="110"/>
                  </a:lnTo>
                  <a:lnTo>
                    <a:pt x="121" y="127"/>
                  </a:lnTo>
                  <a:lnTo>
                    <a:pt x="114" y="142"/>
                  </a:lnTo>
                  <a:lnTo>
                    <a:pt x="102" y="158"/>
                  </a:lnTo>
                  <a:lnTo>
                    <a:pt x="86" y="245"/>
                  </a:lnTo>
                  <a:lnTo>
                    <a:pt x="66" y="265"/>
                  </a:lnTo>
                  <a:lnTo>
                    <a:pt x="90" y="285"/>
                  </a:lnTo>
                  <a:lnTo>
                    <a:pt x="94" y="352"/>
                  </a:lnTo>
                  <a:lnTo>
                    <a:pt x="99" y="383"/>
                  </a:lnTo>
                  <a:lnTo>
                    <a:pt x="126" y="387"/>
                  </a:lnTo>
                  <a:lnTo>
                    <a:pt x="126" y="419"/>
                  </a:lnTo>
                  <a:lnTo>
                    <a:pt x="158" y="438"/>
                  </a:lnTo>
                  <a:lnTo>
                    <a:pt x="189" y="431"/>
                  </a:lnTo>
                  <a:lnTo>
                    <a:pt x="209" y="416"/>
                  </a:lnTo>
                  <a:lnTo>
                    <a:pt x="320" y="419"/>
                  </a:lnTo>
                  <a:lnTo>
                    <a:pt x="344" y="399"/>
                  </a:lnTo>
                  <a:lnTo>
                    <a:pt x="344" y="372"/>
                  </a:lnTo>
                  <a:lnTo>
                    <a:pt x="375" y="352"/>
                  </a:lnTo>
                  <a:lnTo>
                    <a:pt x="399" y="324"/>
                  </a:lnTo>
                  <a:lnTo>
                    <a:pt x="406" y="293"/>
                  </a:lnTo>
                  <a:lnTo>
                    <a:pt x="375" y="252"/>
                  </a:lnTo>
                  <a:lnTo>
                    <a:pt x="399" y="225"/>
                  </a:lnTo>
                  <a:lnTo>
                    <a:pt x="418" y="193"/>
                  </a:lnTo>
                  <a:lnTo>
                    <a:pt x="454" y="186"/>
                  </a:lnTo>
                  <a:lnTo>
                    <a:pt x="489" y="138"/>
                  </a:lnTo>
                  <a:lnTo>
                    <a:pt x="513" y="114"/>
                  </a:lnTo>
                  <a:lnTo>
                    <a:pt x="548" y="7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5" name="Freeform 255"/>
            <p:cNvSpPr>
              <a:spLocks noChangeAspect="1"/>
            </p:cNvSpPr>
            <p:nvPr/>
          </p:nvSpPr>
          <p:spPr bwMode="auto">
            <a:xfrm>
              <a:off x="476069" y="3066030"/>
              <a:ext cx="93187" cy="175721"/>
            </a:xfrm>
            <a:custGeom>
              <a:avLst/>
              <a:gdLst/>
              <a:ahLst/>
              <a:cxnLst>
                <a:cxn ang="0">
                  <a:pos x="130" y="257"/>
                </a:cxn>
                <a:cxn ang="0">
                  <a:pos x="126" y="190"/>
                </a:cxn>
                <a:cxn ang="0">
                  <a:pos x="102" y="170"/>
                </a:cxn>
                <a:cxn ang="0">
                  <a:pos x="122" y="150"/>
                </a:cxn>
                <a:cxn ang="0">
                  <a:pos x="138" y="63"/>
                </a:cxn>
                <a:cxn ang="0">
                  <a:pos x="150" y="47"/>
                </a:cxn>
                <a:cxn ang="0">
                  <a:pos x="157" y="32"/>
                </a:cxn>
                <a:cxn ang="0">
                  <a:pos x="146" y="15"/>
                </a:cxn>
                <a:cxn ang="0">
                  <a:pos x="115" y="28"/>
                </a:cxn>
                <a:cxn ang="0">
                  <a:pos x="71" y="32"/>
                </a:cxn>
                <a:cxn ang="0">
                  <a:pos x="63" y="0"/>
                </a:cxn>
                <a:cxn ang="0">
                  <a:pos x="43" y="39"/>
                </a:cxn>
                <a:cxn ang="0">
                  <a:pos x="43" y="87"/>
                </a:cxn>
                <a:cxn ang="0">
                  <a:pos x="51" y="107"/>
                </a:cxn>
                <a:cxn ang="0">
                  <a:pos x="32" y="139"/>
                </a:cxn>
                <a:cxn ang="0">
                  <a:pos x="4" y="157"/>
                </a:cxn>
                <a:cxn ang="0">
                  <a:pos x="0" y="205"/>
                </a:cxn>
                <a:cxn ang="0">
                  <a:pos x="32" y="221"/>
                </a:cxn>
                <a:cxn ang="0">
                  <a:pos x="36" y="253"/>
                </a:cxn>
                <a:cxn ang="0">
                  <a:pos x="39" y="284"/>
                </a:cxn>
                <a:cxn ang="0">
                  <a:pos x="71" y="297"/>
                </a:cxn>
                <a:cxn ang="0">
                  <a:pos x="107" y="297"/>
                </a:cxn>
                <a:cxn ang="0">
                  <a:pos x="130" y="257"/>
                </a:cxn>
              </a:cxnLst>
              <a:rect l="0" t="0" r="r" b="b"/>
              <a:pathLst>
                <a:path w="157" h="297">
                  <a:moveTo>
                    <a:pt x="130" y="257"/>
                  </a:moveTo>
                  <a:lnTo>
                    <a:pt x="126" y="190"/>
                  </a:lnTo>
                  <a:lnTo>
                    <a:pt x="102" y="170"/>
                  </a:lnTo>
                  <a:lnTo>
                    <a:pt x="122" y="150"/>
                  </a:lnTo>
                  <a:lnTo>
                    <a:pt x="138" y="63"/>
                  </a:lnTo>
                  <a:lnTo>
                    <a:pt x="150" y="47"/>
                  </a:lnTo>
                  <a:lnTo>
                    <a:pt x="157" y="32"/>
                  </a:lnTo>
                  <a:lnTo>
                    <a:pt x="146" y="15"/>
                  </a:lnTo>
                  <a:lnTo>
                    <a:pt x="115" y="28"/>
                  </a:lnTo>
                  <a:lnTo>
                    <a:pt x="71" y="32"/>
                  </a:lnTo>
                  <a:lnTo>
                    <a:pt x="63" y="0"/>
                  </a:lnTo>
                  <a:lnTo>
                    <a:pt x="43" y="39"/>
                  </a:lnTo>
                  <a:lnTo>
                    <a:pt x="43" y="87"/>
                  </a:lnTo>
                  <a:lnTo>
                    <a:pt x="51" y="107"/>
                  </a:lnTo>
                  <a:lnTo>
                    <a:pt x="32" y="139"/>
                  </a:lnTo>
                  <a:lnTo>
                    <a:pt x="4" y="157"/>
                  </a:lnTo>
                  <a:lnTo>
                    <a:pt x="0" y="205"/>
                  </a:lnTo>
                  <a:lnTo>
                    <a:pt x="32" y="221"/>
                  </a:lnTo>
                  <a:lnTo>
                    <a:pt x="36" y="253"/>
                  </a:lnTo>
                  <a:lnTo>
                    <a:pt x="39" y="284"/>
                  </a:lnTo>
                  <a:lnTo>
                    <a:pt x="71" y="297"/>
                  </a:lnTo>
                  <a:lnTo>
                    <a:pt x="107" y="297"/>
                  </a:lnTo>
                  <a:lnTo>
                    <a:pt x="130" y="25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6" name="Freeform 256"/>
            <p:cNvSpPr>
              <a:spLocks noChangeAspect="1"/>
            </p:cNvSpPr>
            <p:nvPr/>
          </p:nvSpPr>
          <p:spPr bwMode="auto">
            <a:xfrm>
              <a:off x="959586" y="3041180"/>
              <a:ext cx="22857" cy="51474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25" y="17"/>
                </a:cxn>
                <a:cxn ang="0">
                  <a:pos x="0" y="34"/>
                </a:cxn>
                <a:cxn ang="0">
                  <a:pos x="5" y="66"/>
                </a:cxn>
                <a:cxn ang="0">
                  <a:pos x="29" y="86"/>
                </a:cxn>
                <a:cxn ang="0">
                  <a:pos x="38" y="0"/>
                </a:cxn>
              </a:cxnLst>
              <a:rect l="0" t="0" r="r" b="b"/>
              <a:pathLst>
                <a:path w="38" h="86">
                  <a:moveTo>
                    <a:pt x="38" y="0"/>
                  </a:moveTo>
                  <a:lnTo>
                    <a:pt x="25" y="17"/>
                  </a:lnTo>
                  <a:lnTo>
                    <a:pt x="0" y="34"/>
                  </a:lnTo>
                  <a:lnTo>
                    <a:pt x="5" y="66"/>
                  </a:lnTo>
                  <a:lnTo>
                    <a:pt x="29" y="86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7" name="Freeform 257"/>
            <p:cNvSpPr>
              <a:spLocks noChangeAspect="1"/>
            </p:cNvSpPr>
            <p:nvPr/>
          </p:nvSpPr>
          <p:spPr bwMode="auto">
            <a:xfrm>
              <a:off x="950795" y="3108629"/>
              <a:ext cx="31648" cy="63898"/>
            </a:xfrm>
            <a:custGeom>
              <a:avLst/>
              <a:gdLst/>
              <a:ahLst/>
              <a:cxnLst>
                <a:cxn ang="0">
                  <a:pos x="3" y="12"/>
                </a:cxn>
                <a:cxn ang="0">
                  <a:pos x="13" y="10"/>
                </a:cxn>
                <a:cxn ang="0">
                  <a:pos x="36" y="4"/>
                </a:cxn>
                <a:cxn ang="0">
                  <a:pos x="49" y="0"/>
                </a:cxn>
                <a:cxn ang="0">
                  <a:pos x="55" y="17"/>
                </a:cxn>
                <a:cxn ang="0">
                  <a:pos x="56" y="43"/>
                </a:cxn>
                <a:cxn ang="0">
                  <a:pos x="54" y="68"/>
                </a:cxn>
                <a:cxn ang="0">
                  <a:pos x="47" y="101"/>
                </a:cxn>
                <a:cxn ang="0">
                  <a:pos x="25" y="107"/>
                </a:cxn>
                <a:cxn ang="0">
                  <a:pos x="8" y="99"/>
                </a:cxn>
                <a:cxn ang="0">
                  <a:pos x="7" y="73"/>
                </a:cxn>
                <a:cxn ang="0">
                  <a:pos x="6" y="47"/>
                </a:cxn>
                <a:cxn ang="0">
                  <a:pos x="0" y="25"/>
                </a:cxn>
                <a:cxn ang="0">
                  <a:pos x="3" y="12"/>
                </a:cxn>
              </a:cxnLst>
              <a:rect l="0" t="0" r="r" b="b"/>
              <a:pathLst>
                <a:path w="56" h="107">
                  <a:moveTo>
                    <a:pt x="3" y="12"/>
                  </a:moveTo>
                  <a:lnTo>
                    <a:pt x="13" y="10"/>
                  </a:lnTo>
                  <a:lnTo>
                    <a:pt x="36" y="4"/>
                  </a:lnTo>
                  <a:lnTo>
                    <a:pt x="49" y="0"/>
                  </a:lnTo>
                  <a:lnTo>
                    <a:pt x="55" y="17"/>
                  </a:lnTo>
                  <a:lnTo>
                    <a:pt x="56" y="43"/>
                  </a:lnTo>
                  <a:lnTo>
                    <a:pt x="54" y="68"/>
                  </a:lnTo>
                  <a:lnTo>
                    <a:pt x="47" y="101"/>
                  </a:lnTo>
                  <a:lnTo>
                    <a:pt x="25" y="107"/>
                  </a:lnTo>
                  <a:lnTo>
                    <a:pt x="8" y="99"/>
                  </a:lnTo>
                  <a:lnTo>
                    <a:pt x="7" y="73"/>
                  </a:lnTo>
                  <a:lnTo>
                    <a:pt x="6" y="47"/>
                  </a:lnTo>
                  <a:lnTo>
                    <a:pt x="0" y="25"/>
                  </a:lnTo>
                  <a:lnTo>
                    <a:pt x="3" y="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8" name="Freeform 258"/>
            <p:cNvSpPr>
              <a:spLocks noChangeAspect="1"/>
            </p:cNvSpPr>
            <p:nvPr/>
          </p:nvSpPr>
          <p:spPr bwMode="auto">
            <a:xfrm>
              <a:off x="1239147" y="3080230"/>
              <a:ext cx="138901" cy="147321"/>
            </a:xfrm>
            <a:custGeom>
              <a:avLst/>
              <a:gdLst/>
              <a:ahLst/>
              <a:cxnLst>
                <a:cxn ang="0">
                  <a:pos x="107" y="181"/>
                </a:cxn>
                <a:cxn ang="0">
                  <a:pos x="52" y="171"/>
                </a:cxn>
                <a:cxn ang="0">
                  <a:pos x="46" y="142"/>
                </a:cxn>
                <a:cxn ang="0">
                  <a:pos x="4" y="102"/>
                </a:cxn>
                <a:cxn ang="0">
                  <a:pos x="0" y="69"/>
                </a:cxn>
                <a:cxn ang="0">
                  <a:pos x="42" y="33"/>
                </a:cxn>
                <a:cxn ang="0">
                  <a:pos x="42" y="33"/>
                </a:cxn>
                <a:cxn ang="0">
                  <a:pos x="76" y="44"/>
                </a:cxn>
                <a:cxn ang="0">
                  <a:pos x="118" y="9"/>
                </a:cxn>
                <a:cxn ang="0">
                  <a:pos x="143" y="9"/>
                </a:cxn>
                <a:cxn ang="0">
                  <a:pos x="182" y="20"/>
                </a:cxn>
                <a:cxn ang="0">
                  <a:pos x="213" y="0"/>
                </a:cxn>
                <a:cxn ang="0">
                  <a:pos x="235" y="2"/>
                </a:cxn>
                <a:cxn ang="0">
                  <a:pos x="235" y="38"/>
                </a:cxn>
                <a:cxn ang="0">
                  <a:pos x="209" y="45"/>
                </a:cxn>
                <a:cxn ang="0">
                  <a:pos x="194" y="59"/>
                </a:cxn>
                <a:cxn ang="0">
                  <a:pos x="177" y="74"/>
                </a:cxn>
                <a:cxn ang="0">
                  <a:pos x="187" y="97"/>
                </a:cxn>
                <a:cxn ang="0">
                  <a:pos x="159" y="104"/>
                </a:cxn>
                <a:cxn ang="0">
                  <a:pos x="142" y="94"/>
                </a:cxn>
                <a:cxn ang="0">
                  <a:pos x="126" y="97"/>
                </a:cxn>
                <a:cxn ang="0">
                  <a:pos x="145" y="116"/>
                </a:cxn>
                <a:cxn ang="0">
                  <a:pos x="121" y="142"/>
                </a:cxn>
                <a:cxn ang="0">
                  <a:pos x="150" y="156"/>
                </a:cxn>
                <a:cxn ang="0">
                  <a:pos x="194" y="184"/>
                </a:cxn>
                <a:cxn ang="0">
                  <a:pos x="204" y="205"/>
                </a:cxn>
                <a:cxn ang="0">
                  <a:pos x="186" y="201"/>
                </a:cxn>
                <a:cxn ang="0">
                  <a:pos x="145" y="217"/>
                </a:cxn>
                <a:cxn ang="0">
                  <a:pos x="160" y="245"/>
                </a:cxn>
                <a:cxn ang="0">
                  <a:pos x="81" y="249"/>
                </a:cxn>
                <a:cxn ang="0">
                  <a:pos x="81" y="217"/>
                </a:cxn>
                <a:cxn ang="0">
                  <a:pos x="53" y="205"/>
                </a:cxn>
                <a:cxn ang="0">
                  <a:pos x="81" y="191"/>
                </a:cxn>
                <a:cxn ang="0">
                  <a:pos x="101" y="190"/>
                </a:cxn>
                <a:cxn ang="0">
                  <a:pos x="107" y="181"/>
                </a:cxn>
              </a:cxnLst>
              <a:rect l="0" t="0" r="r" b="b"/>
              <a:pathLst>
                <a:path w="235" h="249">
                  <a:moveTo>
                    <a:pt x="107" y="181"/>
                  </a:moveTo>
                  <a:lnTo>
                    <a:pt x="52" y="171"/>
                  </a:lnTo>
                  <a:lnTo>
                    <a:pt x="46" y="142"/>
                  </a:lnTo>
                  <a:lnTo>
                    <a:pt x="4" y="102"/>
                  </a:lnTo>
                  <a:lnTo>
                    <a:pt x="0" y="69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76" y="44"/>
                  </a:lnTo>
                  <a:lnTo>
                    <a:pt x="118" y="9"/>
                  </a:lnTo>
                  <a:lnTo>
                    <a:pt x="143" y="9"/>
                  </a:lnTo>
                  <a:lnTo>
                    <a:pt x="182" y="20"/>
                  </a:lnTo>
                  <a:lnTo>
                    <a:pt x="213" y="0"/>
                  </a:lnTo>
                  <a:lnTo>
                    <a:pt x="235" y="2"/>
                  </a:lnTo>
                  <a:lnTo>
                    <a:pt x="235" y="38"/>
                  </a:lnTo>
                  <a:lnTo>
                    <a:pt x="209" y="45"/>
                  </a:lnTo>
                  <a:lnTo>
                    <a:pt x="194" y="59"/>
                  </a:lnTo>
                  <a:lnTo>
                    <a:pt x="177" y="74"/>
                  </a:lnTo>
                  <a:lnTo>
                    <a:pt x="187" y="97"/>
                  </a:lnTo>
                  <a:lnTo>
                    <a:pt x="159" y="104"/>
                  </a:lnTo>
                  <a:lnTo>
                    <a:pt x="142" y="94"/>
                  </a:lnTo>
                  <a:lnTo>
                    <a:pt x="126" y="97"/>
                  </a:lnTo>
                  <a:lnTo>
                    <a:pt x="145" y="116"/>
                  </a:lnTo>
                  <a:lnTo>
                    <a:pt x="121" y="142"/>
                  </a:lnTo>
                  <a:lnTo>
                    <a:pt x="150" y="156"/>
                  </a:lnTo>
                  <a:lnTo>
                    <a:pt x="194" y="184"/>
                  </a:lnTo>
                  <a:lnTo>
                    <a:pt x="204" y="205"/>
                  </a:lnTo>
                  <a:lnTo>
                    <a:pt x="186" y="201"/>
                  </a:lnTo>
                  <a:lnTo>
                    <a:pt x="145" y="217"/>
                  </a:lnTo>
                  <a:lnTo>
                    <a:pt x="160" y="245"/>
                  </a:lnTo>
                  <a:lnTo>
                    <a:pt x="81" y="249"/>
                  </a:lnTo>
                  <a:lnTo>
                    <a:pt x="81" y="217"/>
                  </a:lnTo>
                  <a:lnTo>
                    <a:pt x="53" y="205"/>
                  </a:lnTo>
                  <a:lnTo>
                    <a:pt x="81" y="191"/>
                  </a:lnTo>
                  <a:lnTo>
                    <a:pt x="101" y="190"/>
                  </a:lnTo>
                  <a:lnTo>
                    <a:pt x="107" y="18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9" name="Freeform 259"/>
            <p:cNvSpPr>
              <a:spLocks noChangeAspect="1"/>
            </p:cNvSpPr>
            <p:nvPr/>
          </p:nvSpPr>
          <p:spPr bwMode="auto">
            <a:xfrm>
              <a:off x="871674" y="2593892"/>
              <a:ext cx="225055" cy="280443"/>
            </a:xfrm>
            <a:custGeom>
              <a:avLst/>
              <a:gdLst/>
              <a:ahLst/>
              <a:cxnLst>
                <a:cxn ang="0">
                  <a:pos x="386" y="231"/>
                </a:cxn>
                <a:cxn ang="0">
                  <a:pos x="259" y="281"/>
                </a:cxn>
                <a:cxn ang="0">
                  <a:pos x="259" y="281"/>
                </a:cxn>
                <a:cxn ang="0">
                  <a:pos x="386" y="231"/>
                </a:cxn>
                <a:cxn ang="0">
                  <a:pos x="357" y="148"/>
                </a:cxn>
                <a:cxn ang="0">
                  <a:pos x="366" y="58"/>
                </a:cxn>
                <a:cxn ang="0">
                  <a:pos x="351" y="41"/>
                </a:cxn>
                <a:cxn ang="0">
                  <a:pos x="241" y="64"/>
                </a:cxn>
                <a:cxn ang="0">
                  <a:pos x="220" y="36"/>
                </a:cxn>
                <a:cxn ang="0">
                  <a:pos x="199" y="0"/>
                </a:cxn>
                <a:cxn ang="0">
                  <a:pos x="148" y="13"/>
                </a:cxn>
                <a:cxn ang="0">
                  <a:pos x="145" y="58"/>
                </a:cxn>
                <a:cxn ang="0">
                  <a:pos x="148" y="75"/>
                </a:cxn>
                <a:cxn ang="0">
                  <a:pos x="131" y="75"/>
                </a:cxn>
                <a:cxn ang="0">
                  <a:pos x="76" y="95"/>
                </a:cxn>
                <a:cxn ang="0">
                  <a:pos x="76" y="143"/>
                </a:cxn>
                <a:cxn ang="0">
                  <a:pos x="48" y="186"/>
                </a:cxn>
                <a:cxn ang="0">
                  <a:pos x="0" y="222"/>
                </a:cxn>
                <a:cxn ang="0">
                  <a:pos x="8" y="261"/>
                </a:cxn>
                <a:cxn ang="0">
                  <a:pos x="38" y="278"/>
                </a:cxn>
                <a:cxn ang="0">
                  <a:pos x="4" y="324"/>
                </a:cxn>
                <a:cxn ang="0">
                  <a:pos x="64" y="329"/>
                </a:cxn>
                <a:cxn ang="0">
                  <a:pos x="107" y="364"/>
                </a:cxn>
                <a:cxn ang="0">
                  <a:pos x="87" y="388"/>
                </a:cxn>
                <a:cxn ang="0">
                  <a:pos x="96" y="456"/>
                </a:cxn>
                <a:cxn ang="0">
                  <a:pos x="123" y="460"/>
                </a:cxn>
                <a:cxn ang="0">
                  <a:pos x="156" y="452"/>
                </a:cxn>
                <a:cxn ang="0">
                  <a:pos x="181" y="467"/>
                </a:cxn>
                <a:cxn ang="0">
                  <a:pos x="199" y="472"/>
                </a:cxn>
                <a:cxn ang="0">
                  <a:pos x="216" y="475"/>
                </a:cxn>
                <a:cxn ang="0">
                  <a:pos x="272" y="452"/>
                </a:cxn>
                <a:cxn ang="0">
                  <a:pos x="314" y="424"/>
                </a:cxn>
                <a:cxn ang="0">
                  <a:pos x="328" y="409"/>
                </a:cxn>
                <a:cxn ang="0">
                  <a:pos x="331" y="362"/>
                </a:cxn>
                <a:cxn ang="0">
                  <a:pos x="259" y="281"/>
                </a:cxn>
                <a:cxn ang="0">
                  <a:pos x="386" y="231"/>
                </a:cxn>
              </a:cxnLst>
              <a:rect l="0" t="0" r="r" b="b"/>
              <a:pathLst>
                <a:path w="386" h="475">
                  <a:moveTo>
                    <a:pt x="386" y="231"/>
                  </a:moveTo>
                  <a:lnTo>
                    <a:pt x="259" y="281"/>
                  </a:lnTo>
                  <a:lnTo>
                    <a:pt x="259" y="281"/>
                  </a:lnTo>
                  <a:lnTo>
                    <a:pt x="386" y="231"/>
                  </a:lnTo>
                  <a:lnTo>
                    <a:pt x="357" y="148"/>
                  </a:lnTo>
                  <a:lnTo>
                    <a:pt x="366" y="58"/>
                  </a:lnTo>
                  <a:lnTo>
                    <a:pt x="351" y="41"/>
                  </a:lnTo>
                  <a:lnTo>
                    <a:pt x="241" y="64"/>
                  </a:lnTo>
                  <a:lnTo>
                    <a:pt x="220" y="36"/>
                  </a:lnTo>
                  <a:lnTo>
                    <a:pt x="199" y="0"/>
                  </a:lnTo>
                  <a:lnTo>
                    <a:pt x="148" y="13"/>
                  </a:lnTo>
                  <a:lnTo>
                    <a:pt x="145" y="58"/>
                  </a:lnTo>
                  <a:lnTo>
                    <a:pt x="148" y="75"/>
                  </a:lnTo>
                  <a:lnTo>
                    <a:pt x="131" y="75"/>
                  </a:lnTo>
                  <a:lnTo>
                    <a:pt x="76" y="95"/>
                  </a:lnTo>
                  <a:lnTo>
                    <a:pt x="76" y="143"/>
                  </a:lnTo>
                  <a:lnTo>
                    <a:pt x="48" y="186"/>
                  </a:lnTo>
                  <a:lnTo>
                    <a:pt x="0" y="222"/>
                  </a:lnTo>
                  <a:lnTo>
                    <a:pt x="8" y="261"/>
                  </a:lnTo>
                  <a:lnTo>
                    <a:pt x="38" y="278"/>
                  </a:lnTo>
                  <a:lnTo>
                    <a:pt x="4" y="324"/>
                  </a:lnTo>
                  <a:lnTo>
                    <a:pt x="64" y="329"/>
                  </a:lnTo>
                  <a:lnTo>
                    <a:pt x="107" y="364"/>
                  </a:lnTo>
                  <a:lnTo>
                    <a:pt x="87" y="388"/>
                  </a:lnTo>
                  <a:lnTo>
                    <a:pt x="96" y="456"/>
                  </a:lnTo>
                  <a:lnTo>
                    <a:pt x="123" y="460"/>
                  </a:lnTo>
                  <a:lnTo>
                    <a:pt x="156" y="452"/>
                  </a:lnTo>
                  <a:lnTo>
                    <a:pt x="181" y="467"/>
                  </a:lnTo>
                  <a:lnTo>
                    <a:pt x="199" y="472"/>
                  </a:lnTo>
                  <a:lnTo>
                    <a:pt x="216" y="475"/>
                  </a:lnTo>
                  <a:lnTo>
                    <a:pt x="272" y="452"/>
                  </a:lnTo>
                  <a:lnTo>
                    <a:pt x="314" y="424"/>
                  </a:lnTo>
                  <a:lnTo>
                    <a:pt x="328" y="409"/>
                  </a:lnTo>
                  <a:lnTo>
                    <a:pt x="331" y="362"/>
                  </a:lnTo>
                  <a:lnTo>
                    <a:pt x="259" y="281"/>
                  </a:lnTo>
                  <a:lnTo>
                    <a:pt x="386" y="23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0" name="Freeform 260"/>
            <p:cNvSpPr>
              <a:spLocks noChangeAspect="1"/>
            </p:cNvSpPr>
            <p:nvPr/>
          </p:nvSpPr>
          <p:spPr bwMode="auto">
            <a:xfrm>
              <a:off x="1080905" y="2593892"/>
              <a:ext cx="242638" cy="191695"/>
            </a:xfrm>
            <a:custGeom>
              <a:avLst/>
              <a:gdLst/>
              <a:ahLst/>
              <a:cxnLst>
                <a:cxn ang="0">
                  <a:pos x="29" y="232"/>
                </a:cxn>
                <a:cxn ang="0">
                  <a:pos x="0" y="149"/>
                </a:cxn>
                <a:cxn ang="0">
                  <a:pos x="9" y="59"/>
                </a:cxn>
                <a:cxn ang="0">
                  <a:pos x="135" y="0"/>
                </a:cxn>
                <a:cxn ang="0">
                  <a:pos x="181" y="17"/>
                </a:cxn>
                <a:cxn ang="0">
                  <a:pos x="243" y="10"/>
                </a:cxn>
                <a:cxn ang="0">
                  <a:pos x="319" y="37"/>
                </a:cxn>
                <a:cxn ang="0">
                  <a:pos x="382" y="93"/>
                </a:cxn>
                <a:cxn ang="0">
                  <a:pos x="382" y="155"/>
                </a:cxn>
                <a:cxn ang="0">
                  <a:pos x="409" y="155"/>
                </a:cxn>
                <a:cxn ang="0">
                  <a:pos x="412" y="208"/>
                </a:cxn>
                <a:cxn ang="0">
                  <a:pos x="414" y="290"/>
                </a:cxn>
                <a:cxn ang="0">
                  <a:pos x="379" y="317"/>
                </a:cxn>
                <a:cxn ang="0">
                  <a:pos x="379" y="317"/>
                </a:cxn>
                <a:cxn ang="0">
                  <a:pos x="305" y="320"/>
                </a:cxn>
                <a:cxn ang="0">
                  <a:pos x="231" y="325"/>
                </a:cxn>
                <a:cxn ang="0">
                  <a:pos x="181" y="297"/>
                </a:cxn>
                <a:cxn ang="0">
                  <a:pos x="73" y="260"/>
                </a:cxn>
                <a:cxn ang="0">
                  <a:pos x="29" y="232"/>
                </a:cxn>
              </a:cxnLst>
              <a:rect l="0" t="0" r="r" b="b"/>
              <a:pathLst>
                <a:path w="414" h="325">
                  <a:moveTo>
                    <a:pt x="29" y="232"/>
                  </a:moveTo>
                  <a:lnTo>
                    <a:pt x="0" y="149"/>
                  </a:lnTo>
                  <a:lnTo>
                    <a:pt x="9" y="59"/>
                  </a:lnTo>
                  <a:lnTo>
                    <a:pt x="135" y="0"/>
                  </a:lnTo>
                  <a:lnTo>
                    <a:pt x="181" y="17"/>
                  </a:lnTo>
                  <a:lnTo>
                    <a:pt x="243" y="10"/>
                  </a:lnTo>
                  <a:lnTo>
                    <a:pt x="319" y="37"/>
                  </a:lnTo>
                  <a:lnTo>
                    <a:pt x="382" y="93"/>
                  </a:lnTo>
                  <a:lnTo>
                    <a:pt x="382" y="155"/>
                  </a:lnTo>
                  <a:lnTo>
                    <a:pt x="409" y="155"/>
                  </a:lnTo>
                  <a:lnTo>
                    <a:pt x="412" y="208"/>
                  </a:lnTo>
                  <a:lnTo>
                    <a:pt x="414" y="290"/>
                  </a:lnTo>
                  <a:lnTo>
                    <a:pt x="379" y="317"/>
                  </a:lnTo>
                  <a:lnTo>
                    <a:pt x="379" y="317"/>
                  </a:lnTo>
                  <a:lnTo>
                    <a:pt x="305" y="320"/>
                  </a:lnTo>
                  <a:lnTo>
                    <a:pt x="231" y="325"/>
                  </a:lnTo>
                  <a:lnTo>
                    <a:pt x="181" y="297"/>
                  </a:lnTo>
                  <a:lnTo>
                    <a:pt x="73" y="260"/>
                  </a:lnTo>
                  <a:lnTo>
                    <a:pt x="29" y="23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1" name="Freeform 261"/>
            <p:cNvSpPr>
              <a:spLocks noChangeAspect="1"/>
            </p:cNvSpPr>
            <p:nvPr/>
          </p:nvSpPr>
          <p:spPr bwMode="auto">
            <a:xfrm>
              <a:off x="1080905" y="2593892"/>
              <a:ext cx="242638" cy="191695"/>
            </a:xfrm>
            <a:custGeom>
              <a:avLst/>
              <a:gdLst/>
              <a:ahLst/>
              <a:cxnLst>
                <a:cxn ang="0">
                  <a:pos x="29" y="232"/>
                </a:cxn>
                <a:cxn ang="0">
                  <a:pos x="0" y="149"/>
                </a:cxn>
                <a:cxn ang="0">
                  <a:pos x="9" y="59"/>
                </a:cxn>
                <a:cxn ang="0">
                  <a:pos x="135" y="0"/>
                </a:cxn>
                <a:cxn ang="0">
                  <a:pos x="181" y="17"/>
                </a:cxn>
                <a:cxn ang="0">
                  <a:pos x="243" y="10"/>
                </a:cxn>
                <a:cxn ang="0">
                  <a:pos x="319" y="37"/>
                </a:cxn>
                <a:cxn ang="0">
                  <a:pos x="382" y="93"/>
                </a:cxn>
                <a:cxn ang="0">
                  <a:pos x="382" y="155"/>
                </a:cxn>
                <a:cxn ang="0">
                  <a:pos x="409" y="155"/>
                </a:cxn>
                <a:cxn ang="0">
                  <a:pos x="412" y="208"/>
                </a:cxn>
                <a:cxn ang="0">
                  <a:pos x="414" y="290"/>
                </a:cxn>
                <a:cxn ang="0">
                  <a:pos x="379" y="317"/>
                </a:cxn>
                <a:cxn ang="0">
                  <a:pos x="379" y="317"/>
                </a:cxn>
                <a:cxn ang="0">
                  <a:pos x="305" y="320"/>
                </a:cxn>
                <a:cxn ang="0">
                  <a:pos x="231" y="325"/>
                </a:cxn>
                <a:cxn ang="0">
                  <a:pos x="181" y="297"/>
                </a:cxn>
                <a:cxn ang="0">
                  <a:pos x="73" y="260"/>
                </a:cxn>
                <a:cxn ang="0">
                  <a:pos x="29" y="232"/>
                </a:cxn>
              </a:cxnLst>
              <a:rect l="0" t="0" r="r" b="b"/>
              <a:pathLst>
                <a:path w="414" h="325">
                  <a:moveTo>
                    <a:pt x="29" y="232"/>
                  </a:moveTo>
                  <a:lnTo>
                    <a:pt x="0" y="149"/>
                  </a:lnTo>
                  <a:lnTo>
                    <a:pt x="9" y="59"/>
                  </a:lnTo>
                  <a:lnTo>
                    <a:pt x="135" y="0"/>
                  </a:lnTo>
                  <a:lnTo>
                    <a:pt x="181" y="17"/>
                  </a:lnTo>
                  <a:lnTo>
                    <a:pt x="243" y="10"/>
                  </a:lnTo>
                  <a:lnTo>
                    <a:pt x="319" y="37"/>
                  </a:lnTo>
                  <a:lnTo>
                    <a:pt x="382" y="93"/>
                  </a:lnTo>
                  <a:lnTo>
                    <a:pt x="382" y="155"/>
                  </a:lnTo>
                  <a:lnTo>
                    <a:pt x="409" y="155"/>
                  </a:lnTo>
                  <a:lnTo>
                    <a:pt x="412" y="208"/>
                  </a:lnTo>
                  <a:lnTo>
                    <a:pt x="414" y="290"/>
                  </a:lnTo>
                  <a:lnTo>
                    <a:pt x="379" y="317"/>
                  </a:lnTo>
                  <a:lnTo>
                    <a:pt x="379" y="317"/>
                  </a:lnTo>
                  <a:lnTo>
                    <a:pt x="305" y="320"/>
                  </a:lnTo>
                  <a:lnTo>
                    <a:pt x="231" y="325"/>
                  </a:lnTo>
                  <a:lnTo>
                    <a:pt x="181" y="297"/>
                  </a:lnTo>
                  <a:lnTo>
                    <a:pt x="73" y="260"/>
                  </a:lnTo>
                  <a:lnTo>
                    <a:pt x="29" y="232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2" name="Freeform 262"/>
            <p:cNvSpPr>
              <a:spLocks noChangeAspect="1"/>
            </p:cNvSpPr>
            <p:nvPr/>
          </p:nvSpPr>
          <p:spPr bwMode="auto">
            <a:xfrm>
              <a:off x="1014091" y="2006381"/>
              <a:ext cx="279561" cy="562661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15" y="711"/>
                </a:cxn>
                <a:cxn ang="0">
                  <a:pos x="31" y="655"/>
                </a:cxn>
                <a:cxn ang="0">
                  <a:pos x="75" y="631"/>
                </a:cxn>
                <a:cxn ang="0">
                  <a:pos x="63" y="576"/>
                </a:cxn>
                <a:cxn ang="0">
                  <a:pos x="39" y="525"/>
                </a:cxn>
                <a:cxn ang="0">
                  <a:pos x="31" y="473"/>
                </a:cxn>
                <a:cxn ang="0">
                  <a:pos x="20" y="390"/>
                </a:cxn>
                <a:cxn ang="0">
                  <a:pos x="31" y="359"/>
                </a:cxn>
                <a:cxn ang="0">
                  <a:pos x="75" y="366"/>
                </a:cxn>
                <a:cxn ang="0">
                  <a:pos x="94" y="351"/>
                </a:cxn>
                <a:cxn ang="0">
                  <a:pos x="66" y="328"/>
                </a:cxn>
                <a:cxn ang="0">
                  <a:pos x="87" y="287"/>
                </a:cxn>
                <a:cxn ang="0">
                  <a:pos x="94" y="228"/>
                </a:cxn>
                <a:cxn ang="0">
                  <a:pos x="118" y="217"/>
                </a:cxn>
                <a:cxn ang="0">
                  <a:pos x="130" y="182"/>
                </a:cxn>
                <a:cxn ang="0">
                  <a:pos x="162" y="177"/>
                </a:cxn>
                <a:cxn ang="0">
                  <a:pos x="169" y="138"/>
                </a:cxn>
                <a:cxn ang="0">
                  <a:pos x="193" y="122"/>
                </a:cxn>
                <a:cxn ang="0">
                  <a:pos x="197" y="83"/>
                </a:cxn>
                <a:cxn ang="0">
                  <a:pos x="225" y="90"/>
                </a:cxn>
                <a:cxn ang="0">
                  <a:pos x="248" y="79"/>
                </a:cxn>
                <a:cxn ang="0">
                  <a:pos x="272" y="55"/>
                </a:cxn>
                <a:cxn ang="0">
                  <a:pos x="304" y="51"/>
                </a:cxn>
                <a:cxn ang="0">
                  <a:pos x="348" y="51"/>
                </a:cxn>
                <a:cxn ang="0">
                  <a:pos x="372" y="24"/>
                </a:cxn>
                <a:cxn ang="0">
                  <a:pos x="399" y="0"/>
                </a:cxn>
                <a:cxn ang="0">
                  <a:pos x="434" y="39"/>
                </a:cxn>
                <a:cxn ang="0">
                  <a:pos x="469" y="70"/>
                </a:cxn>
                <a:cxn ang="0">
                  <a:pos x="473" y="103"/>
                </a:cxn>
                <a:cxn ang="0">
                  <a:pos x="478" y="201"/>
                </a:cxn>
                <a:cxn ang="0">
                  <a:pos x="446" y="221"/>
                </a:cxn>
                <a:cxn ang="0">
                  <a:pos x="410" y="248"/>
                </a:cxn>
                <a:cxn ang="0">
                  <a:pos x="399" y="304"/>
                </a:cxn>
                <a:cxn ang="0">
                  <a:pos x="403" y="339"/>
                </a:cxn>
                <a:cxn ang="0">
                  <a:pos x="355" y="371"/>
                </a:cxn>
                <a:cxn ang="0">
                  <a:pos x="328" y="407"/>
                </a:cxn>
                <a:cxn ang="0">
                  <a:pos x="265" y="418"/>
                </a:cxn>
                <a:cxn ang="0">
                  <a:pos x="241" y="469"/>
                </a:cxn>
                <a:cxn ang="0">
                  <a:pos x="241" y="557"/>
                </a:cxn>
                <a:cxn ang="0">
                  <a:pos x="276" y="600"/>
                </a:cxn>
                <a:cxn ang="0">
                  <a:pos x="292" y="635"/>
                </a:cxn>
                <a:cxn ang="0">
                  <a:pos x="217" y="672"/>
                </a:cxn>
                <a:cxn ang="0">
                  <a:pos x="252" y="672"/>
                </a:cxn>
                <a:cxn ang="0">
                  <a:pos x="272" y="692"/>
                </a:cxn>
                <a:cxn ang="0">
                  <a:pos x="284" y="723"/>
                </a:cxn>
                <a:cxn ang="0">
                  <a:pos x="256" y="742"/>
                </a:cxn>
                <a:cxn ang="0">
                  <a:pos x="225" y="778"/>
                </a:cxn>
                <a:cxn ang="0">
                  <a:pos x="225" y="837"/>
                </a:cxn>
                <a:cxn ang="0">
                  <a:pos x="189" y="865"/>
                </a:cxn>
                <a:cxn ang="0">
                  <a:pos x="177" y="896"/>
                </a:cxn>
                <a:cxn ang="0">
                  <a:pos x="142" y="920"/>
                </a:cxn>
                <a:cxn ang="0">
                  <a:pos x="122" y="952"/>
                </a:cxn>
                <a:cxn ang="0">
                  <a:pos x="70" y="933"/>
                </a:cxn>
                <a:cxn ang="0">
                  <a:pos x="75" y="872"/>
                </a:cxn>
                <a:cxn ang="0">
                  <a:pos x="48" y="865"/>
                </a:cxn>
                <a:cxn ang="0">
                  <a:pos x="39" y="830"/>
                </a:cxn>
                <a:cxn ang="0">
                  <a:pos x="20" y="782"/>
                </a:cxn>
                <a:cxn ang="0">
                  <a:pos x="0" y="742"/>
                </a:cxn>
              </a:cxnLst>
              <a:rect l="0" t="0" r="r" b="b"/>
              <a:pathLst>
                <a:path w="478" h="952">
                  <a:moveTo>
                    <a:pt x="0" y="742"/>
                  </a:moveTo>
                  <a:lnTo>
                    <a:pt x="15" y="711"/>
                  </a:lnTo>
                  <a:lnTo>
                    <a:pt x="31" y="655"/>
                  </a:lnTo>
                  <a:lnTo>
                    <a:pt x="75" y="631"/>
                  </a:lnTo>
                  <a:lnTo>
                    <a:pt x="63" y="576"/>
                  </a:lnTo>
                  <a:lnTo>
                    <a:pt x="39" y="525"/>
                  </a:lnTo>
                  <a:lnTo>
                    <a:pt x="31" y="473"/>
                  </a:lnTo>
                  <a:lnTo>
                    <a:pt x="20" y="390"/>
                  </a:lnTo>
                  <a:lnTo>
                    <a:pt x="31" y="359"/>
                  </a:lnTo>
                  <a:lnTo>
                    <a:pt x="75" y="366"/>
                  </a:lnTo>
                  <a:lnTo>
                    <a:pt x="94" y="351"/>
                  </a:lnTo>
                  <a:lnTo>
                    <a:pt x="66" y="328"/>
                  </a:lnTo>
                  <a:lnTo>
                    <a:pt x="87" y="287"/>
                  </a:lnTo>
                  <a:lnTo>
                    <a:pt x="94" y="228"/>
                  </a:lnTo>
                  <a:lnTo>
                    <a:pt x="118" y="217"/>
                  </a:lnTo>
                  <a:lnTo>
                    <a:pt x="130" y="182"/>
                  </a:lnTo>
                  <a:lnTo>
                    <a:pt x="162" y="177"/>
                  </a:lnTo>
                  <a:lnTo>
                    <a:pt x="169" y="138"/>
                  </a:lnTo>
                  <a:lnTo>
                    <a:pt x="193" y="122"/>
                  </a:lnTo>
                  <a:lnTo>
                    <a:pt x="197" y="83"/>
                  </a:lnTo>
                  <a:lnTo>
                    <a:pt x="225" y="90"/>
                  </a:lnTo>
                  <a:lnTo>
                    <a:pt x="248" y="79"/>
                  </a:lnTo>
                  <a:lnTo>
                    <a:pt x="272" y="55"/>
                  </a:lnTo>
                  <a:lnTo>
                    <a:pt x="304" y="51"/>
                  </a:lnTo>
                  <a:lnTo>
                    <a:pt x="348" y="51"/>
                  </a:lnTo>
                  <a:lnTo>
                    <a:pt x="372" y="24"/>
                  </a:lnTo>
                  <a:lnTo>
                    <a:pt x="399" y="0"/>
                  </a:lnTo>
                  <a:lnTo>
                    <a:pt x="434" y="39"/>
                  </a:lnTo>
                  <a:lnTo>
                    <a:pt x="469" y="70"/>
                  </a:lnTo>
                  <a:lnTo>
                    <a:pt x="473" y="103"/>
                  </a:lnTo>
                  <a:lnTo>
                    <a:pt x="478" y="201"/>
                  </a:lnTo>
                  <a:lnTo>
                    <a:pt x="446" y="221"/>
                  </a:lnTo>
                  <a:lnTo>
                    <a:pt x="410" y="248"/>
                  </a:lnTo>
                  <a:lnTo>
                    <a:pt x="399" y="304"/>
                  </a:lnTo>
                  <a:lnTo>
                    <a:pt x="403" y="339"/>
                  </a:lnTo>
                  <a:lnTo>
                    <a:pt x="355" y="371"/>
                  </a:lnTo>
                  <a:lnTo>
                    <a:pt x="328" y="407"/>
                  </a:lnTo>
                  <a:lnTo>
                    <a:pt x="265" y="418"/>
                  </a:lnTo>
                  <a:lnTo>
                    <a:pt x="241" y="469"/>
                  </a:lnTo>
                  <a:lnTo>
                    <a:pt x="241" y="557"/>
                  </a:lnTo>
                  <a:lnTo>
                    <a:pt x="276" y="600"/>
                  </a:lnTo>
                  <a:lnTo>
                    <a:pt x="292" y="635"/>
                  </a:lnTo>
                  <a:lnTo>
                    <a:pt x="217" y="672"/>
                  </a:lnTo>
                  <a:lnTo>
                    <a:pt x="252" y="672"/>
                  </a:lnTo>
                  <a:lnTo>
                    <a:pt x="272" y="692"/>
                  </a:lnTo>
                  <a:lnTo>
                    <a:pt x="284" y="723"/>
                  </a:lnTo>
                  <a:lnTo>
                    <a:pt x="256" y="742"/>
                  </a:lnTo>
                  <a:lnTo>
                    <a:pt x="225" y="778"/>
                  </a:lnTo>
                  <a:lnTo>
                    <a:pt x="225" y="837"/>
                  </a:lnTo>
                  <a:lnTo>
                    <a:pt x="189" y="865"/>
                  </a:lnTo>
                  <a:lnTo>
                    <a:pt x="177" y="896"/>
                  </a:lnTo>
                  <a:lnTo>
                    <a:pt x="142" y="920"/>
                  </a:lnTo>
                  <a:lnTo>
                    <a:pt x="122" y="952"/>
                  </a:lnTo>
                  <a:lnTo>
                    <a:pt x="70" y="933"/>
                  </a:lnTo>
                  <a:lnTo>
                    <a:pt x="75" y="872"/>
                  </a:lnTo>
                  <a:lnTo>
                    <a:pt x="48" y="865"/>
                  </a:lnTo>
                  <a:lnTo>
                    <a:pt x="39" y="830"/>
                  </a:lnTo>
                  <a:lnTo>
                    <a:pt x="20" y="782"/>
                  </a:lnTo>
                  <a:lnTo>
                    <a:pt x="0" y="74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3" name="Freeform 263"/>
            <p:cNvSpPr>
              <a:spLocks noChangeAspect="1"/>
            </p:cNvSpPr>
            <p:nvPr/>
          </p:nvSpPr>
          <p:spPr bwMode="auto">
            <a:xfrm>
              <a:off x="1237388" y="2856585"/>
              <a:ext cx="216264" cy="156196"/>
            </a:xfrm>
            <a:custGeom>
              <a:avLst/>
              <a:gdLst/>
              <a:ahLst/>
              <a:cxnLst>
                <a:cxn ang="0">
                  <a:pos x="130" y="211"/>
                </a:cxn>
                <a:cxn ang="0">
                  <a:pos x="103" y="190"/>
                </a:cxn>
                <a:cxn ang="0">
                  <a:pos x="59" y="168"/>
                </a:cxn>
                <a:cxn ang="0">
                  <a:pos x="12" y="140"/>
                </a:cxn>
                <a:cxn ang="0">
                  <a:pos x="0" y="96"/>
                </a:cxn>
                <a:cxn ang="0">
                  <a:pos x="44" y="84"/>
                </a:cxn>
                <a:cxn ang="0">
                  <a:pos x="75" y="33"/>
                </a:cxn>
                <a:cxn ang="0">
                  <a:pos x="95" y="1"/>
                </a:cxn>
                <a:cxn ang="0">
                  <a:pos x="162" y="0"/>
                </a:cxn>
                <a:cxn ang="0">
                  <a:pos x="184" y="18"/>
                </a:cxn>
                <a:cxn ang="0">
                  <a:pos x="252" y="23"/>
                </a:cxn>
                <a:cxn ang="0">
                  <a:pos x="278" y="13"/>
                </a:cxn>
                <a:cxn ang="0">
                  <a:pos x="340" y="76"/>
                </a:cxn>
                <a:cxn ang="0">
                  <a:pos x="345" y="128"/>
                </a:cxn>
                <a:cxn ang="0">
                  <a:pos x="369" y="185"/>
                </a:cxn>
                <a:cxn ang="0">
                  <a:pos x="362" y="218"/>
                </a:cxn>
                <a:cxn ang="0">
                  <a:pos x="327" y="248"/>
                </a:cxn>
                <a:cxn ang="0">
                  <a:pos x="286" y="254"/>
                </a:cxn>
                <a:cxn ang="0">
                  <a:pos x="221" y="262"/>
                </a:cxn>
                <a:cxn ang="0">
                  <a:pos x="207" y="223"/>
                </a:cxn>
                <a:cxn ang="0">
                  <a:pos x="155" y="204"/>
                </a:cxn>
                <a:cxn ang="0">
                  <a:pos x="141" y="223"/>
                </a:cxn>
                <a:cxn ang="0">
                  <a:pos x="130" y="211"/>
                </a:cxn>
              </a:cxnLst>
              <a:rect l="0" t="0" r="r" b="b"/>
              <a:pathLst>
                <a:path w="369" h="262">
                  <a:moveTo>
                    <a:pt x="130" y="211"/>
                  </a:moveTo>
                  <a:lnTo>
                    <a:pt x="103" y="190"/>
                  </a:lnTo>
                  <a:lnTo>
                    <a:pt x="59" y="168"/>
                  </a:lnTo>
                  <a:lnTo>
                    <a:pt x="12" y="140"/>
                  </a:lnTo>
                  <a:lnTo>
                    <a:pt x="0" y="96"/>
                  </a:lnTo>
                  <a:lnTo>
                    <a:pt x="44" y="84"/>
                  </a:lnTo>
                  <a:lnTo>
                    <a:pt x="75" y="33"/>
                  </a:lnTo>
                  <a:lnTo>
                    <a:pt x="95" y="1"/>
                  </a:lnTo>
                  <a:lnTo>
                    <a:pt x="162" y="0"/>
                  </a:lnTo>
                  <a:lnTo>
                    <a:pt x="184" y="18"/>
                  </a:lnTo>
                  <a:lnTo>
                    <a:pt x="252" y="23"/>
                  </a:lnTo>
                  <a:lnTo>
                    <a:pt x="278" y="13"/>
                  </a:lnTo>
                  <a:lnTo>
                    <a:pt x="340" y="76"/>
                  </a:lnTo>
                  <a:lnTo>
                    <a:pt x="345" y="128"/>
                  </a:lnTo>
                  <a:lnTo>
                    <a:pt x="369" y="185"/>
                  </a:lnTo>
                  <a:lnTo>
                    <a:pt x="362" y="218"/>
                  </a:lnTo>
                  <a:lnTo>
                    <a:pt x="327" y="248"/>
                  </a:lnTo>
                  <a:lnTo>
                    <a:pt x="286" y="254"/>
                  </a:lnTo>
                  <a:lnTo>
                    <a:pt x="221" y="262"/>
                  </a:lnTo>
                  <a:lnTo>
                    <a:pt x="207" y="223"/>
                  </a:lnTo>
                  <a:lnTo>
                    <a:pt x="155" y="204"/>
                  </a:lnTo>
                  <a:lnTo>
                    <a:pt x="141" y="223"/>
                  </a:lnTo>
                  <a:lnTo>
                    <a:pt x="130" y="21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4" name="Freeform 264"/>
            <p:cNvSpPr>
              <a:spLocks noChangeAspect="1"/>
            </p:cNvSpPr>
            <p:nvPr/>
          </p:nvSpPr>
          <p:spPr bwMode="auto">
            <a:xfrm>
              <a:off x="1378048" y="3076680"/>
              <a:ext cx="56264" cy="37274"/>
            </a:xfrm>
            <a:custGeom>
              <a:avLst/>
              <a:gdLst/>
              <a:ahLst/>
              <a:cxnLst>
                <a:cxn ang="0">
                  <a:pos x="20" y="63"/>
                </a:cxn>
                <a:cxn ang="0">
                  <a:pos x="62" y="64"/>
                </a:cxn>
                <a:cxn ang="0">
                  <a:pos x="97" y="31"/>
                </a:cxn>
                <a:cxn ang="0">
                  <a:pos x="43" y="0"/>
                </a:cxn>
                <a:cxn ang="0">
                  <a:pos x="0" y="8"/>
                </a:cxn>
                <a:cxn ang="0">
                  <a:pos x="0" y="44"/>
                </a:cxn>
                <a:cxn ang="0">
                  <a:pos x="20" y="63"/>
                </a:cxn>
              </a:cxnLst>
              <a:rect l="0" t="0" r="r" b="b"/>
              <a:pathLst>
                <a:path w="97" h="64">
                  <a:moveTo>
                    <a:pt x="20" y="63"/>
                  </a:moveTo>
                  <a:lnTo>
                    <a:pt x="62" y="64"/>
                  </a:lnTo>
                  <a:lnTo>
                    <a:pt x="97" y="31"/>
                  </a:lnTo>
                  <a:lnTo>
                    <a:pt x="43" y="0"/>
                  </a:lnTo>
                  <a:lnTo>
                    <a:pt x="0" y="8"/>
                  </a:lnTo>
                  <a:lnTo>
                    <a:pt x="0" y="44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5" name="Freeform 265"/>
            <p:cNvSpPr>
              <a:spLocks noChangeAspect="1"/>
            </p:cNvSpPr>
            <p:nvPr/>
          </p:nvSpPr>
          <p:spPr bwMode="auto">
            <a:xfrm>
              <a:off x="1407938" y="3055380"/>
              <a:ext cx="490550" cy="218320"/>
            </a:xfrm>
            <a:custGeom>
              <a:avLst/>
              <a:gdLst/>
              <a:ahLst/>
              <a:cxnLst>
                <a:cxn ang="0">
                  <a:pos x="420" y="349"/>
                </a:cxn>
                <a:cxn ang="0">
                  <a:pos x="460" y="342"/>
                </a:cxn>
                <a:cxn ang="0">
                  <a:pos x="532" y="333"/>
                </a:cxn>
                <a:cxn ang="0">
                  <a:pos x="583" y="333"/>
                </a:cxn>
                <a:cxn ang="0">
                  <a:pos x="642" y="322"/>
                </a:cxn>
                <a:cxn ang="0">
                  <a:pos x="657" y="369"/>
                </a:cxn>
                <a:cxn ang="0">
                  <a:pos x="690" y="342"/>
                </a:cxn>
                <a:cxn ang="0">
                  <a:pos x="718" y="314"/>
                </a:cxn>
                <a:cxn ang="0">
                  <a:pos x="760" y="301"/>
                </a:cxn>
                <a:cxn ang="0">
                  <a:pos x="780" y="333"/>
                </a:cxn>
                <a:cxn ang="0">
                  <a:pos x="836" y="338"/>
                </a:cxn>
                <a:cxn ang="0">
                  <a:pos x="824" y="278"/>
                </a:cxn>
                <a:cxn ang="0">
                  <a:pos x="801" y="219"/>
                </a:cxn>
                <a:cxn ang="0">
                  <a:pos x="780" y="160"/>
                </a:cxn>
                <a:cxn ang="0">
                  <a:pos x="796" y="139"/>
                </a:cxn>
                <a:cxn ang="0">
                  <a:pos x="760" y="104"/>
                </a:cxn>
                <a:cxn ang="0">
                  <a:pos x="721" y="40"/>
                </a:cxn>
                <a:cxn ang="0">
                  <a:pos x="662" y="45"/>
                </a:cxn>
                <a:cxn ang="0">
                  <a:pos x="640" y="75"/>
                </a:cxn>
                <a:cxn ang="0">
                  <a:pos x="544" y="79"/>
                </a:cxn>
                <a:cxn ang="0">
                  <a:pos x="506" y="83"/>
                </a:cxn>
                <a:cxn ang="0">
                  <a:pos x="462" y="59"/>
                </a:cxn>
                <a:cxn ang="0">
                  <a:pos x="426" y="59"/>
                </a:cxn>
                <a:cxn ang="0">
                  <a:pos x="395" y="24"/>
                </a:cxn>
                <a:cxn ang="0">
                  <a:pos x="351" y="0"/>
                </a:cxn>
                <a:cxn ang="0">
                  <a:pos x="307" y="24"/>
                </a:cxn>
                <a:cxn ang="0">
                  <a:pos x="244" y="31"/>
                </a:cxn>
                <a:cxn ang="0">
                  <a:pos x="200" y="44"/>
                </a:cxn>
                <a:cxn ang="0">
                  <a:pos x="141" y="52"/>
                </a:cxn>
                <a:cxn ang="0">
                  <a:pos x="105" y="47"/>
                </a:cxn>
                <a:cxn ang="0">
                  <a:pos x="59" y="69"/>
                </a:cxn>
                <a:cxn ang="0">
                  <a:pos x="87" y="84"/>
                </a:cxn>
                <a:cxn ang="0">
                  <a:pos x="56" y="101"/>
                </a:cxn>
                <a:cxn ang="0">
                  <a:pos x="45" y="126"/>
                </a:cxn>
                <a:cxn ang="0">
                  <a:pos x="13" y="152"/>
                </a:cxn>
                <a:cxn ang="0">
                  <a:pos x="6" y="177"/>
                </a:cxn>
                <a:cxn ang="0">
                  <a:pos x="0" y="200"/>
                </a:cxn>
                <a:cxn ang="0">
                  <a:pos x="20" y="206"/>
                </a:cxn>
                <a:cxn ang="0">
                  <a:pos x="16" y="236"/>
                </a:cxn>
                <a:cxn ang="0">
                  <a:pos x="32" y="247"/>
                </a:cxn>
                <a:cxn ang="0">
                  <a:pos x="31" y="276"/>
                </a:cxn>
                <a:cxn ang="0">
                  <a:pos x="50" y="300"/>
                </a:cxn>
                <a:cxn ang="0">
                  <a:pos x="69" y="298"/>
                </a:cxn>
                <a:cxn ang="0">
                  <a:pos x="72" y="319"/>
                </a:cxn>
                <a:cxn ang="0">
                  <a:pos x="114" y="332"/>
                </a:cxn>
                <a:cxn ang="0">
                  <a:pos x="136" y="362"/>
                </a:cxn>
                <a:cxn ang="0">
                  <a:pos x="168" y="348"/>
                </a:cxn>
                <a:cxn ang="0">
                  <a:pos x="187" y="335"/>
                </a:cxn>
                <a:cxn ang="0">
                  <a:pos x="212" y="318"/>
                </a:cxn>
                <a:cxn ang="0">
                  <a:pos x="264" y="352"/>
                </a:cxn>
                <a:cxn ang="0">
                  <a:pos x="320" y="355"/>
                </a:cxn>
                <a:cxn ang="0">
                  <a:pos x="383" y="348"/>
                </a:cxn>
                <a:cxn ang="0">
                  <a:pos x="406" y="348"/>
                </a:cxn>
                <a:cxn ang="0">
                  <a:pos x="420" y="349"/>
                </a:cxn>
              </a:cxnLst>
              <a:rect l="0" t="0" r="r" b="b"/>
              <a:pathLst>
                <a:path w="836" h="369">
                  <a:moveTo>
                    <a:pt x="420" y="349"/>
                  </a:moveTo>
                  <a:lnTo>
                    <a:pt x="460" y="342"/>
                  </a:lnTo>
                  <a:lnTo>
                    <a:pt x="532" y="333"/>
                  </a:lnTo>
                  <a:lnTo>
                    <a:pt x="583" y="333"/>
                  </a:lnTo>
                  <a:lnTo>
                    <a:pt x="642" y="322"/>
                  </a:lnTo>
                  <a:lnTo>
                    <a:pt x="657" y="369"/>
                  </a:lnTo>
                  <a:lnTo>
                    <a:pt x="690" y="342"/>
                  </a:lnTo>
                  <a:lnTo>
                    <a:pt x="718" y="314"/>
                  </a:lnTo>
                  <a:lnTo>
                    <a:pt x="760" y="301"/>
                  </a:lnTo>
                  <a:lnTo>
                    <a:pt x="780" y="333"/>
                  </a:lnTo>
                  <a:lnTo>
                    <a:pt x="836" y="338"/>
                  </a:lnTo>
                  <a:lnTo>
                    <a:pt x="824" y="278"/>
                  </a:lnTo>
                  <a:lnTo>
                    <a:pt x="801" y="219"/>
                  </a:lnTo>
                  <a:lnTo>
                    <a:pt x="780" y="160"/>
                  </a:lnTo>
                  <a:lnTo>
                    <a:pt x="796" y="139"/>
                  </a:lnTo>
                  <a:lnTo>
                    <a:pt x="760" y="104"/>
                  </a:lnTo>
                  <a:lnTo>
                    <a:pt x="721" y="40"/>
                  </a:lnTo>
                  <a:lnTo>
                    <a:pt x="662" y="45"/>
                  </a:lnTo>
                  <a:lnTo>
                    <a:pt x="640" y="75"/>
                  </a:lnTo>
                  <a:lnTo>
                    <a:pt x="544" y="79"/>
                  </a:lnTo>
                  <a:lnTo>
                    <a:pt x="506" y="83"/>
                  </a:lnTo>
                  <a:lnTo>
                    <a:pt x="462" y="59"/>
                  </a:lnTo>
                  <a:lnTo>
                    <a:pt x="426" y="59"/>
                  </a:lnTo>
                  <a:lnTo>
                    <a:pt x="395" y="24"/>
                  </a:lnTo>
                  <a:lnTo>
                    <a:pt x="351" y="0"/>
                  </a:lnTo>
                  <a:lnTo>
                    <a:pt x="307" y="24"/>
                  </a:lnTo>
                  <a:lnTo>
                    <a:pt x="244" y="31"/>
                  </a:lnTo>
                  <a:lnTo>
                    <a:pt x="200" y="44"/>
                  </a:lnTo>
                  <a:lnTo>
                    <a:pt x="141" y="52"/>
                  </a:lnTo>
                  <a:lnTo>
                    <a:pt x="105" y="47"/>
                  </a:lnTo>
                  <a:lnTo>
                    <a:pt x="59" y="69"/>
                  </a:lnTo>
                  <a:lnTo>
                    <a:pt x="87" y="84"/>
                  </a:lnTo>
                  <a:lnTo>
                    <a:pt x="56" y="101"/>
                  </a:lnTo>
                  <a:lnTo>
                    <a:pt x="45" y="126"/>
                  </a:lnTo>
                  <a:lnTo>
                    <a:pt x="13" y="152"/>
                  </a:lnTo>
                  <a:lnTo>
                    <a:pt x="6" y="177"/>
                  </a:lnTo>
                  <a:lnTo>
                    <a:pt x="0" y="200"/>
                  </a:lnTo>
                  <a:lnTo>
                    <a:pt x="20" y="206"/>
                  </a:lnTo>
                  <a:lnTo>
                    <a:pt x="16" y="236"/>
                  </a:lnTo>
                  <a:lnTo>
                    <a:pt x="32" y="247"/>
                  </a:lnTo>
                  <a:lnTo>
                    <a:pt x="31" y="276"/>
                  </a:lnTo>
                  <a:lnTo>
                    <a:pt x="50" y="300"/>
                  </a:lnTo>
                  <a:lnTo>
                    <a:pt x="69" y="298"/>
                  </a:lnTo>
                  <a:lnTo>
                    <a:pt x="72" y="319"/>
                  </a:lnTo>
                  <a:lnTo>
                    <a:pt x="114" y="332"/>
                  </a:lnTo>
                  <a:lnTo>
                    <a:pt x="136" y="362"/>
                  </a:lnTo>
                  <a:lnTo>
                    <a:pt x="168" y="348"/>
                  </a:lnTo>
                  <a:lnTo>
                    <a:pt x="187" y="335"/>
                  </a:lnTo>
                  <a:lnTo>
                    <a:pt x="212" y="318"/>
                  </a:lnTo>
                  <a:lnTo>
                    <a:pt x="264" y="352"/>
                  </a:lnTo>
                  <a:lnTo>
                    <a:pt x="320" y="355"/>
                  </a:lnTo>
                  <a:lnTo>
                    <a:pt x="383" y="348"/>
                  </a:lnTo>
                  <a:lnTo>
                    <a:pt x="406" y="348"/>
                  </a:lnTo>
                  <a:lnTo>
                    <a:pt x="420" y="34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6" name="Freeform 266"/>
            <p:cNvSpPr>
              <a:spLocks noChangeAspect="1"/>
            </p:cNvSpPr>
            <p:nvPr/>
          </p:nvSpPr>
          <p:spPr bwMode="auto">
            <a:xfrm>
              <a:off x="1061564" y="2900959"/>
              <a:ext cx="253187" cy="204120"/>
            </a:xfrm>
            <a:custGeom>
              <a:avLst/>
              <a:gdLst/>
              <a:ahLst/>
              <a:cxnLst>
                <a:cxn ang="0">
                  <a:pos x="38" y="55"/>
                </a:cxn>
                <a:cxn ang="0">
                  <a:pos x="12" y="36"/>
                </a:cxn>
                <a:cxn ang="0">
                  <a:pos x="0" y="1"/>
                </a:cxn>
                <a:cxn ang="0">
                  <a:pos x="74" y="17"/>
                </a:cxn>
                <a:cxn ang="0">
                  <a:pos x="117" y="0"/>
                </a:cxn>
                <a:cxn ang="0">
                  <a:pos x="137" y="5"/>
                </a:cxn>
                <a:cxn ang="0">
                  <a:pos x="137" y="5"/>
                </a:cxn>
                <a:cxn ang="0">
                  <a:pos x="186" y="30"/>
                </a:cxn>
                <a:cxn ang="0">
                  <a:pos x="238" y="43"/>
                </a:cxn>
                <a:cxn ang="0">
                  <a:pos x="265" y="19"/>
                </a:cxn>
                <a:cxn ang="0">
                  <a:pos x="302" y="21"/>
                </a:cxn>
                <a:cxn ang="0">
                  <a:pos x="314" y="65"/>
                </a:cxn>
                <a:cxn ang="0">
                  <a:pos x="361" y="93"/>
                </a:cxn>
                <a:cxn ang="0">
                  <a:pos x="405" y="115"/>
                </a:cxn>
                <a:cxn ang="0">
                  <a:pos x="432" y="136"/>
                </a:cxn>
                <a:cxn ang="0">
                  <a:pos x="392" y="168"/>
                </a:cxn>
                <a:cxn ang="0">
                  <a:pos x="396" y="196"/>
                </a:cxn>
                <a:cxn ang="0">
                  <a:pos x="420" y="240"/>
                </a:cxn>
                <a:cxn ang="0">
                  <a:pos x="423" y="310"/>
                </a:cxn>
                <a:cxn ang="0">
                  <a:pos x="381" y="345"/>
                </a:cxn>
                <a:cxn ang="0">
                  <a:pos x="347" y="334"/>
                </a:cxn>
                <a:cxn ang="0">
                  <a:pos x="335" y="287"/>
                </a:cxn>
                <a:cxn ang="0">
                  <a:pos x="313" y="243"/>
                </a:cxn>
                <a:cxn ang="0">
                  <a:pos x="285" y="256"/>
                </a:cxn>
                <a:cxn ang="0">
                  <a:pos x="293" y="291"/>
                </a:cxn>
                <a:cxn ang="0">
                  <a:pos x="249" y="279"/>
                </a:cxn>
                <a:cxn ang="0">
                  <a:pos x="214" y="256"/>
                </a:cxn>
                <a:cxn ang="0">
                  <a:pos x="186" y="216"/>
                </a:cxn>
                <a:cxn ang="0">
                  <a:pos x="155" y="196"/>
                </a:cxn>
                <a:cxn ang="0">
                  <a:pos x="107" y="177"/>
                </a:cxn>
                <a:cxn ang="0">
                  <a:pos x="107" y="144"/>
                </a:cxn>
                <a:cxn ang="0">
                  <a:pos x="67" y="122"/>
                </a:cxn>
                <a:cxn ang="0">
                  <a:pos x="55" y="65"/>
                </a:cxn>
                <a:cxn ang="0">
                  <a:pos x="38" y="55"/>
                </a:cxn>
              </a:cxnLst>
              <a:rect l="0" t="0" r="r" b="b"/>
              <a:pathLst>
                <a:path w="432" h="345">
                  <a:moveTo>
                    <a:pt x="38" y="55"/>
                  </a:moveTo>
                  <a:lnTo>
                    <a:pt x="12" y="36"/>
                  </a:lnTo>
                  <a:lnTo>
                    <a:pt x="0" y="1"/>
                  </a:lnTo>
                  <a:lnTo>
                    <a:pt x="74" y="17"/>
                  </a:lnTo>
                  <a:lnTo>
                    <a:pt x="117" y="0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86" y="30"/>
                  </a:lnTo>
                  <a:lnTo>
                    <a:pt x="238" y="43"/>
                  </a:lnTo>
                  <a:lnTo>
                    <a:pt x="265" y="19"/>
                  </a:lnTo>
                  <a:lnTo>
                    <a:pt x="302" y="21"/>
                  </a:lnTo>
                  <a:lnTo>
                    <a:pt x="314" y="65"/>
                  </a:lnTo>
                  <a:lnTo>
                    <a:pt x="361" y="93"/>
                  </a:lnTo>
                  <a:lnTo>
                    <a:pt x="405" y="115"/>
                  </a:lnTo>
                  <a:lnTo>
                    <a:pt x="432" y="136"/>
                  </a:lnTo>
                  <a:lnTo>
                    <a:pt x="392" y="168"/>
                  </a:lnTo>
                  <a:lnTo>
                    <a:pt x="396" y="196"/>
                  </a:lnTo>
                  <a:lnTo>
                    <a:pt x="420" y="240"/>
                  </a:lnTo>
                  <a:lnTo>
                    <a:pt x="423" y="310"/>
                  </a:lnTo>
                  <a:lnTo>
                    <a:pt x="381" y="345"/>
                  </a:lnTo>
                  <a:lnTo>
                    <a:pt x="347" y="334"/>
                  </a:lnTo>
                  <a:lnTo>
                    <a:pt x="335" y="287"/>
                  </a:lnTo>
                  <a:lnTo>
                    <a:pt x="313" y="243"/>
                  </a:lnTo>
                  <a:lnTo>
                    <a:pt x="285" y="256"/>
                  </a:lnTo>
                  <a:lnTo>
                    <a:pt x="293" y="291"/>
                  </a:lnTo>
                  <a:lnTo>
                    <a:pt x="249" y="279"/>
                  </a:lnTo>
                  <a:lnTo>
                    <a:pt x="214" y="256"/>
                  </a:lnTo>
                  <a:lnTo>
                    <a:pt x="186" y="216"/>
                  </a:lnTo>
                  <a:lnTo>
                    <a:pt x="155" y="196"/>
                  </a:lnTo>
                  <a:lnTo>
                    <a:pt x="107" y="177"/>
                  </a:lnTo>
                  <a:lnTo>
                    <a:pt x="107" y="144"/>
                  </a:lnTo>
                  <a:lnTo>
                    <a:pt x="67" y="122"/>
                  </a:lnTo>
                  <a:lnTo>
                    <a:pt x="55" y="65"/>
                  </a:lnTo>
                  <a:lnTo>
                    <a:pt x="38" y="5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7" name="Freeform 267"/>
            <p:cNvSpPr>
              <a:spLocks noChangeAspect="1"/>
            </p:cNvSpPr>
            <p:nvPr/>
          </p:nvSpPr>
          <p:spPr bwMode="auto">
            <a:xfrm>
              <a:off x="1223322" y="2489169"/>
              <a:ext cx="191649" cy="159746"/>
            </a:xfrm>
            <a:custGeom>
              <a:avLst/>
              <a:gdLst/>
              <a:ahLst/>
              <a:cxnLst>
                <a:cxn ang="0">
                  <a:pos x="41" y="115"/>
                </a:cxn>
                <a:cxn ang="0">
                  <a:pos x="0" y="187"/>
                </a:cxn>
                <a:cxn ang="0">
                  <a:pos x="76" y="214"/>
                </a:cxn>
                <a:cxn ang="0">
                  <a:pos x="139" y="270"/>
                </a:cxn>
                <a:cxn ang="0">
                  <a:pos x="132" y="227"/>
                </a:cxn>
                <a:cxn ang="0">
                  <a:pos x="181" y="208"/>
                </a:cxn>
                <a:cxn ang="0">
                  <a:pos x="239" y="216"/>
                </a:cxn>
                <a:cxn ang="0">
                  <a:pos x="250" y="178"/>
                </a:cxn>
                <a:cxn ang="0">
                  <a:pos x="311" y="155"/>
                </a:cxn>
                <a:cxn ang="0">
                  <a:pos x="288" y="122"/>
                </a:cxn>
                <a:cxn ang="0">
                  <a:pos x="318" y="60"/>
                </a:cxn>
                <a:cxn ang="0">
                  <a:pos x="329" y="68"/>
                </a:cxn>
                <a:cxn ang="0">
                  <a:pos x="326" y="37"/>
                </a:cxn>
                <a:cxn ang="0">
                  <a:pos x="235" y="0"/>
                </a:cxn>
                <a:cxn ang="0">
                  <a:pos x="140" y="56"/>
                </a:cxn>
                <a:cxn ang="0">
                  <a:pos x="64" y="60"/>
                </a:cxn>
                <a:cxn ang="0">
                  <a:pos x="41" y="115"/>
                </a:cxn>
              </a:cxnLst>
              <a:rect l="0" t="0" r="r" b="b"/>
              <a:pathLst>
                <a:path w="329" h="270">
                  <a:moveTo>
                    <a:pt x="41" y="115"/>
                  </a:moveTo>
                  <a:lnTo>
                    <a:pt x="0" y="187"/>
                  </a:lnTo>
                  <a:lnTo>
                    <a:pt x="76" y="214"/>
                  </a:lnTo>
                  <a:lnTo>
                    <a:pt x="139" y="270"/>
                  </a:lnTo>
                  <a:lnTo>
                    <a:pt x="132" y="227"/>
                  </a:lnTo>
                  <a:lnTo>
                    <a:pt x="181" y="208"/>
                  </a:lnTo>
                  <a:lnTo>
                    <a:pt x="239" y="216"/>
                  </a:lnTo>
                  <a:lnTo>
                    <a:pt x="250" y="178"/>
                  </a:lnTo>
                  <a:lnTo>
                    <a:pt x="311" y="155"/>
                  </a:lnTo>
                  <a:lnTo>
                    <a:pt x="288" y="122"/>
                  </a:lnTo>
                  <a:lnTo>
                    <a:pt x="318" y="60"/>
                  </a:lnTo>
                  <a:lnTo>
                    <a:pt x="329" y="68"/>
                  </a:lnTo>
                  <a:lnTo>
                    <a:pt x="326" y="37"/>
                  </a:lnTo>
                  <a:lnTo>
                    <a:pt x="235" y="0"/>
                  </a:lnTo>
                  <a:lnTo>
                    <a:pt x="140" y="56"/>
                  </a:lnTo>
                  <a:lnTo>
                    <a:pt x="64" y="60"/>
                  </a:lnTo>
                  <a:lnTo>
                    <a:pt x="41" y="11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8" name="Freeform 268"/>
            <p:cNvSpPr>
              <a:spLocks noChangeAspect="1"/>
            </p:cNvSpPr>
            <p:nvPr/>
          </p:nvSpPr>
          <p:spPr bwMode="auto">
            <a:xfrm>
              <a:off x="1223322" y="2489169"/>
              <a:ext cx="191649" cy="159746"/>
            </a:xfrm>
            <a:custGeom>
              <a:avLst/>
              <a:gdLst/>
              <a:ahLst/>
              <a:cxnLst>
                <a:cxn ang="0">
                  <a:pos x="41" y="115"/>
                </a:cxn>
                <a:cxn ang="0">
                  <a:pos x="0" y="187"/>
                </a:cxn>
                <a:cxn ang="0">
                  <a:pos x="76" y="214"/>
                </a:cxn>
                <a:cxn ang="0">
                  <a:pos x="139" y="270"/>
                </a:cxn>
                <a:cxn ang="0">
                  <a:pos x="132" y="227"/>
                </a:cxn>
                <a:cxn ang="0">
                  <a:pos x="181" y="208"/>
                </a:cxn>
                <a:cxn ang="0">
                  <a:pos x="239" y="216"/>
                </a:cxn>
                <a:cxn ang="0">
                  <a:pos x="250" y="178"/>
                </a:cxn>
                <a:cxn ang="0">
                  <a:pos x="311" y="155"/>
                </a:cxn>
                <a:cxn ang="0">
                  <a:pos x="288" y="122"/>
                </a:cxn>
                <a:cxn ang="0">
                  <a:pos x="318" y="60"/>
                </a:cxn>
                <a:cxn ang="0">
                  <a:pos x="329" y="68"/>
                </a:cxn>
                <a:cxn ang="0">
                  <a:pos x="326" y="37"/>
                </a:cxn>
                <a:cxn ang="0">
                  <a:pos x="235" y="0"/>
                </a:cxn>
                <a:cxn ang="0">
                  <a:pos x="140" y="56"/>
                </a:cxn>
                <a:cxn ang="0">
                  <a:pos x="64" y="60"/>
                </a:cxn>
                <a:cxn ang="0">
                  <a:pos x="41" y="115"/>
                </a:cxn>
              </a:cxnLst>
              <a:rect l="0" t="0" r="r" b="b"/>
              <a:pathLst>
                <a:path w="329" h="270">
                  <a:moveTo>
                    <a:pt x="41" y="115"/>
                  </a:moveTo>
                  <a:lnTo>
                    <a:pt x="0" y="187"/>
                  </a:lnTo>
                  <a:lnTo>
                    <a:pt x="76" y="214"/>
                  </a:lnTo>
                  <a:lnTo>
                    <a:pt x="139" y="270"/>
                  </a:lnTo>
                  <a:lnTo>
                    <a:pt x="132" y="227"/>
                  </a:lnTo>
                  <a:lnTo>
                    <a:pt x="181" y="208"/>
                  </a:lnTo>
                  <a:lnTo>
                    <a:pt x="239" y="216"/>
                  </a:lnTo>
                  <a:lnTo>
                    <a:pt x="250" y="178"/>
                  </a:lnTo>
                  <a:lnTo>
                    <a:pt x="311" y="155"/>
                  </a:lnTo>
                  <a:lnTo>
                    <a:pt x="288" y="122"/>
                  </a:lnTo>
                  <a:lnTo>
                    <a:pt x="318" y="60"/>
                  </a:lnTo>
                  <a:lnTo>
                    <a:pt x="329" y="68"/>
                  </a:lnTo>
                  <a:lnTo>
                    <a:pt x="326" y="37"/>
                  </a:lnTo>
                  <a:lnTo>
                    <a:pt x="235" y="0"/>
                  </a:lnTo>
                  <a:lnTo>
                    <a:pt x="140" y="56"/>
                  </a:lnTo>
                  <a:lnTo>
                    <a:pt x="64" y="60"/>
                  </a:lnTo>
                  <a:lnTo>
                    <a:pt x="41" y="115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9" name="Freeform 269"/>
            <p:cNvSpPr>
              <a:spLocks noChangeAspect="1"/>
            </p:cNvSpPr>
            <p:nvPr/>
          </p:nvSpPr>
          <p:spPr bwMode="auto">
            <a:xfrm>
              <a:off x="1293652" y="2661340"/>
              <a:ext cx="425495" cy="308842"/>
            </a:xfrm>
            <a:custGeom>
              <a:avLst/>
              <a:gdLst/>
              <a:ahLst/>
              <a:cxnLst>
                <a:cxn ang="0">
                  <a:pos x="183" y="345"/>
                </a:cxn>
                <a:cxn ang="0">
                  <a:pos x="237" y="340"/>
                </a:cxn>
                <a:cxn ang="0">
                  <a:pos x="280" y="363"/>
                </a:cxn>
                <a:cxn ang="0">
                  <a:pos x="334" y="451"/>
                </a:cxn>
                <a:cxn ang="0">
                  <a:pos x="325" y="485"/>
                </a:cxn>
                <a:cxn ang="0">
                  <a:pos x="306" y="524"/>
                </a:cxn>
                <a:cxn ang="0">
                  <a:pos x="346" y="489"/>
                </a:cxn>
                <a:cxn ang="0">
                  <a:pos x="370" y="386"/>
                </a:cxn>
                <a:cxn ang="0">
                  <a:pos x="417" y="378"/>
                </a:cxn>
                <a:cxn ang="0">
                  <a:pos x="433" y="437"/>
                </a:cxn>
                <a:cxn ang="0">
                  <a:pos x="551" y="429"/>
                </a:cxn>
                <a:cxn ang="0">
                  <a:pos x="575" y="393"/>
                </a:cxn>
                <a:cxn ang="0">
                  <a:pos x="611" y="398"/>
                </a:cxn>
                <a:cxn ang="0">
                  <a:pos x="698" y="358"/>
                </a:cxn>
                <a:cxn ang="0">
                  <a:pos x="726" y="219"/>
                </a:cxn>
                <a:cxn ang="0">
                  <a:pos x="546" y="68"/>
                </a:cxn>
                <a:cxn ang="0">
                  <a:pos x="520" y="0"/>
                </a:cxn>
                <a:cxn ang="0">
                  <a:pos x="402" y="8"/>
                </a:cxn>
                <a:cxn ang="0">
                  <a:pos x="369" y="59"/>
                </a:cxn>
                <a:cxn ang="0">
                  <a:pos x="48" y="94"/>
                </a:cxn>
                <a:cxn ang="0">
                  <a:pos x="50" y="176"/>
                </a:cxn>
                <a:cxn ang="0">
                  <a:pos x="15" y="203"/>
                </a:cxn>
                <a:cxn ang="0">
                  <a:pos x="0" y="333"/>
                </a:cxn>
                <a:cxn ang="0">
                  <a:pos x="67" y="332"/>
                </a:cxn>
                <a:cxn ang="0">
                  <a:pos x="89" y="350"/>
                </a:cxn>
                <a:cxn ang="0">
                  <a:pos x="157" y="355"/>
                </a:cxn>
                <a:cxn ang="0">
                  <a:pos x="183" y="345"/>
                </a:cxn>
                <a:cxn ang="0">
                  <a:pos x="183" y="345"/>
                </a:cxn>
              </a:cxnLst>
              <a:rect l="0" t="0" r="r" b="b"/>
              <a:pathLst>
                <a:path w="726" h="524">
                  <a:moveTo>
                    <a:pt x="183" y="345"/>
                  </a:moveTo>
                  <a:lnTo>
                    <a:pt x="237" y="340"/>
                  </a:lnTo>
                  <a:lnTo>
                    <a:pt x="280" y="363"/>
                  </a:lnTo>
                  <a:lnTo>
                    <a:pt x="334" y="451"/>
                  </a:lnTo>
                  <a:lnTo>
                    <a:pt x="325" y="485"/>
                  </a:lnTo>
                  <a:lnTo>
                    <a:pt x="306" y="524"/>
                  </a:lnTo>
                  <a:lnTo>
                    <a:pt x="346" y="489"/>
                  </a:lnTo>
                  <a:lnTo>
                    <a:pt x="370" y="386"/>
                  </a:lnTo>
                  <a:lnTo>
                    <a:pt x="417" y="378"/>
                  </a:lnTo>
                  <a:lnTo>
                    <a:pt x="433" y="437"/>
                  </a:lnTo>
                  <a:lnTo>
                    <a:pt x="551" y="429"/>
                  </a:lnTo>
                  <a:lnTo>
                    <a:pt x="575" y="393"/>
                  </a:lnTo>
                  <a:lnTo>
                    <a:pt x="611" y="398"/>
                  </a:lnTo>
                  <a:lnTo>
                    <a:pt x="698" y="358"/>
                  </a:lnTo>
                  <a:lnTo>
                    <a:pt x="726" y="219"/>
                  </a:lnTo>
                  <a:lnTo>
                    <a:pt x="546" y="68"/>
                  </a:lnTo>
                  <a:lnTo>
                    <a:pt x="520" y="0"/>
                  </a:lnTo>
                  <a:lnTo>
                    <a:pt x="402" y="8"/>
                  </a:lnTo>
                  <a:lnTo>
                    <a:pt x="369" y="59"/>
                  </a:lnTo>
                  <a:lnTo>
                    <a:pt x="48" y="94"/>
                  </a:lnTo>
                  <a:lnTo>
                    <a:pt x="50" y="176"/>
                  </a:lnTo>
                  <a:lnTo>
                    <a:pt x="15" y="203"/>
                  </a:lnTo>
                  <a:lnTo>
                    <a:pt x="0" y="333"/>
                  </a:lnTo>
                  <a:lnTo>
                    <a:pt x="67" y="332"/>
                  </a:lnTo>
                  <a:lnTo>
                    <a:pt x="89" y="350"/>
                  </a:lnTo>
                  <a:lnTo>
                    <a:pt x="157" y="355"/>
                  </a:lnTo>
                  <a:lnTo>
                    <a:pt x="183" y="345"/>
                  </a:lnTo>
                  <a:lnTo>
                    <a:pt x="183" y="34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0" name="Freeform 270"/>
            <p:cNvSpPr>
              <a:spLocks noChangeAspect="1"/>
            </p:cNvSpPr>
            <p:nvPr/>
          </p:nvSpPr>
          <p:spPr bwMode="auto">
            <a:xfrm>
              <a:off x="1300685" y="2489169"/>
              <a:ext cx="251429" cy="227194"/>
            </a:xfrm>
            <a:custGeom>
              <a:avLst/>
              <a:gdLst/>
              <a:ahLst/>
              <a:cxnLst>
                <a:cxn ang="0">
                  <a:pos x="37" y="385"/>
                </a:cxn>
                <a:cxn ang="0">
                  <a:pos x="358" y="350"/>
                </a:cxn>
                <a:cxn ang="0">
                  <a:pos x="391" y="299"/>
                </a:cxn>
                <a:cxn ang="0">
                  <a:pos x="411" y="232"/>
                </a:cxn>
                <a:cxn ang="0">
                  <a:pos x="430" y="213"/>
                </a:cxn>
                <a:cxn ang="0">
                  <a:pos x="421" y="49"/>
                </a:cxn>
                <a:cxn ang="0">
                  <a:pos x="295" y="0"/>
                </a:cxn>
                <a:cxn ang="0">
                  <a:pos x="261" y="22"/>
                </a:cxn>
                <a:cxn ang="0">
                  <a:pos x="216" y="7"/>
                </a:cxn>
                <a:cxn ang="0">
                  <a:pos x="197" y="68"/>
                </a:cxn>
                <a:cxn ang="0">
                  <a:pos x="186" y="60"/>
                </a:cxn>
                <a:cxn ang="0">
                  <a:pos x="156" y="122"/>
                </a:cxn>
                <a:cxn ang="0">
                  <a:pos x="179" y="155"/>
                </a:cxn>
                <a:cxn ang="0">
                  <a:pos x="118" y="178"/>
                </a:cxn>
                <a:cxn ang="0">
                  <a:pos x="107" y="216"/>
                </a:cxn>
                <a:cxn ang="0">
                  <a:pos x="49" y="208"/>
                </a:cxn>
                <a:cxn ang="0">
                  <a:pos x="0" y="227"/>
                </a:cxn>
                <a:cxn ang="0">
                  <a:pos x="7" y="270"/>
                </a:cxn>
                <a:cxn ang="0">
                  <a:pos x="7" y="332"/>
                </a:cxn>
                <a:cxn ang="0">
                  <a:pos x="34" y="332"/>
                </a:cxn>
                <a:cxn ang="0">
                  <a:pos x="37" y="385"/>
                </a:cxn>
              </a:cxnLst>
              <a:rect l="0" t="0" r="r" b="b"/>
              <a:pathLst>
                <a:path w="430" h="385">
                  <a:moveTo>
                    <a:pt x="37" y="385"/>
                  </a:moveTo>
                  <a:lnTo>
                    <a:pt x="358" y="350"/>
                  </a:lnTo>
                  <a:lnTo>
                    <a:pt x="391" y="299"/>
                  </a:lnTo>
                  <a:lnTo>
                    <a:pt x="411" y="232"/>
                  </a:lnTo>
                  <a:lnTo>
                    <a:pt x="430" y="213"/>
                  </a:lnTo>
                  <a:lnTo>
                    <a:pt x="421" y="49"/>
                  </a:lnTo>
                  <a:lnTo>
                    <a:pt x="295" y="0"/>
                  </a:lnTo>
                  <a:lnTo>
                    <a:pt x="261" y="22"/>
                  </a:lnTo>
                  <a:lnTo>
                    <a:pt x="216" y="7"/>
                  </a:lnTo>
                  <a:lnTo>
                    <a:pt x="197" y="68"/>
                  </a:lnTo>
                  <a:lnTo>
                    <a:pt x="186" y="60"/>
                  </a:lnTo>
                  <a:lnTo>
                    <a:pt x="156" y="122"/>
                  </a:lnTo>
                  <a:lnTo>
                    <a:pt x="179" y="155"/>
                  </a:lnTo>
                  <a:lnTo>
                    <a:pt x="118" y="178"/>
                  </a:lnTo>
                  <a:lnTo>
                    <a:pt x="107" y="216"/>
                  </a:lnTo>
                  <a:lnTo>
                    <a:pt x="49" y="208"/>
                  </a:lnTo>
                  <a:lnTo>
                    <a:pt x="0" y="227"/>
                  </a:lnTo>
                  <a:lnTo>
                    <a:pt x="7" y="270"/>
                  </a:lnTo>
                  <a:lnTo>
                    <a:pt x="7" y="332"/>
                  </a:lnTo>
                  <a:lnTo>
                    <a:pt x="34" y="332"/>
                  </a:lnTo>
                  <a:lnTo>
                    <a:pt x="37" y="38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1" name="Freeform 271"/>
            <p:cNvSpPr>
              <a:spLocks noChangeAspect="1"/>
            </p:cNvSpPr>
            <p:nvPr/>
          </p:nvSpPr>
          <p:spPr bwMode="auto">
            <a:xfrm>
              <a:off x="6108846" y="2746209"/>
              <a:ext cx="65055" cy="67448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27" y="0"/>
                </a:cxn>
                <a:cxn ang="0">
                  <a:pos x="86" y="60"/>
                </a:cxn>
                <a:cxn ang="0">
                  <a:pos x="109" y="100"/>
                </a:cxn>
                <a:cxn ang="0">
                  <a:pos x="65" y="113"/>
                </a:cxn>
                <a:cxn ang="0">
                  <a:pos x="18" y="67"/>
                </a:cxn>
                <a:cxn ang="0">
                  <a:pos x="0" y="28"/>
                </a:cxn>
              </a:cxnLst>
              <a:rect l="0" t="0" r="r" b="b"/>
              <a:pathLst>
                <a:path w="109" h="113">
                  <a:moveTo>
                    <a:pt x="0" y="28"/>
                  </a:moveTo>
                  <a:lnTo>
                    <a:pt x="27" y="0"/>
                  </a:lnTo>
                  <a:lnTo>
                    <a:pt x="86" y="60"/>
                  </a:lnTo>
                  <a:lnTo>
                    <a:pt x="109" y="100"/>
                  </a:lnTo>
                  <a:lnTo>
                    <a:pt x="65" y="113"/>
                  </a:lnTo>
                  <a:lnTo>
                    <a:pt x="18" y="67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2" name="Freeform 272"/>
            <p:cNvSpPr>
              <a:spLocks noChangeAspect="1"/>
            </p:cNvSpPr>
            <p:nvPr/>
          </p:nvSpPr>
          <p:spPr bwMode="auto">
            <a:xfrm>
              <a:off x="1335850" y="3236426"/>
              <a:ext cx="66813" cy="19525"/>
            </a:xfrm>
            <a:custGeom>
              <a:avLst/>
              <a:gdLst/>
              <a:ahLst/>
              <a:cxnLst>
                <a:cxn ang="0">
                  <a:pos x="54" y="35"/>
                </a:cxn>
                <a:cxn ang="0">
                  <a:pos x="54" y="35"/>
                </a:cxn>
                <a:cxn ang="0">
                  <a:pos x="42" y="33"/>
                </a:cxn>
                <a:cxn ang="0">
                  <a:pos x="29" y="28"/>
                </a:cxn>
                <a:cxn ang="0">
                  <a:pos x="14" y="23"/>
                </a:cxn>
                <a:cxn ang="0">
                  <a:pos x="5" y="20"/>
                </a:cxn>
                <a:cxn ang="0">
                  <a:pos x="5" y="20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4" y="19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6"/>
                </a:cxn>
                <a:cxn ang="0">
                  <a:pos x="6" y="14"/>
                </a:cxn>
                <a:cxn ang="0">
                  <a:pos x="9" y="13"/>
                </a:cxn>
                <a:cxn ang="0">
                  <a:pos x="16" y="11"/>
                </a:cxn>
                <a:cxn ang="0">
                  <a:pos x="29" y="11"/>
                </a:cxn>
                <a:cxn ang="0">
                  <a:pos x="46" y="11"/>
                </a:cxn>
                <a:cxn ang="0">
                  <a:pos x="46" y="11"/>
                </a:cxn>
                <a:cxn ang="0">
                  <a:pos x="51" y="10"/>
                </a:cxn>
                <a:cxn ang="0">
                  <a:pos x="59" y="9"/>
                </a:cxn>
                <a:cxn ang="0">
                  <a:pos x="73" y="5"/>
                </a:cxn>
                <a:cxn ang="0">
                  <a:pos x="86" y="1"/>
                </a:cxn>
                <a:cxn ang="0">
                  <a:pos x="93" y="0"/>
                </a:cxn>
                <a:cxn ang="0">
                  <a:pos x="98" y="0"/>
                </a:cxn>
                <a:cxn ang="0">
                  <a:pos x="98" y="0"/>
                </a:cxn>
                <a:cxn ang="0">
                  <a:pos x="100" y="1"/>
                </a:cxn>
                <a:cxn ang="0">
                  <a:pos x="103" y="4"/>
                </a:cxn>
                <a:cxn ang="0">
                  <a:pos x="108" y="10"/>
                </a:cxn>
                <a:cxn ang="0">
                  <a:pos x="112" y="18"/>
                </a:cxn>
                <a:cxn ang="0">
                  <a:pos x="112" y="23"/>
                </a:cxn>
                <a:cxn ang="0">
                  <a:pos x="112" y="23"/>
                </a:cxn>
                <a:cxn ang="0">
                  <a:pos x="110" y="24"/>
                </a:cxn>
                <a:cxn ang="0">
                  <a:pos x="107" y="26"/>
                </a:cxn>
                <a:cxn ang="0">
                  <a:pos x="93" y="31"/>
                </a:cxn>
                <a:cxn ang="0">
                  <a:pos x="74" y="34"/>
                </a:cxn>
                <a:cxn ang="0">
                  <a:pos x="54" y="35"/>
                </a:cxn>
                <a:cxn ang="0">
                  <a:pos x="54" y="35"/>
                </a:cxn>
              </a:cxnLst>
              <a:rect l="0" t="0" r="r" b="b"/>
              <a:pathLst>
                <a:path w="112" h="35">
                  <a:moveTo>
                    <a:pt x="54" y="35"/>
                  </a:moveTo>
                  <a:lnTo>
                    <a:pt x="54" y="35"/>
                  </a:lnTo>
                  <a:lnTo>
                    <a:pt x="42" y="33"/>
                  </a:lnTo>
                  <a:lnTo>
                    <a:pt x="29" y="28"/>
                  </a:lnTo>
                  <a:lnTo>
                    <a:pt x="14" y="23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5" y="18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9" y="13"/>
                  </a:lnTo>
                  <a:lnTo>
                    <a:pt x="16" y="11"/>
                  </a:lnTo>
                  <a:lnTo>
                    <a:pt x="29" y="11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51" y="10"/>
                  </a:lnTo>
                  <a:lnTo>
                    <a:pt x="59" y="9"/>
                  </a:lnTo>
                  <a:lnTo>
                    <a:pt x="73" y="5"/>
                  </a:lnTo>
                  <a:lnTo>
                    <a:pt x="86" y="1"/>
                  </a:lnTo>
                  <a:lnTo>
                    <a:pt x="93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  <a:lnTo>
                    <a:pt x="103" y="4"/>
                  </a:lnTo>
                  <a:lnTo>
                    <a:pt x="108" y="10"/>
                  </a:lnTo>
                  <a:lnTo>
                    <a:pt x="112" y="18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0" y="24"/>
                  </a:lnTo>
                  <a:lnTo>
                    <a:pt x="107" y="26"/>
                  </a:lnTo>
                  <a:lnTo>
                    <a:pt x="93" y="31"/>
                  </a:lnTo>
                  <a:lnTo>
                    <a:pt x="74" y="34"/>
                  </a:lnTo>
                  <a:lnTo>
                    <a:pt x="54" y="35"/>
                  </a:lnTo>
                  <a:lnTo>
                    <a:pt x="54" y="3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3" name="Freeform 273"/>
            <p:cNvSpPr>
              <a:spLocks noChangeAspect="1"/>
            </p:cNvSpPr>
            <p:nvPr/>
          </p:nvSpPr>
          <p:spPr bwMode="auto">
            <a:xfrm>
              <a:off x="1402663" y="1569742"/>
              <a:ext cx="3862862" cy="1464339"/>
            </a:xfrm>
            <a:custGeom>
              <a:avLst/>
              <a:gdLst/>
              <a:ahLst/>
              <a:cxnLst>
                <a:cxn ang="0">
                  <a:pos x="1119" y="1805"/>
                </a:cxn>
                <a:cxn ang="0">
                  <a:pos x="1540" y="1941"/>
                </a:cxn>
                <a:cxn ang="0">
                  <a:pos x="1820" y="1798"/>
                </a:cxn>
                <a:cxn ang="0">
                  <a:pos x="2269" y="1862"/>
                </a:cxn>
                <a:cxn ang="0">
                  <a:pos x="2683" y="2119"/>
                </a:cxn>
                <a:cxn ang="0">
                  <a:pos x="3014" y="2053"/>
                </a:cxn>
                <a:cxn ang="0">
                  <a:pos x="3318" y="2004"/>
                </a:cxn>
                <a:cxn ang="0">
                  <a:pos x="3761" y="2019"/>
                </a:cxn>
                <a:cxn ang="0">
                  <a:pos x="3978" y="1829"/>
                </a:cxn>
                <a:cxn ang="0">
                  <a:pos x="4457" y="2111"/>
                </a:cxn>
                <a:cxn ang="0">
                  <a:pos x="4626" y="2355"/>
                </a:cxn>
                <a:cxn ang="0">
                  <a:pos x="4843" y="2217"/>
                </a:cxn>
                <a:cxn ang="0">
                  <a:pos x="4686" y="1814"/>
                </a:cxn>
                <a:cxn ang="0">
                  <a:pos x="4860" y="1431"/>
                </a:cxn>
                <a:cxn ang="0">
                  <a:pos x="5322" y="1292"/>
                </a:cxn>
                <a:cxn ang="0">
                  <a:pos x="5607" y="1332"/>
                </a:cxn>
                <a:cxn ang="0">
                  <a:pos x="5535" y="1912"/>
                </a:cxn>
                <a:cxn ang="0">
                  <a:pos x="5737" y="1612"/>
                </a:cxn>
                <a:cxn ang="0">
                  <a:pos x="5639" y="1504"/>
                </a:cxn>
                <a:cxn ang="0">
                  <a:pos x="5756" y="1356"/>
                </a:cxn>
                <a:cxn ang="0">
                  <a:pos x="6002" y="1237"/>
                </a:cxn>
                <a:cxn ang="0">
                  <a:pos x="6133" y="1023"/>
                </a:cxn>
                <a:cxn ang="0">
                  <a:pos x="6377" y="1027"/>
                </a:cxn>
                <a:cxn ang="0">
                  <a:pos x="6578" y="953"/>
                </a:cxn>
                <a:cxn ang="0">
                  <a:pos x="6247" y="806"/>
                </a:cxn>
                <a:cxn ang="0">
                  <a:pos x="5835" y="616"/>
                </a:cxn>
                <a:cxn ang="0">
                  <a:pos x="5334" y="644"/>
                </a:cxn>
                <a:cxn ang="0">
                  <a:pos x="4898" y="561"/>
                </a:cxn>
                <a:cxn ang="0">
                  <a:pos x="4425" y="391"/>
                </a:cxn>
                <a:cxn ang="0">
                  <a:pos x="4097" y="498"/>
                </a:cxn>
                <a:cxn ang="0">
                  <a:pos x="3868" y="368"/>
                </a:cxn>
                <a:cxn ang="0">
                  <a:pos x="3161" y="340"/>
                </a:cxn>
                <a:cxn ang="0">
                  <a:pos x="3172" y="134"/>
                </a:cxn>
                <a:cxn ang="0">
                  <a:pos x="2745" y="31"/>
                </a:cxn>
                <a:cxn ang="0">
                  <a:pos x="2517" y="130"/>
                </a:cxn>
                <a:cxn ang="0">
                  <a:pos x="2180" y="276"/>
                </a:cxn>
                <a:cxn ang="0">
                  <a:pos x="2070" y="454"/>
                </a:cxn>
                <a:cxn ang="0">
                  <a:pos x="1900" y="510"/>
                </a:cxn>
                <a:cxn ang="0">
                  <a:pos x="1761" y="482"/>
                </a:cxn>
                <a:cxn ang="0">
                  <a:pos x="1912" y="684"/>
                </a:cxn>
                <a:cxn ang="0">
                  <a:pos x="1951" y="774"/>
                </a:cxn>
                <a:cxn ang="0">
                  <a:pos x="1659" y="898"/>
                </a:cxn>
                <a:cxn ang="0">
                  <a:pos x="1777" y="778"/>
                </a:cxn>
                <a:cxn ang="0">
                  <a:pos x="1722" y="585"/>
                </a:cxn>
                <a:cxn ang="0">
                  <a:pos x="1481" y="537"/>
                </a:cxn>
                <a:cxn ang="0">
                  <a:pos x="1430" y="671"/>
                </a:cxn>
                <a:cxn ang="0">
                  <a:pos x="1181" y="708"/>
                </a:cxn>
                <a:cxn ang="0">
                  <a:pos x="793" y="846"/>
                </a:cxn>
                <a:cxn ang="0">
                  <a:pos x="644" y="889"/>
                </a:cxn>
                <a:cxn ang="0">
                  <a:pos x="482" y="1071"/>
                </a:cxn>
                <a:cxn ang="0">
                  <a:pos x="370" y="1115"/>
                </a:cxn>
                <a:cxn ang="0">
                  <a:pos x="438" y="909"/>
                </a:cxn>
                <a:cxn ang="0">
                  <a:pos x="64" y="749"/>
                </a:cxn>
                <a:cxn ang="0">
                  <a:pos x="163" y="1176"/>
                </a:cxn>
                <a:cxn ang="0">
                  <a:pos x="0" y="1416"/>
                </a:cxn>
                <a:cxn ang="0">
                  <a:pos x="361" y="1911"/>
                </a:cxn>
                <a:cxn ang="0">
                  <a:pos x="531" y="2407"/>
                </a:cxn>
                <a:cxn ang="0">
                  <a:pos x="900" y="2339"/>
                </a:cxn>
              </a:cxnLst>
              <a:rect l="0" t="0" r="r" b="b"/>
              <a:pathLst>
                <a:path w="6591" h="2473">
                  <a:moveTo>
                    <a:pt x="964" y="2280"/>
                  </a:moveTo>
                  <a:lnTo>
                    <a:pt x="999" y="2245"/>
                  </a:lnTo>
                  <a:lnTo>
                    <a:pt x="1018" y="2161"/>
                  </a:lnTo>
                  <a:lnTo>
                    <a:pt x="1059" y="2116"/>
                  </a:lnTo>
                  <a:lnTo>
                    <a:pt x="1055" y="2055"/>
                  </a:lnTo>
                  <a:lnTo>
                    <a:pt x="1003" y="2021"/>
                  </a:lnTo>
                  <a:lnTo>
                    <a:pt x="980" y="1969"/>
                  </a:lnTo>
                  <a:lnTo>
                    <a:pt x="1119" y="1805"/>
                  </a:lnTo>
                  <a:lnTo>
                    <a:pt x="1168" y="1862"/>
                  </a:lnTo>
                  <a:lnTo>
                    <a:pt x="1188" y="1824"/>
                  </a:lnTo>
                  <a:lnTo>
                    <a:pt x="1249" y="1809"/>
                  </a:lnTo>
                  <a:lnTo>
                    <a:pt x="1300" y="1819"/>
                  </a:lnTo>
                  <a:lnTo>
                    <a:pt x="1388" y="1824"/>
                  </a:lnTo>
                  <a:lnTo>
                    <a:pt x="1502" y="1896"/>
                  </a:lnTo>
                  <a:lnTo>
                    <a:pt x="1499" y="1926"/>
                  </a:lnTo>
                  <a:lnTo>
                    <a:pt x="1540" y="1941"/>
                  </a:lnTo>
                  <a:lnTo>
                    <a:pt x="1600" y="1933"/>
                  </a:lnTo>
                  <a:lnTo>
                    <a:pt x="1683" y="1984"/>
                  </a:lnTo>
                  <a:lnTo>
                    <a:pt x="1725" y="1999"/>
                  </a:lnTo>
                  <a:lnTo>
                    <a:pt x="1751" y="1972"/>
                  </a:lnTo>
                  <a:lnTo>
                    <a:pt x="1726" y="1915"/>
                  </a:lnTo>
                  <a:lnTo>
                    <a:pt x="1777" y="1888"/>
                  </a:lnTo>
                  <a:lnTo>
                    <a:pt x="1831" y="1862"/>
                  </a:lnTo>
                  <a:lnTo>
                    <a:pt x="1820" y="1798"/>
                  </a:lnTo>
                  <a:lnTo>
                    <a:pt x="1850" y="1790"/>
                  </a:lnTo>
                  <a:lnTo>
                    <a:pt x="1910" y="1805"/>
                  </a:lnTo>
                  <a:lnTo>
                    <a:pt x="2023" y="1817"/>
                  </a:lnTo>
                  <a:lnTo>
                    <a:pt x="2091" y="1802"/>
                  </a:lnTo>
                  <a:lnTo>
                    <a:pt x="2179" y="1787"/>
                  </a:lnTo>
                  <a:lnTo>
                    <a:pt x="2217" y="1820"/>
                  </a:lnTo>
                  <a:lnTo>
                    <a:pt x="2220" y="1858"/>
                  </a:lnTo>
                  <a:lnTo>
                    <a:pt x="2269" y="1862"/>
                  </a:lnTo>
                  <a:lnTo>
                    <a:pt x="2341" y="1836"/>
                  </a:lnTo>
                  <a:lnTo>
                    <a:pt x="2401" y="1836"/>
                  </a:lnTo>
                  <a:lnTo>
                    <a:pt x="2470" y="1965"/>
                  </a:lnTo>
                  <a:lnTo>
                    <a:pt x="2516" y="1969"/>
                  </a:lnTo>
                  <a:lnTo>
                    <a:pt x="2542" y="2003"/>
                  </a:lnTo>
                  <a:lnTo>
                    <a:pt x="2613" y="2033"/>
                  </a:lnTo>
                  <a:lnTo>
                    <a:pt x="2655" y="2143"/>
                  </a:lnTo>
                  <a:lnTo>
                    <a:pt x="2683" y="2119"/>
                  </a:lnTo>
                  <a:lnTo>
                    <a:pt x="2742" y="2104"/>
                  </a:lnTo>
                  <a:lnTo>
                    <a:pt x="2876" y="2092"/>
                  </a:lnTo>
                  <a:lnTo>
                    <a:pt x="2892" y="2112"/>
                  </a:lnTo>
                  <a:lnTo>
                    <a:pt x="2939" y="2119"/>
                  </a:lnTo>
                  <a:lnTo>
                    <a:pt x="2959" y="2139"/>
                  </a:lnTo>
                  <a:lnTo>
                    <a:pt x="3054" y="2128"/>
                  </a:lnTo>
                  <a:lnTo>
                    <a:pt x="3030" y="2077"/>
                  </a:lnTo>
                  <a:lnTo>
                    <a:pt x="3014" y="2053"/>
                  </a:lnTo>
                  <a:lnTo>
                    <a:pt x="3054" y="2049"/>
                  </a:lnTo>
                  <a:lnTo>
                    <a:pt x="3054" y="1970"/>
                  </a:lnTo>
                  <a:lnTo>
                    <a:pt x="3054" y="1890"/>
                  </a:lnTo>
                  <a:lnTo>
                    <a:pt x="3137" y="1921"/>
                  </a:lnTo>
                  <a:lnTo>
                    <a:pt x="3192" y="1925"/>
                  </a:lnTo>
                  <a:lnTo>
                    <a:pt x="3231" y="1964"/>
                  </a:lnTo>
                  <a:lnTo>
                    <a:pt x="3251" y="2004"/>
                  </a:lnTo>
                  <a:lnTo>
                    <a:pt x="3318" y="2004"/>
                  </a:lnTo>
                  <a:lnTo>
                    <a:pt x="3417" y="2011"/>
                  </a:lnTo>
                  <a:lnTo>
                    <a:pt x="3472" y="2043"/>
                  </a:lnTo>
                  <a:lnTo>
                    <a:pt x="3516" y="2055"/>
                  </a:lnTo>
                  <a:lnTo>
                    <a:pt x="3527" y="2090"/>
                  </a:lnTo>
                  <a:lnTo>
                    <a:pt x="3647" y="2075"/>
                  </a:lnTo>
                  <a:lnTo>
                    <a:pt x="3666" y="2043"/>
                  </a:lnTo>
                  <a:lnTo>
                    <a:pt x="3706" y="2067"/>
                  </a:lnTo>
                  <a:lnTo>
                    <a:pt x="3761" y="2019"/>
                  </a:lnTo>
                  <a:lnTo>
                    <a:pt x="3805" y="2015"/>
                  </a:lnTo>
                  <a:lnTo>
                    <a:pt x="3844" y="2039"/>
                  </a:lnTo>
                  <a:lnTo>
                    <a:pt x="3879" y="2075"/>
                  </a:lnTo>
                  <a:lnTo>
                    <a:pt x="3939" y="2075"/>
                  </a:lnTo>
                  <a:lnTo>
                    <a:pt x="3951" y="1987"/>
                  </a:lnTo>
                  <a:lnTo>
                    <a:pt x="3986" y="1956"/>
                  </a:lnTo>
                  <a:lnTo>
                    <a:pt x="3954" y="1877"/>
                  </a:lnTo>
                  <a:lnTo>
                    <a:pt x="3978" y="1829"/>
                  </a:lnTo>
                  <a:lnTo>
                    <a:pt x="4172" y="1834"/>
                  </a:lnTo>
                  <a:lnTo>
                    <a:pt x="4219" y="1884"/>
                  </a:lnTo>
                  <a:lnTo>
                    <a:pt x="4263" y="1925"/>
                  </a:lnTo>
                  <a:lnTo>
                    <a:pt x="4295" y="1964"/>
                  </a:lnTo>
                  <a:lnTo>
                    <a:pt x="4306" y="2019"/>
                  </a:lnTo>
                  <a:lnTo>
                    <a:pt x="4342" y="2063"/>
                  </a:lnTo>
                  <a:lnTo>
                    <a:pt x="4421" y="2079"/>
                  </a:lnTo>
                  <a:lnTo>
                    <a:pt x="4457" y="2111"/>
                  </a:lnTo>
                  <a:lnTo>
                    <a:pt x="4495" y="2138"/>
                  </a:lnTo>
                  <a:lnTo>
                    <a:pt x="4512" y="2166"/>
                  </a:lnTo>
                  <a:lnTo>
                    <a:pt x="4559" y="2170"/>
                  </a:lnTo>
                  <a:lnTo>
                    <a:pt x="4639" y="2154"/>
                  </a:lnTo>
                  <a:lnTo>
                    <a:pt x="4654" y="2177"/>
                  </a:lnTo>
                  <a:lnTo>
                    <a:pt x="4662" y="2217"/>
                  </a:lnTo>
                  <a:lnTo>
                    <a:pt x="4630" y="2241"/>
                  </a:lnTo>
                  <a:lnTo>
                    <a:pt x="4626" y="2355"/>
                  </a:lnTo>
                  <a:lnTo>
                    <a:pt x="4583" y="2348"/>
                  </a:lnTo>
                  <a:lnTo>
                    <a:pt x="4559" y="2394"/>
                  </a:lnTo>
                  <a:lnTo>
                    <a:pt x="4563" y="2446"/>
                  </a:lnTo>
                  <a:lnTo>
                    <a:pt x="4607" y="2455"/>
                  </a:lnTo>
                  <a:lnTo>
                    <a:pt x="4662" y="2473"/>
                  </a:lnTo>
                  <a:lnTo>
                    <a:pt x="4736" y="2418"/>
                  </a:lnTo>
                  <a:lnTo>
                    <a:pt x="4793" y="2324"/>
                  </a:lnTo>
                  <a:lnTo>
                    <a:pt x="4843" y="2217"/>
                  </a:lnTo>
                  <a:lnTo>
                    <a:pt x="4883" y="2114"/>
                  </a:lnTo>
                  <a:lnTo>
                    <a:pt x="4860" y="2008"/>
                  </a:lnTo>
                  <a:lnTo>
                    <a:pt x="4876" y="1976"/>
                  </a:lnTo>
                  <a:lnTo>
                    <a:pt x="4863" y="1862"/>
                  </a:lnTo>
                  <a:lnTo>
                    <a:pt x="4816" y="1790"/>
                  </a:lnTo>
                  <a:lnTo>
                    <a:pt x="4742" y="1766"/>
                  </a:lnTo>
                  <a:lnTo>
                    <a:pt x="4718" y="1810"/>
                  </a:lnTo>
                  <a:lnTo>
                    <a:pt x="4686" y="1814"/>
                  </a:lnTo>
                  <a:lnTo>
                    <a:pt x="4677" y="1770"/>
                  </a:lnTo>
                  <a:lnTo>
                    <a:pt x="4607" y="1735"/>
                  </a:lnTo>
                  <a:lnTo>
                    <a:pt x="4595" y="1700"/>
                  </a:lnTo>
                  <a:lnTo>
                    <a:pt x="4639" y="1656"/>
                  </a:lnTo>
                  <a:lnTo>
                    <a:pt x="4690" y="1573"/>
                  </a:lnTo>
                  <a:lnTo>
                    <a:pt x="4718" y="1514"/>
                  </a:lnTo>
                  <a:lnTo>
                    <a:pt x="4753" y="1459"/>
                  </a:lnTo>
                  <a:lnTo>
                    <a:pt x="4860" y="1431"/>
                  </a:lnTo>
                  <a:lnTo>
                    <a:pt x="4946" y="1426"/>
                  </a:lnTo>
                  <a:lnTo>
                    <a:pt x="5065" y="1439"/>
                  </a:lnTo>
                  <a:lnTo>
                    <a:pt x="5093" y="1391"/>
                  </a:lnTo>
                  <a:lnTo>
                    <a:pt x="5180" y="1411"/>
                  </a:lnTo>
                  <a:lnTo>
                    <a:pt x="5180" y="1442"/>
                  </a:lnTo>
                  <a:lnTo>
                    <a:pt x="5294" y="1422"/>
                  </a:lnTo>
                  <a:lnTo>
                    <a:pt x="5303" y="1367"/>
                  </a:lnTo>
                  <a:lnTo>
                    <a:pt x="5322" y="1292"/>
                  </a:lnTo>
                  <a:lnTo>
                    <a:pt x="5345" y="1249"/>
                  </a:lnTo>
                  <a:lnTo>
                    <a:pt x="5465" y="1249"/>
                  </a:lnTo>
                  <a:lnTo>
                    <a:pt x="5504" y="1296"/>
                  </a:lnTo>
                  <a:lnTo>
                    <a:pt x="5531" y="1308"/>
                  </a:lnTo>
                  <a:lnTo>
                    <a:pt x="5571" y="1237"/>
                  </a:lnTo>
                  <a:lnTo>
                    <a:pt x="5603" y="1225"/>
                  </a:lnTo>
                  <a:lnTo>
                    <a:pt x="5630" y="1281"/>
                  </a:lnTo>
                  <a:lnTo>
                    <a:pt x="5607" y="1332"/>
                  </a:lnTo>
                  <a:lnTo>
                    <a:pt x="5544" y="1383"/>
                  </a:lnTo>
                  <a:lnTo>
                    <a:pt x="5487" y="1466"/>
                  </a:lnTo>
                  <a:lnTo>
                    <a:pt x="5441" y="1529"/>
                  </a:lnTo>
                  <a:lnTo>
                    <a:pt x="5432" y="1621"/>
                  </a:lnTo>
                  <a:lnTo>
                    <a:pt x="5445" y="1719"/>
                  </a:lnTo>
                  <a:lnTo>
                    <a:pt x="5484" y="1787"/>
                  </a:lnTo>
                  <a:lnTo>
                    <a:pt x="5504" y="1866"/>
                  </a:lnTo>
                  <a:lnTo>
                    <a:pt x="5535" y="1912"/>
                  </a:lnTo>
                  <a:lnTo>
                    <a:pt x="5575" y="1936"/>
                  </a:lnTo>
                  <a:lnTo>
                    <a:pt x="5618" y="1866"/>
                  </a:lnTo>
                  <a:lnTo>
                    <a:pt x="5662" y="1778"/>
                  </a:lnTo>
                  <a:lnTo>
                    <a:pt x="5662" y="1728"/>
                  </a:lnTo>
                  <a:lnTo>
                    <a:pt x="5709" y="1728"/>
                  </a:lnTo>
                  <a:lnTo>
                    <a:pt x="5701" y="1663"/>
                  </a:lnTo>
                  <a:lnTo>
                    <a:pt x="5709" y="1616"/>
                  </a:lnTo>
                  <a:lnTo>
                    <a:pt x="5737" y="1612"/>
                  </a:lnTo>
                  <a:lnTo>
                    <a:pt x="5717" y="1577"/>
                  </a:lnTo>
                  <a:lnTo>
                    <a:pt x="5666" y="1522"/>
                  </a:lnTo>
                  <a:lnTo>
                    <a:pt x="5666" y="1522"/>
                  </a:lnTo>
                  <a:lnTo>
                    <a:pt x="5662" y="1520"/>
                  </a:lnTo>
                  <a:lnTo>
                    <a:pt x="5652" y="1517"/>
                  </a:lnTo>
                  <a:lnTo>
                    <a:pt x="5647" y="1514"/>
                  </a:lnTo>
                  <a:lnTo>
                    <a:pt x="5643" y="1510"/>
                  </a:lnTo>
                  <a:lnTo>
                    <a:pt x="5639" y="1504"/>
                  </a:lnTo>
                  <a:lnTo>
                    <a:pt x="5638" y="1498"/>
                  </a:lnTo>
                  <a:lnTo>
                    <a:pt x="5638" y="1498"/>
                  </a:lnTo>
                  <a:lnTo>
                    <a:pt x="5639" y="1489"/>
                  </a:lnTo>
                  <a:lnTo>
                    <a:pt x="5640" y="1479"/>
                  </a:lnTo>
                  <a:lnTo>
                    <a:pt x="5645" y="1455"/>
                  </a:lnTo>
                  <a:lnTo>
                    <a:pt x="5654" y="1426"/>
                  </a:lnTo>
                  <a:lnTo>
                    <a:pt x="5682" y="1391"/>
                  </a:lnTo>
                  <a:lnTo>
                    <a:pt x="5756" y="1356"/>
                  </a:lnTo>
                  <a:lnTo>
                    <a:pt x="5796" y="1328"/>
                  </a:lnTo>
                  <a:lnTo>
                    <a:pt x="5851" y="1316"/>
                  </a:lnTo>
                  <a:lnTo>
                    <a:pt x="5887" y="1328"/>
                  </a:lnTo>
                  <a:lnTo>
                    <a:pt x="5919" y="1367"/>
                  </a:lnTo>
                  <a:lnTo>
                    <a:pt x="5942" y="1387"/>
                  </a:lnTo>
                  <a:lnTo>
                    <a:pt x="5969" y="1304"/>
                  </a:lnTo>
                  <a:lnTo>
                    <a:pt x="5993" y="1281"/>
                  </a:lnTo>
                  <a:lnTo>
                    <a:pt x="6002" y="1237"/>
                  </a:lnTo>
                  <a:lnTo>
                    <a:pt x="6065" y="1240"/>
                  </a:lnTo>
                  <a:lnTo>
                    <a:pt x="6124" y="1198"/>
                  </a:lnTo>
                  <a:lnTo>
                    <a:pt x="6160" y="1190"/>
                  </a:lnTo>
                  <a:lnTo>
                    <a:pt x="6227" y="1218"/>
                  </a:lnTo>
                  <a:lnTo>
                    <a:pt x="6243" y="1181"/>
                  </a:lnTo>
                  <a:lnTo>
                    <a:pt x="6183" y="1106"/>
                  </a:lnTo>
                  <a:lnTo>
                    <a:pt x="6100" y="1051"/>
                  </a:lnTo>
                  <a:lnTo>
                    <a:pt x="6133" y="1023"/>
                  </a:lnTo>
                  <a:lnTo>
                    <a:pt x="6188" y="988"/>
                  </a:lnTo>
                  <a:lnTo>
                    <a:pt x="6168" y="957"/>
                  </a:lnTo>
                  <a:lnTo>
                    <a:pt x="6168" y="905"/>
                  </a:lnTo>
                  <a:lnTo>
                    <a:pt x="6219" y="889"/>
                  </a:lnTo>
                  <a:lnTo>
                    <a:pt x="6238" y="944"/>
                  </a:lnTo>
                  <a:lnTo>
                    <a:pt x="6254" y="988"/>
                  </a:lnTo>
                  <a:lnTo>
                    <a:pt x="6341" y="992"/>
                  </a:lnTo>
                  <a:lnTo>
                    <a:pt x="6377" y="1027"/>
                  </a:lnTo>
                  <a:lnTo>
                    <a:pt x="6436" y="1032"/>
                  </a:lnTo>
                  <a:lnTo>
                    <a:pt x="6468" y="1078"/>
                  </a:lnTo>
                  <a:lnTo>
                    <a:pt x="6499" y="1091"/>
                  </a:lnTo>
                  <a:lnTo>
                    <a:pt x="6539" y="1051"/>
                  </a:lnTo>
                  <a:lnTo>
                    <a:pt x="6499" y="1004"/>
                  </a:lnTo>
                  <a:lnTo>
                    <a:pt x="6512" y="968"/>
                  </a:lnTo>
                  <a:lnTo>
                    <a:pt x="6547" y="968"/>
                  </a:lnTo>
                  <a:lnTo>
                    <a:pt x="6578" y="953"/>
                  </a:lnTo>
                  <a:lnTo>
                    <a:pt x="6591" y="892"/>
                  </a:lnTo>
                  <a:lnTo>
                    <a:pt x="6503" y="892"/>
                  </a:lnTo>
                  <a:lnTo>
                    <a:pt x="6451" y="861"/>
                  </a:lnTo>
                  <a:lnTo>
                    <a:pt x="6381" y="870"/>
                  </a:lnTo>
                  <a:lnTo>
                    <a:pt x="6361" y="901"/>
                  </a:lnTo>
                  <a:lnTo>
                    <a:pt x="6333" y="850"/>
                  </a:lnTo>
                  <a:lnTo>
                    <a:pt x="6313" y="822"/>
                  </a:lnTo>
                  <a:lnTo>
                    <a:pt x="6247" y="806"/>
                  </a:lnTo>
                  <a:lnTo>
                    <a:pt x="6238" y="767"/>
                  </a:lnTo>
                  <a:lnTo>
                    <a:pt x="6148" y="767"/>
                  </a:lnTo>
                  <a:lnTo>
                    <a:pt x="6109" y="719"/>
                  </a:lnTo>
                  <a:lnTo>
                    <a:pt x="6045" y="688"/>
                  </a:lnTo>
                  <a:lnTo>
                    <a:pt x="5989" y="679"/>
                  </a:lnTo>
                  <a:lnTo>
                    <a:pt x="5927" y="656"/>
                  </a:lnTo>
                  <a:lnTo>
                    <a:pt x="5899" y="636"/>
                  </a:lnTo>
                  <a:lnTo>
                    <a:pt x="5835" y="616"/>
                  </a:lnTo>
                  <a:lnTo>
                    <a:pt x="5752" y="616"/>
                  </a:lnTo>
                  <a:lnTo>
                    <a:pt x="5650" y="605"/>
                  </a:lnTo>
                  <a:lnTo>
                    <a:pt x="5638" y="668"/>
                  </a:lnTo>
                  <a:lnTo>
                    <a:pt x="5590" y="675"/>
                  </a:lnTo>
                  <a:lnTo>
                    <a:pt x="5563" y="644"/>
                  </a:lnTo>
                  <a:lnTo>
                    <a:pt x="5511" y="656"/>
                  </a:lnTo>
                  <a:lnTo>
                    <a:pt x="5445" y="633"/>
                  </a:lnTo>
                  <a:lnTo>
                    <a:pt x="5334" y="644"/>
                  </a:lnTo>
                  <a:lnTo>
                    <a:pt x="5310" y="684"/>
                  </a:lnTo>
                  <a:lnTo>
                    <a:pt x="5270" y="671"/>
                  </a:lnTo>
                  <a:lnTo>
                    <a:pt x="5219" y="629"/>
                  </a:lnTo>
                  <a:lnTo>
                    <a:pt x="5168" y="572"/>
                  </a:lnTo>
                  <a:lnTo>
                    <a:pt x="5042" y="545"/>
                  </a:lnTo>
                  <a:lnTo>
                    <a:pt x="4998" y="557"/>
                  </a:lnTo>
                  <a:lnTo>
                    <a:pt x="4970" y="569"/>
                  </a:lnTo>
                  <a:lnTo>
                    <a:pt x="4898" y="561"/>
                  </a:lnTo>
                  <a:lnTo>
                    <a:pt x="4812" y="513"/>
                  </a:lnTo>
                  <a:lnTo>
                    <a:pt x="4757" y="486"/>
                  </a:lnTo>
                  <a:lnTo>
                    <a:pt x="4745" y="462"/>
                  </a:lnTo>
                  <a:lnTo>
                    <a:pt x="4611" y="462"/>
                  </a:lnTo>
                  <a:lnTo>
                    <a:pt x="4571" y="478"/>
                  </a:lnTo>
                  <a:lnTo>
                    <a:pt x="4532" y="430"/>
                  </a:lnTo>
                  <a:lnTo>
                    <a:pt x="4457" y="430"/>
                  </a:lnTo>
                  <a:lnTo>
                    <a:pt x="4425" y="391"/>
                  </a:lnTo>
                  <a:lnTo>
                    <a:pt x="4381" y="415"/>
                  </a:lnTo>
                  <a:lnTo>
                    <a:pt x="4342" y="443"/>
                  </a:lnTo>
                  <a:lnTo>
                    <a:pt x="4370" y="506"/>
                  </a:lnTo>
                  <a:lnTo>
                    <a:pt x="4311" y="517"/>
                  </a:lnTo>
                  <a:lnTo>
                    <a:pt x="4239" y="506"/>
                  </a:lnTo>
                  <a:lnTo>
                    <a:pt x="4184" y="502"/>
                  </a:lnTo>
                  <a:lnTo>
                    <a:pt x="4148" y="522"/>
                  </a:lnTo>
                  <a:lnTo>
                    <a:pt x="4097" y="498"/>
                  </a:lnTo>
                  <a:lnTo>
                    <a:pt x="4070" y="467"/>
                  </a:lnTo>
                  <a:lnTo>
                    <a:pt x="4061" y="517"/>
                  </a:lnTo>
                  <a:lnTo>
                    <a:pt x="3991" y="526"/>
                  </a:lnTo>
                  <a:lnTo>
                    <a:pt x="3899" y="494"/>
                  </a:lnTo>
                  <a:lnTo>
                    <a:pt x="3844" y="474"/>
                  </a:lnTo>
                  <a:lnTo>
                    <a:pt x="3860" y="443"/>
                  </a:lnTo>
                  <a:lnTo>
                    <a:pt x="3899" y="430"/>
                  </a:lnTo>
                  <a:lnTo>
                    <a:pt x="3868" y="368"/>
                  </a:lnTo>
                  <a:lnTo>
                    <a:pt x="3792" y="340"/>
                  </a:lnTo>
                  <a:lnTo>
                    <a:pt x="3693" y="348"/>
                  </a:lnTo>
                  <a:lnTo>
                    <a:pt x="3662" y="423"/>
                  </a:lnTo>
                  <a:lnTo>
                    <a:pt x="3588" y="395"/>
                  </a:lnTo>
                  <a:lnTo>
                    <a:pt x="3520" y="364"/>
                  </a:lnTo>
                  <a:lnTo>
                    <a:pt x="3417" y="340"/>
                  </a:lnTo>
                  <a:lnTo>
                    <a:pt x="3227" y="340"/>
                  </a:lnTo>
                  <a:lnTo>
                    <a:pt x="3161" y="340"/>
                  </a:lnTo>
                  <a:lnTo>
                    <a:pt x="3093" y="368"/>
                  </a:lnTo>
                  <a:lnTo>
                    <a:pt x="2999" y="399"/>
                  </a:lnTo>
                  <a:lnTo>
                    <a:pt x="3045" y="344"/>
                  </a:lnTo>
                  <a:lnTo>
                    <a:pt x="3141" y="296"/>
                  </a:lnTo>
                  <a:lnTo>
                    <a:pt x="3180" y="276"/>
                  </a:lnTo>
                  <a:lnTo>
                    <a:pt x="3227" y="229"/>
                  </a:lnTo>
                  <a:lnTo>
                    <a:pt x="3235" y="162"/>
                  </a:lnTo>
                  <a:lnTo>
                    <a:pt x="3172" y="134"/>
                  </a:lnTo>
                  <a:lnTo>
                    <a:pt x="3145" y="91"/>
                  </a:lnTo>
                  <a:lnTo>
                    <a:pt x="2994" y="79"/>
                  </a:lnTo>
                  <a:lnTo>
                    <a:pt x="2966" y="110"/>
                  </a:lnTo>
                  <a:lnTo>
                    <a:pt x="2915" y="86"/>
                  </a:lnTo>
                  <a:lnTo>
                    <a:pt x="2896" y="51"/>
                  </a:lnTo>
                  <a:lnTo>
                    <a:pt x="2856" y="20"/>
                  </a:lnTo>
                  <a:lnTo>
                    <a:pt x="2821" y="0"/>
                  </a:lnTo>
                  <a:lnTo>
                    <a:pt x="2745" y="31"/>
                  </a:lnTo>
                  <a:lnTo>
                    <a:pt x="2729" y="91"/>
                  </a:lnTo>
                  <a:lnTo>
                    <a:pt x="2714" y="114"/>
                  </a:lnTo>
                  <a:lnTo>
                    <a:pt x="2749" y="127"/>
                  </a:lnTo>
                  <a:lnTo>
                    <a:pt x="2698" y="154"/>
                  </a:lnTo>
                  <a:lnTo>
                    <a:pt x="2624" y="138"/>
                  </a:lnTo>
                  <a:lnTo>
                    <a:pt x="2572" y="147"/>
                  </a:lnTo>
                  <a:lnTo>
                    <a:pt x="2548" y="169"/>
                  </a:lnTo>
                  <a:lnTo>
                    <a:pt x="2517" y="130"/>
                  </a:lnTo>
                  <a:lnTo>
                    <a:pt x="2473" y="150"/>
                  </a:lnTo>
                  <a:lnTo>
                    <a:pt x="2433" y="138"/>
                  </a:lnTo>
                  <a:lnTo>
                    <a:pt x="2429" y="178"/>
                  </a:lnTo>
                  <a:lnTo>
                    <a:pt x="2350" y="182"/>
                  </a:lnTo>
                  <a:lnTo>
                    <a:pt x="2280" y="189"/>
                  </a:lnTo>
                  <a:lnTo>
                    <a:pt x="2232" y="217"/>
                  </a:lnTo>
                  <a:lnTo>
                    <a:pt x="2180" y="237"/>
                  </a:lnTo>
                  <a:lnTo>
                    <a:pt x="2180" y="276"/>
                  </a:lnTo>
                  <a:lnTo>
                    <a:pt x="2219" y="289"/>
                  </a:lnTo>
                  <a:lnTo>
                    <a:pt x="2232" y="340"/>
                  </a:lnTo>
                  <a:lnTo>
                    <a:pt x="2160" y="331"/>
                  </a:lnTo>
                  <a:lnTo>
                    <a:pt x="2070" y="336"/>
                  </a:lnTo>
                  <a:lnTo>
                    <a:pt x="2018" y="355"/>
                  </a:lnTo>
                  <a:lnTo>
                    <a:pt x="2007" y="407"/>
                  </a:lnTo>
                  <a:lnTo>
                    <a:pt x="2030" y="450"/>
                  </a:lnTo>
                  <a:lnTo>
                    <a:pt x="2070" y="454"/>
                  </a:lnTo>
                  <a:lnTo>
                    <a:pt x="2101" y="494"/>
                  </a:lnTo>
                  <a:lnTo>
                    <a:pt x="2129" y="545"/>
                  </a:lnTo>
                  <a:lnTo>
                    <a:pt x="2125" y="585"/>
                  </a:lnTo>
                  <a:lnTo>
                    <a:pt x="2057" y="517"/>
                  </a:lnTo>
                  <a:lnTo>
                    <a:pt x="1991" y="498"/>
                  </a:lnTo>
                  <a:lnTo>
                    <a:pt x="1959" y="454"/>
                  </a:lnTo>
                  <a:lnTo>
                    <a:pt x="1919" y="458"/>
                  </a:lnTo>
                  <a:lnTo>
                    <a:pt x="1900" y="510"/>
                  </a:lnTo>
                  <a:lnTo>
                    <a:pt x="1919" y="537"/>
                  </a:lnTo>
                  <a:lnTo>
                    <a:pt x="1923" y="565"/>
                  </a:lnTo>
                  <a:lnTo>
                    <a:pt x="1868" y="545"/>
                  </a:lnTo>
                  <a:lnTo>
                    <a:pt x="1812" y="498"/>
                  </a:lnTo>
                  <a:lnTo>
                    <a:pt x="1805" y="438"/>
                  </a:lnTo>
                  <a:lnTo>
                    <a:pt x="1781" y="403"/>
                  </a:lnTo>
                  <a:lnTo>
                    <a:pt x="1753" y="434"/>
                  </a:lnTo>
                  <a:lnTo>
                    <a:pt x="1761" y="482"/>
                  </a:lnTo>
                  <a:lnTo>
                    <a:pt x="1753" y="513"/>
                  </a:lnTo>
                  <a:lnTo>
                    <a:pt x="1761" y="545"/>
                  </a:lnTo>
                  <a:lnTo>
                    <a:pt x="1785" y="553"/>
                  </a:lnTo>
                  <a:lnTo>
                    <a:pt x="1794" y="640"/>
                  </a:lnTo>
                  <a:lnTo>
                    <a:pt x="1801" y="684"/>
                  </a:lnTo>
                  <a:lnTo>
                    <a:pt x="1860" y="692"/>
                  </a:lnTo>
                  <a:lnTo>
                    <a:pt x="1868" y="668"/>
                  </a:lnTo>
                  <a:lnTo>
                    <a:pt x="1912" y="684"/>
                  </a:lnTo>
                  <a:lnTo>
                    <a:pt x="1939" y="695"/>
                  </a:lnTo>
                  <a:lnTo>
                    <a:pt x="1959" y="723"/>
                  </a:lnTo>
                  <a:lnTo>
                    <a:pt x="1971" y="767"/>
                  </a:lnTo>
                  <a:lnTo>
                    <a:pt x="1995" y="786"/>
                  </a:lnTo>
                  <a:lnTo>
                    <a:pt x="2022" y="802"/>
                  </a:lnTo>
                  <a:lnTo>
                    <a:pt x="2022" y="833"/>
                  </a:lnTo>
                  <a:lnTo>
                    <a:pt x="1983" y="810"/>
                  </a:lnTo>
                  <a:lnTo>
                    <a:pt x="1951" y="774"/>
                  </a:lnTo>
                  <a:lnTo>
                    <a:pt x="1904" y="739"/>
                  </a:lnTo>
                  <a:lnTo>
                    <a:pt x="1856" y="739"/>
                  </a:lnTo>
                  <a:lnTo>
                    <a:pt x="1849" y="754"/>
                  </a:lnTo>
                  <a:lnTo>
                    <a:pt x="1840" y="791"/>
                  </a:lnTo>
                  <a:lnTo>
                    <a:pt x="1816" y="842"/>
                  </a:lnTo>
                  <a:lnTo>
                    <a:pt x="1785" y="901"/>
                  </a:lnTo>
                  <a:lnTo>
                    <a:pt x="1733" y="920"/>
                  </a:lnTo>
                  <a:lnTo>
                    <a:pt x="1659" y="898"/>
                  </a:lnTo>
                  <a:lnTo>
                    <a:pt x="1671" y="870"/>
                  </a:lnTo>
                  <a:lnTo>
                    <a:pt x="1718" y="854"/>
                  </a:lnTo>
                  <a:lnTo>
                    <a:pt x="1761" y="830"/>
                  </a:lnTo>
                  <a:lnTo>
                    <a:pt x="1761" y="830"/>
                  </a:lnTo>
                  <a:lnTo>
                    <a:pt x="1770" y="810"/>
                  </a:lnTo>
                  <a:lnTo>
                    <a:pt x="1775" y="793"/>
                  </a:lnTo>
                  <a:lnTo>
                    <a:pt x="1776" y="786"/>
                  </a:lnTo>
                  <a:lnTo>
                    <a:pt x="1777" y="778"/>
                  </a:lnTo>
                  <a:lnTo>
                    <a:pt x="1777" y="778"/>
                  </a:lnTo>
                  <a:lnTo>
                    <a:pt x="1776" y="771"/>
                  </a:lnTo>
                  <a:lnTo>
                    <a:pt x="1774" y="761"/>
                  </a:lnTo>
                  <a:lnTo>
                    <a:pt x="1766" y="737"/>
                  </a:lnTo>
                  <a:lnTo>
                    <a:pt x="1753" y="708"/>
                  </a:lnTo>
                  <a:lnTo>
                    <a:pt x="1737" y="664"/>
                  </a:lnTo>
                  <a:lnTo>
                    <a:pt x="1737" y="629"/>
                  </a:lnTo>
                  <a:lnTo>
                    <a:pt x="1722" y="585"/>
                  </a:lnTo>
                  <a:lnTo>
                    <a:pt x="1710" y="530"/>
                  </a:lnTo>
                  <a:lnTo>
                    <a:pt x="1691" y="450"/>
                  </a:lnTo>
                  <a:lnTo>
                    <a:pt x="1674" y="391"/>
                  </a:lnTo>
                  <a:lnTo>
                    <a:pt x="1635" y="344"/>
                  </a:lnTo>
                  <a:lnTo>
                    <a:pt x="1575" y="351"/>
                  </a:lnTo>
                  <a:lnTo>
                    <a:pt x="1544" y="427"/>
                  </a:lnTo>
                  <a:lnTo>
                    <a:pt x="1532" y="506"/>
                  </a:lnTo>
                  <a:lnTo>
                    <a:pt x="1481" y="537"/>
                  </a:lnTo>
                  <a:lnTo>
                    <a:pt x="1485" y="589"/>
                  </a:lnTo>
                  <a:lnTo>
                    <a:pt x="1516" y="636"/>
                  </a:lnTo>
                  <a:lnTo>
                    <a:pt x="1553" y="688"/>
                  </a:lnTo>
                  <a:lnTo>
                    <a:pt x="1580" y="723"/>
                  </a:lnTo>
                  <a:lnTo>
                    <a:pt x="1591" y="758"/>
                  </a:lnTo>
                  <a:lnTo>
                    <a:pt x="1548" y="774"/>
                  </a:lnTo>
                  <a:lnTo>
                    <a:pt x="1505" y="715"/>
                  </a:lnTo>
                  <a:lnTo>
                    <a:pt x="1430" y="671"/>
                  </a:lnTo>
                  <a:lnTo>
                    <a:pt x="1339" y="648"/>
                  </a:lnTo>
                  <a:lnTo>
                    <a:pt x="1264" y="644"/>
                  </a:lnTo>
                  <a:lnTo>
                    <a:pt x="1244" y="675"/>
                  </a:lnTo>
                  <a:lnTo>
                    <a:pt x="1268" y="692"/>
                  </a:lnTo>
                  <a:lnTo>
                    <a:pt x="1264" y="751"/>
                  </a:lnTo>
                  <a:lnTo>
                    <a:pt x="1224" y="763"/>
                  </a:lnTo>
                  <a:lnTo>
                    <a:pt x="1212" y="712"/>
                  </a:lnTo>
                  <a:lnTo>
                    <a:pt x="1181" y="708"/>
                  </a:lnTo>
                  <a:lnTo>
                    <a:pt x="1148" y="747"/>
                  </a:lnTo>
                  <a:lnTo>
                    <a:pt x="1054" y="747"/>
                  </a:lnTo>
                  <a:lnTo>
                    <a:pt x="1019" y="786"/>
                  </a:lnTo>
                  <a:lnTo>
                    <a:pt x="991" y="739"/>
                  </a:lnTo>
                  <a:lnTo>
                    <a:pt x="959" y="747"/>
                  </a:lnTo>
                  <a:lnTo>
                    <a:pt x="907" y="771"/>
                  </a:lnTo>
                  <a:lnTo>
                    <a:pt x="857" y="791"/>
                  </a:lnTo>
                  <a:lnTo>
                    <a:pt x="793" y="846"/>
                  </a:lnTo>
                  <a:lnTo>
                    <a:pt x="726" y="877"/>
                  </a:lnTo>
                  <a:lnTo>
                    <a:pt x="703" y="833"/>
                  </a:lnTo>
                  <a:lnTo>
                    <a:pt x="703" y="798"/>
                  </a:lnTo>
                  <a:lnTo>
                    <a:pt x="659" y="751"/>
                  </a:lnTo>
                  <a:lnTo>
                    <a:pt x="592" y="758"/>
                  </a:lnTo>
                  <a:lnTo>
                    <a:pt x="607" y="798"/>
                  </a:lnTo>
                  <a:lnTo>
                    <a:pt x="624" y="846"/>
                  </a:lnTo>
                  <a:lnTo>
                    <a:pt x="644" y="889"/>
                  </a:lnTo>
                  <a:lnTo>
                    <a:pt x="647" y="944"/>
                  </a:lnTo>
                  <a:lnTo>
                    <a:pt x="600" y="920"/>
                  </a:lnTo>
                  <a:lnTo>
                    <a:pt x="552" y="913"/>
                  </a:lnTo>
                  <a:lnTo>
                    <a:pt x="524" y="944"/>
                  </a:lnTo>
                  <a:lnTo>
                    <a:pt x="465" y="960"/>
                  </a:lnTo>
                  <a:lnTo>
                    <a:pt x="462" y="999"/>
                  </a:lnTo>
                  <a:lnTo>
                    <a:pt x="497" y="1019"/>
                  </a:lnTo>
                  <a:lnTo>
                    <a:pt x="482" y="1071"/>
                  </a:lnTo>
                  <a:lnTo>
                    <a:pt x="438" y="1071"/>
                  </a:lnTo>
                  <a:lnTo>
                    <a:pt x="438" y="1019"/>
                  </a:lnTo>
                  <a:lnTo>
                    <a:pt x="390" y="999"/>
                  </a:lnTo>
                  <a:lnTo>
                    <a:pt x="347" y="1019"/>
                  </a:lnTo>
                  <a:lnTo>
                    <a:pt x="351" y="1060"/>
                  </a:lnTo>
                  <a:lnTo>
                    <a:pt x="382" y="1071"/>
                  </a:lnTo>
                  <a:lnTo>
                    <a:pt x="394" y="1091"/>
                  </a:lnTo>
                  <a:lnTo>
                    <a:pt x="370" y="1115"/>
                  </a:lnTo>
                  <a:lnTo>
                    <a:pt x="323" y="1078"/>
                  </a:lnTo>
                  <a:lnTo>
                    <a:pt x="287" y="1032"/>
                  </a:lnTo>
                  <a:lnTo>
                    <a:pt x="263" y="984"/>
                  </a:lnTo>
                  <a:lnTo>
                    <a:pt x="252" y="916"/>
                  </a:lnTo>
                  <a:lnTo>
                    <a:pt x="232" y="889"/>
                  </a:lnTo>
                  <a:lnTo>
                    <a:pt x="283" y="905"/>
                  </a:lnTo>
                  <a:lnTo>
                    <a:pt x="362" y="929"/>
                  </a:lnTo>
                  <a:lnTo>
                    <a:pt x="438" y="909"/>
                  </a:lnTo>
                  <a:lnTo>
                    <a:pt x="469" y="877"/>
                  </a:lnTo>
                  <a:lnTo>
                    <a:pt x="489" y="842"/>
                  </a:lnTo>
                  <a:lnTo>
                    <a:pt x="410" y="782"/>
                  </a:lnTo>
                  <a:lnTo>
                    <a:pt x="315" y="739"/>
                  </a:lnTo>
                  <a:lnTo>
                    <a:pt x="217" y="684"/>
                  </a:lnTo>
                  <a:lnTo>
                    <a:pt x="169" y="660"/>
                  </a:lnTo>
                  <a:lnTo>
                    <a:pt x="115" y="694"/>
                  </a:lnTo>
                  <a:lnTo>
                    <a:pt x="64" y="749"/>
                  </a:lnTo>
                  <a:lnTo>
                    <a:pt x="43" y="798"/>
                  </a:lnTo>
                  <a:lnTo>
                    <a:pt x="43" y="849"/>
                  </a:lnTo>
                  <a:lnTo>
                    <a:pt x="60" y="911"/>
                  </a:lnTo>
                  <a:lnTo>
                    <a:pt x="64" y="987"/>
                  </a:lnTo>
                  <a:lnTo>
                    <a:pt x="84" y="1049"/>
                  </a:lnTo>
                  <a:lnTo>
                    <a:pt x="108" y="1121"/>
                  </a:lnTo>
                  <a:lnTo>
                    <a:pt x="130" y="1149"/>
                  </a:lnTo>
                  <a:lnTo>
                    <a:pt x="163" y="1176"/>
                  </a:lnTo>
                  <a:lnTo>
                    <a:pt x="163" y="1176"/>
                  </a:lnTo>
                  <a:lnTo>
                    <a:pt x="128" y="1206"/>
                  </a:lnTo>
                  <a:lnTo>
                    <a:pt x="80" y="1258"/>
                  </a:lnTo>
                  <a:lnTo>
                    <a:pt x="37" y="1309"/>
                  </a:lnTo>
                  <a:lnTo>
                    <a:pt x="25" y="1353"/>
                  </a:lnTo>
                  <a:lnTo>
                    <a:pt x="28" y="1405"/>
                  </a:lnTo>
                  <a:lnTo>
                    <a:pt x="28" y="1405"/>
                  </a:lnTo>
                  <a:lnTo>
                    <a:pt x="0" y="1416"/>
                  </a:lnTo>
                  <a:lnTo>
                    <a:pt x="50" y="1488"/>
                  </a:lnTo>
                  <a:lnTo>
                    <a:pt x="121" y="1552"/>
                  </a:lnTo>
                  <a:lnTo>
                    <a:pt x="247" y="1601"/>
                  </a:lnTo>
                  <a:lnTo>
                    <a:pt x="256" y="1765"/>
                  </a:lnTo>
                  <a:lnTo>
                    <a:pt x="237" y="1784"/>
                  </a:lnTo>
                  <a:lnTo>
                    <a:pt x="217" y="1851"/>
                  </a:lnTo>
                  <a:lnTo>
                    <a:pt x="335" y="1843"/>
                  </a:lnTo>
                  <a:lnTo>
                    <a:pt x="361" y="1911"/>
                  </a:lnTo>
                  <a:lnTo>
                    <a:pt x="541" y="2062"/>
                  </a:lnTo>
                  <a:lnTo>
                    <a:pt x="513" y="2201"/>
                  </a:lnTo>
                  <a:lnTo>
                    <a:pt x="537" y="2225"/>
                  </a:lnTo>
                  <a:lnTo>
                    <a:pt x="489" y="2269"/>
                  </a:lnTo>
                  <a:lnTo>
                    <a:pt x="449" y="2308"/>
                  </a:lnTo>
                  <a:lnTo>
                    <a:pt x="438" y="2339"/>
                  </a:lnTo>
                  <a:lnTo>
                    <a:pt x="497" y="2372"/>
                  </a:lnTo>
                  <a:lnTo>
                    <a:pt x="531" y="2407"/>
                  </a:lnTo>
                  <a:lnTo>
                    <a:pt x="629" y="2350"/>
                  </a:lnTo>
                  <a:lnTo>
                    <a:pt x="685" y="2380"/>
                  </a:lnTo>
                  <a:lnTo>
                    <a:pt x="723" y="2380"/>
                  </a:lnTo>
                  <a:lnTo>
                    <a:pt x="764" y="2418"/>
                  </a:lnTo>
                  <a:lnTo>
                    <a:pt x="809" y="2471"/>
                  </a:lnTo>
                  <a:lnTo>
                    <a:pt x="900" y="2446"/>
                  </a:lnTo>
                  <a:lnTo>
                    <a:pt x="876" y="2383"/>
                  </a:lnTo>
                  <a:lnTo>
                    <a:pt x="900" y="2339"/>
                  </a:lnTo>
                  <a:lnTo>
                    <a:pt x="964" y="2280"/>
                  </a:lnTo>
                  <a:close/>
                </a:path>
              </a:pathLst>
            </a:custGeom>
            <a:solidFill>
              <a:srgbClr val="A0AEC4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4" name="Freeform 274"/>
            <p:cNvSpPr>
              <a:spLocks noChangeAspect="1"/>
            </p:cNvSpPr>
            <p:nvPr/>
          </p:nvSpPr>
          <p:spPr bwMode="auto">
            <a:xfrm>
              <a:off x="1945961" y="3476045"/>
              <a:ext cx="36923" cy="46149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4" y="8"/>
                </a:cxn>
                <a:cxn ang="0">
                  <a:pos x="32" y="0"/>
                </a:cxn>
                <a:cxn ang="0">
                  <a:pos x="64" y="79"/>
                </a:cxn>
                <a:cxn ang="0">
                  <a:pos x="0" y="75"/>
                </a:cxn>
              </a:cxnLst>
              <a:rect l="0" t="0" r="r" b="b"/>
              <a:pathLst>
                <a:path w="64" h="79">
                  <a:moveTo>
                    <a:pt x="0" y="75"/>
                  </a:moveTo>
                  <a:lnTo>
                    <a:pt x="4" y="8"/>
                  </a:lnTo>
                  <a:lnTo>
                    <a:pt x="32" y="0"/>
                  </a:lnTo>
                  <a:lnTo>
                    <a:pt x="64" y="79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5" name="Freeform 275"/>
            <p:cNvSpPr>
              <a:spLocks noChangeAspect="1"/>
            </p:cNvSpPr>
            <p:nvPr/>
          </p:nvSpPr>
          <p:spPr bwMode="auto">
            <a:xfrm>
              <a:off x="1223322" y="2583242"/>
              <a:ext cx="29890" cy="26624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53" y="45"/>
                </a:cxn>
                <a:cxn ang="0">
                  <a:pos x="49" y="24"/>
                </a:cxn>
                <a:cxn ang="0">
                  <a:pos x="17" y="0"/>
                </a:cxn>
                <a:cxn ang="0">
                  <a:pos x="0" y="28"/>
                </a:cxn>
              </a:cxnLst>
              <a:rect l="0" t="0" r="r" b="b"/>
              <a:pathLst>
                <a:path w="53" h="45">
                  <a:moveTo>
                    <a:pt x="0" y="28"/>
                  </a:moveTo>
                  <a:lnTo>
                    <a:pt x="53" y="45"/>
                  </a:lnTo>
                  <a:lnTo>
                    <a:pt x="49" y="24"/>
                  </a:lnTo>
                  <a:lnTo>
                    <a:pt x="17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6" name="Freeform 276"/>
            <p:cNvSpPr>
              <a:spLocks noChangeAspect="1"/>
            </p:cNvSpPr>
            <p:nvPr/>
          </p:nvSpPr>
          <p:spPr bwMode="auto">
            <a:xfrm>
              <a:off x="1400905" y="2861910"/>
              <a:ext cx="87912" cy="108272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54" y="0"/>
                </a:cxn>
                <a:cxn ang="0">
                  <a:pos x="97" y="23"/>
                </a:cxn>
                <a:cxn ang="0">
                  <a:pos x="151" y="111"/>
                </a:cxn>
                <a:cxn ang="0">
                  <a:pos x="142" y="145"/>
                </a:cxn>
                <a:cxn ang="0">
                  <a:pos x="123" y="184"/>
                </a:cxn>
                <a:cxn ang="0">
                  <a:pos x="103" y="152"/>
                </a:cxn>
                <a:cxn ang="0">
                  <a:pos x="91" y="177"/>
                </a:cxn>
                <a:cxn ang="0">
                  <a:pos x="67" y="120"/>
                </a:cxn>
                <a:cxn ang="0">
                  <a:pos x="62" y="68"/>
                </a:cxn>
                <a:cxn ang="0">
                  <a:pos x="0" y="5"/>
                </a:cxn>
              </a:cxnLst>
              <a:rect l="0" t="0" r="r" b="b"/>
              <a:pathLst>
                <a:path w="151" h="184">
                  <a:moveTo>
                    <a:pt x="0" y="5"/>
                  </a:moveTo>
                  <a:lnTo>
                    <a:pt x="54" y="0"/>
                  </a:lnTo>
                  <a:lnTo>
                    <a:pt x="97" y="23"/>
                  </a:lnTo>
                  <a:lnTo>
                    <a:pt x="151" y="111"/>
                  </a:lnTo>
                  <a:lnTo>
                    <a:pt x="142" y="145"/>
                  </a:lnTo>
                  <a:lnTo>
                    <a:pt x="123" y="184"/>
                  </a:lnTo>
                  <a:lnTo>
                    <a:pt x="103" y="152"/>
                  </a:lnTo>
                  <a:lnTo>
                    <a:pt x="91" y="177"/>
                  </a:lnTo>
                  <a:lnTo>
                    <a:pt x="67" y="120"/>
                  </a:lnTo>
                  <a:lnTo>
                    <a:pt x="62" y="6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7" name="Freeform 277"/>
            <p:cNvSpPr>
              <a:spLocks noChangeAspect="1"/>
            </p:cNvSpPr>
            <p:nvPr/>
          </p:nvSpPr>
          <p:spPr bwMode="auto">
            <a:xfrm>
              <a:off x="1022883" y="2730563"/>
              <a:ext cx="193407" cy="108272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127" y="0"/>
                </a:cxn>
                <a:cxn ang="0">
                  <a:pos x="171" y="28"/>
                </a:cxn>
                <a:cxn ang="0">
                  <a:pos x="279" y="65"/>
                </a:cxn>
                <a:cxn ang="0">
                  <a:pos x="329" y="93"/>
                </a:cxn>
                <a:cxn ang="0">
                  <a:pos x="242" y="151"/>
                </a:cxn>
                <a:cxn ang="0">
                  <a:pos x="213" y="183"/>
                </a:cxn>
                <a:cxn ang="0">
                  <a:pos x="185" y="167"/>
                </a:cxn>
                <a:cxn ang="0">
                  <a:pos x="188" y="137"/>
                </a:cxn>
                <a:cxn ang="0">
                  <a:pos x="148" y="133"/>
                </a:cxn>
                <a:cxn ang="0">
                  <a:pos x="139" y="158"/>
                </a:cxn>
                <a:cxn ang="0">
                  <a:pos x="107" y="162"/>
                </a:cxn>
                <a:cxn ang="0">
                  <a:pos x="72" y="131"/>
                </a:cxn>
                <a:cxn ang="0">
                  <a:pos x="0" y="50"/>
                </a:cxn>
              </a:cxnLst>
              <a:rect l="0" t="0" r="r" b="b"/>
              <a:pathLst>
                <a:path w="329" h="183">
                  <a:moveTo>
                    <a:pt x="0" y="50"/>
                  </a:moveTo>
                  <a:lnTo>
                    <a:pt x="127" y="0"/>
                  </a:lnTo>
                  <a:lnTo>
                    <a:pt x="171" y="28"/>
                  </a:lnTo>
                  <a:lnTo>
                    <a:pt x="279" y="65"/>
                  </a:lnTo>
                  <a:lnTo>
                    <a:pt x="329" y="93"/>
                  </a:lnTo>
                  <a:lnTo>
                    <a:pt x="242" y="151"/>
                  </a:lnTo>
                  <a:lnTo>
                    <a:pt x="213" y="183"/>
                  </a:lnTo>
                  <a:lnTo>
                    <a:pt x="185" y="167"/>
                  </a:lnTo>
                  <a:lnTo>
                    <a:pt x="188" y="137"/>
                  </a:lnTo>
                  <a:lnTo>
                    <a:pt x="148" y="133"/>
                  </a:lnTo>
                  <a:lnTo>
                    <a:pt x="139" y="158"/>
                  </a:lnTo>
                  <a:lnTo>
                    <a:pt x="107" y="162"/>
                  </a:lnTo>
                  <a:lnTo>
                    <a:pt x="72" y="131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8" name="Freeform 278"/>
            <p:cNvSpPr>
              <a:spLocks noChangeAspect="1"/>
            </p:cNvSpPr>
            <p:nvPr/>
          </p:nvSpPr>
          <p:spPr bwMode="auto">
            <a:xfrm>
              <a:off x="1147718" y="2780262"/>
              <a:ext cx="154725" cy="78098"/>
            </a:xfrm>
            <a:custGeom>
              <a:avLst/>
              <a:gdLst/>
              <a:ahLst/>
              <a:cxnLst>
                <a:cxn ang="0">
                  <a:pos x="116" y="8"/>
                </a:cxn>
                <a:cxn ang="0">
                  <a:pos x="264" y="0"/>
                </a:cxn>
                <a:cxn ang="0">
                  <a:pos x="249" y="130"/>
                </a:cxn>
                <a:cxn ang="0">
                  <a:pos x="213" y="100"/>
                </a:cxn>
                <a:cxn ang="0">
                  <a:pos x="189" y="91"/>
                </a:cxn>
                <a:cxn ang="0">
                  <a:pos x="113" y="107"/>
                </a:cxn>
                <a:cxn ang="0">
                  <a:pos x="62" y="107"/>
                </a:cxn>
                <a:cxn ang="0">
                  <a:pos x="0" y="98"/>
                </a:cxn>
                <a:cxn ang="0">
                  <a:pos x="29" y="66"/>
                </a:cxn>
                <a:cxn ang="0">
                  <a:pos x="116" y="8"/>
                </a:cxn>
              </a:cxnLst>
              <a:rect l="0" t="0" r="r" b="b"/>
              <a:pathLst>
                <a:path w="264" h="130">
                  <a:moveTo>
                    <a:pt x="116" y="8"/>
                  </a:moveTo>
                  <a:lnTo>
                    <a:pt x="264" y="0"/>
                  </a:lnTo>
                  <a:lnTo>
                    <a:pt x="249" y="130"/>
                  </a:lnTo>
                  <a:lnTo>
                    <a:pt x="213" y="100"/>
                  </a:lnTo>
                  <a:lnTo>
                    <a:pt x="189" y="91"/>
                  </a:lnTo>
                  <a:lnTo>
                    <a:pt x="113" y="107"/>
                  </a:lnTo>
                  <a:lnTo>
                    <a:pt x="62" y="107"/>
                  </a:lnTo>
                  <a:lnTo>
                    <a:pt x="0" y="98"/>
                  </a:lnTo>
                  <a:lnTo>
                    <a:pt x="29" y="66"/>
                  </a:lnTo>
                  <a:lnTo>
                    <a:pt x="116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9" name="Freeform 279"/>
            <p:cNvSpPr>
              <a:spLocks noChangeAspect="1"/>
            </p:cNvSpPr>
            <p:nvPr/>
          </p:nvSpPr>
          <p:spPr bwMode="auto">
            <a:xfrm>
              <a:off x="1632993" y="3401497"/>
              <a:ext cx="560880" cy="539587"/>
            </a:xfrm>
            <a:custGeom>
              <a:avLst/>
              <a:gdLst/>
              <a:ahLst/>
              <a:cxnLst>
                <a:cxn ang="0">
                  <a:pos x="499" y="225"/>
                </a:cxn>
                <a:cxn ang="0">
                  <a:pos x="533" y="201"/>
                </a:cxn>
                <a:cxn ang="0">
                  <a:pos x="597" y="205"/>
                </a:cxn>
                <a:cxn ang="0">
                  <a:pos x="597" y="205"/>
                </a:cxn>
                <a:cxn ang="0">
                  <a:pos x="649" y="260"/>
                </a:cxn>
                <a:cxn ang="0">
                  <a:pos x="712" y="324"/>
                </a:cxn>
                <a:cxn ang="0">
                  <a:pos x="719" y="383"/>
                </a:cxn>
                <a:cxn ang="0">
                  <a:pos x="743" y="403"/>
                </a:cxn>
                <a:cxn ang="0">
                  <a:pos x="778" y="510"/>
                </a:cxn>
                <a:cxn ang="0">
                  <a:pos x="918" y="517"/>
                </a:cxn>
                <a:cxn ang="0">
                  <a:pos x="956" y="573"/>
                </a:cxn>
                <a:cxn ang="0">
                  <a:pos x="925" y="699"/>
                </a:cxn>
                <a:cxn ang="0">
                  <a:pos x="794" y="727"/>
                </a:cxn>
                <a:cxn ang="0">
                  <a:pos x="660" y="751"/>
                </a:cxn>
                <a:cxn ang="0">
                  <a:pos x="620" y="797"/>
                </a:cxn>
                <a:cxn ang="0">
                  <a:pos x="605" y="865"/>
                </a:cxn>
                <a:cxn ang="0">
                  <a:pos x="546" y="913"/>
                </a:cxn>
                <a:cxn ang="0">
                  <a:pos x="546" y="873"/>
                </a:cxn>
                <a:cxn ang="0">
                  <a:pos x="546" y="841"/>
                </a:cxn>
                <a:cxn ang="0">
                  <a:pos x="526" y="834"/>
                </a:cxn>
                <a:cxn ang="0">
                  <a:pos x="471" y="830"/>
                </a:cxn>
                <a:cxn ang="0">
                  <a:pos x="419" y="834"/>
                </a:cxn>
                <a:cxn ang="0">
                  <a:pos x="384" y="853"/>
                </a:cxn>
                <a:cxn ang="0">
                  <a:pos x="332" y="794"/>
                </a:cxn>
                <a:cxn ang="0">
                  <a:pos x="316" y="738"/>
                </a:cxn>
                <a:cxn ang="0">
                  <a:pos x="285" y="691"/>
                </a:cxn>
                <a:cxn ang="0">
                  <a:pos x="230" y="620"/>
                </a:cxn>
                <a:cxn ang="0">
                  <a:pos x="202" y="569"/>
                </a:cxn>
                <a:cxn ang="0">
                  <a:pos x="171" y="470"/>
                </a:cxn>
                <a:cxn ang="0">
                  <a:pos x="119" y="387"/>
                </a:cxn>
                <a:cxn ang="0">
                  <a:pos x="55" y="328"/>
                </a:cxn>
                <a:cxn ang="0">
                  <a:pos x="47" y="256"/>
                </a:cxn>
                <a:cxn ang="0">
                  <a:pos x="9" y="232"/>
                </a:cxn>
                <a:cxn ang="0">
                  <a:pos x="0" y="181"/>
                </a:cxn>
                <a:cxn ang="0">
                  <a:pos x="55" y="181"/>
                </a:cxn>
                <a:cxn ang="0">
                  <a:pos x="95" y="142"/>
                </a:cxn>
                <a:cxn ang="0">
                  <a:pos x="134" y="110"/>
                </a:cxn>
                <a:cxn ang="0">
                  <a:pos x="134" y="46"/>
                </a:cxn>
                <a:cxn ang="0">
                  <a:pos x="186" y="4"/>
                </a:cxn>
                <a:cxn ang="0">
                  <a:pos x="202" y="0"/>
                </a:cxn>
                <a:cxn ang="0">
                  <a:pos x="233" y="23"/>
                </a:cxn>
                <a:cxn ang="0">
                  <a:pos x="265" y="46"/>
                </a:cxn>
                <a:cxn ang="0">
                  <a:pos x="316" y="43"/>
                </a:cxn>
                <a:cxn ang="0">
                  <a:pos x="348" y="94"/>
                </a:cxn>
                <a:cxn ang="0">
                  <a:pos x="384" y="107"/>
                </a:cxn>
                <a:cxn ang="0">
                  <a:pos x="423" y="177"/>
                </a:cxn>
                <a:cxn ang="0">
                  <a:pos x="499" y="225"/>
                </a:cxn>
              </a:cxnLst>
              <a:rect l="0" t="0" r="r" b="b"/>
              <a:pathLst>
                <a:path w="956" h="913">
                  <a:moveTo>
                    <a:pt x="499" y="225"/>
                  </a:moveTo>
                  <a:lnTo>
                    <a:pt x="533" y="201"/>
                  </a:lnTo>
                  <a:lnTo>
                    <a:pt x="597" y="205"/>
                  </a:lnTo>
                  <a:lnTo>
                    <a:pt x="597" y="205"/>
                  </a:lnTo>
                  <a:lnTo>
                    <a:pt x="649" y="260"/>
                  </a:lnTo>
                  <a:lnTo>
                    <a:pt x="712" y="324"/>
                  </a:lnTo>
                  <a:lnTo>
                    <a:pt x="719" y="383"/>
                  </a:lnTo>
                  <a:lnTo>
                    <a:pt x="743" y="403"/>
                  </a:lnTo>
                  <a:lnTo>
                    <a:pt x="778" y="510"/>
                  </a:lnTo>
                  <a:lnTo>
                    <a:pt x="918" y="517"/>
                  </a:lnTo>
                  <a:lnTo>
                    <a:pt x="956" y="573"/>
                  </a:lnTo>
                  <a:lnTo>
                    <a:pt x="925" y="699"/>
                  </a:lnTo>
                  <a:lnTo>
                    <a:pt x="794" y="727"/>
                  </a:lnTo>
                  <a:lnTo>
                    <a:pt x="660" y="751"/>
                  </a:lnTo>
                  <a:lnTo>
                    <a:pt x="620" y="797"/>
                  </a:lnTo>
                  <a:lnTo>
                    <a:pt x="605" y="865"/>
                  </a:lnTo>
                  <a:lnTo>
                    <a:pt x="546" y="913"/>
                  </a:lnTo>
                  <a:lnTo>
                    <a:pt x="546" y="873"/>
                  </a:lnTo>
                  <a:lnTo>
                    <a:pt x="546" y="841"/>
                  </a:lnTo>
                  <a:lnTo>
                    <a:pt x="526" y="834"/>
                  </a:lnTo>
                  <a:lnTo>
                    <a:pt x="471" y="830"/>
                  </a:lnTo>
                  <a:lnTo>
                    <a:pt x="419" y="834"/>
                  </a:lnTo>
                  <a:lnTo>
                    <a:pt x="384" y="853"/>
                  </a:lnTo>
                  <a:lnTo>
                    <a:pt x="332" y="794"/>
                  </a:lnTo>
                  <a:lnTo>
                    <a:pt x="316" y="738"/>
                  </a:lnTo>
                  <a:lnTo>
                    <a:pt x="285" y="691"/>
                  </a:lnTo>
                  <a:lnTo>
                    <a:pt x="230" y="620"/>
                  </a:lnTo>
                  <a:lnTo>
                    <a:pt x="202" y="569"/>
                  </a:lnTo>
                  <a:lnTo>
                    <a:pt x="171" y="470"/>
                  </a:lnTo>
                  <a:lnTo>
                    <a:pt x="119" y="387"/>
                  </a:lnTo>
                  <a:lnTo>
                    <a:pt x="55" y="328"/>
                  </a:lnTo>
                  <a:lnTo>
                    <a:pt x="47" y="256"/>
                  </a:lnTo>
                  <a:lnTo>
                    <a:pt x="9" y="232"/>
                  </a:lnTo>
                  <a:lnTo>
                    <a:pt x="0" y="181"/>
                  </a:lnTo>
                  <a:lnTo>
                    <a:pt x="55" y="181"/>
                  </a:lnTo>
                  <a:lnTo>
                    <a:pt x="95" y="142"/>
                  </a:lnTo>
                  <a:lnTo>
                    <a:pt x="134" y="110"/>
                  </a:lnTo>
                  <a:lnTo>
                    <a:pt x="134" y="46"/>
                  </a:lnTo>
                  <a:lnTo>
                    <a:pt x="186" y="4"/>
                  </a:lnTo>
                  <a:lnTo>
                    <a:pt x="202" y="0"/>
                  </a:lnTo>
                  <a:lnTo>
                    <a:pt x="233" y="23"/>
                  </a:lnTo>
                  <a:lnTo>
                    <a:pt x="265" y="46"/>
                  </a:lnTo>
                  <a:lnTo>
                    <a:pt x="316" y="43"/>
                  </a:lnTo>
                  <a:lnTo>
                    <a:pt x="348" y="94"/>
                  </a:lnTo>
                  <a:lnTo>
                    <a:pt x="384" y="107"/>
                  </a:lnTo>
                  <a:lnTo>
                    <a:pt x="423" y="177"/>
                  </a:lnTo>
                  <a:lnTo>
                    <a:pt x="499" y="22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0" name="Freeform 280"/>
            <p:cNvSpPr>
              <a:spLocks noChangeAspect="1"/>
            </p:cNvSpPr>
            <p:nvPr/>
          </p:nvSpPr>
          <p:spPr bwMode="auto">
            <a:xfrm>
              <a:off x="3377171" y="3717439"/>
              <a:ext cx="198682" cy="280443"/>
            </a:xfrm>
            <a:custGeom>
              <a:avLst/>
              <a:gdLst/>
              <a:ahLst/>
              <a:cxnLst>
                <a:cxn ang="0">
                  <a:pos x="59" y="59"/>
                </a:cxn>
                <a:cxn ang="0">
                  <a:pos x="59" y="15"/>
                </a:cxn>
                <a:cxn ang="0">
                  <a:pos x="94" y="0"/>
                </a:cxn>
                <a:cxn ang="0">
                  <a:pos x="121" y="70"/>
                </a:cxn>
                <a:cxn ang="0">
                  <a:pos x="200" y="98"/>
                </a:cxn>
                <a:cxn ang="0">
                  <a:pos x="204" y="145"/>
                </a:cxn>
                <a:cxn ang="0">
                  <a:pos x="197" y="180"/>
                </a:cxn>
                <a:cxn ang="0">
                  <a:pos x="300" y="319"/>
                </a:cxn>
                <a:cxn ang="0">
                  <a:pos x="339" y="347"/>
                </a:cxn>
                <a:cxn ang="0">
                  <a:pos x="339" y="438"/>
                </a:cxn>
                <a:cxn ang="0">
                  <a:pos x="291" y="473"/>
                </a:cxn>
                <a:cxn ang="0">
                  <a:pos x="259" y="438"/>
                </a:cxn>
                <a:cxn ang="0">
                  <a:pos x="259" y="363"/>
                </a:cxn>
                <a:cxn ang="0">
                  <a:pos x="236" y="359"/>
                </a:cxn>
                <a:cxn ang="0">
                  <a:pos x="160" y="221"/>
                </a:cxn>
                <a:cxn ang="0">
                  <a:pos x="125" y="252"/>
                </a:cxn>
                <a:cxn ang="0">
                  <a:pos x="77" y="193"/>
                </a:cxn>
                <a:cxn ang="0">
                  <a:pos x="22" y="157"/>
                </a:cxn>
                <a:cxn ang="0">
                  <a:pos x="0" y="62"/>
                </a:cxn>
                <a:cxn ang="0">
                  <a:pos x="59" y="59"/>
                </a:cxn>
              </a:cxnLst>
              <a:rect l="0" t="0" r="r" b="b"/>
              <a:pathLst>
                <a:path w="339" h="473">
                  <a:moveTo>
                    <a:pt x="59" y="59"/>
                  </a:moveTo>
                  <a:lnTo>
                    <a:pt x="59" y="15"/>
                  </a:lnTo>
                  <a:lnTo>
                    <a:pt x="94" y="0"/>
                  </a:lnTo>
                  <a:lnTo>
                    <a:pt x="121" y="70"/>
                  </a:lnTo>
                  <a:lnTo>
                    <a:pt x="200" y="98"/>
                  </a:lnTo>
                  <a:lnTo>
                    <a:pt x="204" y="145"/>
                  </a:lnTo>
                  <a:lnTo>
                    <a:pt x="197" y="180"/>
                  </a:lnTo>
                  <a:lnTo>
                    <a:pt x="300" y="319"/>
                  </a:lnTo>
                  <a:lnTo>
                    <a:pt x="339" y="347"/>
                  </a:lnTo>
                  <a:lnTo>
                    <a:pt x="339" y="438"/>
                  </a:lnTo>
                  <a:lnTo>
                    <a:pt x="291" y="473"/>
                  </a:lnTo>
                  <a:lnTo>
                    <a:pt x="259" y="438"/>
                  </a:lnTo>
                  <a:lnTo>
                    <a:pt x="259" y="363"/>
                  </a:lnTo>
                  <a:lnTo>
                    <a:pt x="236" y="359"/>
                  </a:lnTo>
                  <a:lnTo>
                    <a:pt x="160" y="221"/>
                  </a:lnTo>
                  <a:lnTo>
                    <a:pt x="125" y="252"/>
                  </a:lnTo>
                  <a:lnTo>
                    <a:pt x="77" y="193"/>
                  </a:lnTo>
                  <a:lnTo>
                    <a:pt x="22" y="157"/>
                  </a:lnTo>
                  <a:lnTo>
                    <a:pt x="0" y="62"/>
                  </a:lnTo>
                  <a:lnTo>
                    <a:pt x="59" y="5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1" name="Freeform 281"/>
            <p:cNvSpPr>
              <a:spLocks noChangeAspect="1"/>
            </p:cNvSpPr>
            <p:nvPr/>
          </p:nvSpPr>
          <p:spPr bwMode="auto">
            <a:xfrm>
              <a:off x="2051455" y="3593192"/>
              <a:ext cx="158242" cy="11359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59"/>
                </a:cxn>
                <a:cxn ang="0">
                  <a:pos x="25" y="78"/>
                </a:cxn>
                <a:cxn ang="0">
                  <a:pos x="67" y="186"/>
                </a:cxn>
                <a:cxn ang="0">
                  <a:pos x="206" y="193"/>
                </a:cxn>
                <a:cxn ang="0">
                  <a:pos x="271" y="90"/>
                </a:cxn>
                <a:cxn ang="0">
                  <a:pos x="256" y="28"/>
                </a:cxn>
                <a:cxn ang="0">
                  <a:pos x="186" y="114"/>
                </a:cxn>
                <a:cxn ang="0">
                  <a:pos x="96" y="131"/>
                </a:cxn>
                <a:cxn ang="0">
                  <a:pos x="32" y="79"/>
                </a:cxn>
                <a:cxn ang="0">
                  <a:pos x="45" y="28"/>
                </a:cxn>
                <a:cxn ang="0">
                  <a:pos x="30" y="5"/>
                </a:cxn>
                <a:cxn ang="0">
                  <a:pos x="0" y="0"/>
                </a:cxn>
              </a:cxnLst>
              <a:rect l="0" t="0" r="r" b="b"/>
              <a:pathLst>
                <a:path w="271" h="193">
                  <a:moveTo>
                    <a:pt x="0" y="0"/>
                  </a:moveTo>
                  <a:lnTo>
                    <a:pt x="8" y="59"/>
                  </a:lnTo>
                  <a:lnTo>
                    <a:pt x="25" y="78"/>
                  </a:lnTo>
                  <a:lnTo>
                    <a:pt x="67" y="186"/>
                  </a:lnTo>
                  <a:lnTo>
                    <a:pt x="206" y="193"/>
                  </a:lnTo>
                  <a:lnTo>
                    <a:pt x="271" y="90"/>
                  </a:lnTo>
                  <a:lnTo>
                    <a:pt x="256" y="28"/>
                  </a:lnTo>
                  <a:lnTo>
                    <a:pt x="186" y="114"/>
                  </a:lnTo>
                  <a:lnTo>
                    <a:pt x="96" y="131"/>
                  </a:lnTo>
                  <a:lnTo>
                    <a:pt x="32" y="79"/>
                  </a:lnTo>
                  <a:lnTo>
                    <a:pt x="45" y="28"/>
                  </a:lnTo>
                  <a:lnTo>
                    <a:pt x="3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2" name="Freeform 282"/>
            <p:cNvSpPr>
              <a:spLocks noChangeAspect="1"/>
            </p:cNvSpPr>
            <p:nvPr/>
          </p:nvSpPr>
          <p:spPr bwMode="auto">
            <a:xfrm>
              <a:off x="854091" y="2661340"/>
              <a:ext cx="59780" cy="63898"/>
            </a:xfrm>
            <a:custGeom>
              <a:avLst/>
              <a:gdLst/>
              <a:ahLst/>
              <a:cxnLst>
                <a:cxn ang="0">
                  <a:pos x="29" y="109"/>
                </a:cxn>
                <a:cxn ang="0">
                  <a:pos x="0" y="65"/>
                </a:cxn>
                <a:cxn ang="0">
                  <a:pos x="16" y="41"/>
                </a:cxn>
                <a:cxn ang="0">
                  <a:pos x="46" y="58"/>
                </a:cxn>
                <a:cxn ang="0">
                  <a:pos x="49" y="11"/>
                </a:cxn>
                <a:cxn ang="0">
                  <a:pos x="80" y="0"/>
                </a:cxn>
                <a:cxn ang="0">
                  <a:pos x="101" y="35"/>
                </a:cxn>
                <a:cxn ang="0">
                  <a:pos x="87" y="74"/>
                </a:cxn>
                <a:cxn ang="0">
                  <a:pos x="54" y="87"/>
                </a:cxn>
                <a:cxn ang="0">
                  <a:pos x="29" y="109"/>
                </a:cxn>
              </a:cxnLst>
              <a:rect l="0" t="0" r="r" b="b"/>
              <a:pathLst>
                <a:path w="101" h="109">
                  <a:moveTo>
                    <a:pt x="29" y="109"/>
                  </a:moveTo>
                  <a:lnTo>
                    <a:pt x="0" y="65"/>
                  </a:lnTo>
                  <a:lnTo>
                    <a:pt x="16" y="41"/>
                  </a:lnTo>
                  <a:lnTo>
                    <a:pt x="46" y="58"/>
                  </a:lnTo>
                  <a:lnTo>
                    <a:pt x="49" y="11"/>
                  </a:lnTo>
                  <a:lnTo>
                    <a:pt x="80" y="0"/>
                  </a:lnTo>
                  <a:lnTo>
                    <a:pt x="101" y="35"/>
                  </a:lnTo>
                  <a:lnTo>
                    <a:pt x="87" y="74"/>
                  </a:lnTo>
                  <a:lnTo>
                    <a:pt x="54" y="87"/>
                  </a:lnTo>
                  <a:lnTo>
                    <a:pt x="29" y="10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3" name="Freeform 283"/>
            <p:cNvSpPr>
              <a:spLocks noChangeAspect="1"/>
            </p:cNvSpPr>
            <p:nvPr/>
          </p:nvSpPr>
          <p:spPr bwMode="auto">
            <a:xfrm>
              <a:off x="891014" y="2860135"/>
              <a:ext cx="93187" cy="60349"/>
            </a:xfrm>
            <a:custGeom>
              <a:avLst/>
              <a:gdLst/>
              <a:ahLst/>
              <a:cxnLst>
                <a:cxn ang="0">
                  <a:pos x="0" y="76"/>
                </a:cxn>
                <a:cxn ang="0">
                  <a:pos x="9" y="40"/>
                </a:cxn>
                <a:cxn ang="0">
                  <a:pos x="29" y="12"/>
                </a:cxn>
                <a:cxn ang="0">
                  <a:pos x="60" y="3"/>
                </a:cxn>
                <a:cxn ang="0">
                  <a:pos x="89" y="10"/>
                </a:cxn>
                <a:cxn ang="0">
                  <a:pos x="119" y="0"/>
                </a:cxn>
                <a:cxn ang="0">
                  <a:pos x="152" y="18"/>
                </a:cxn>
                <a:cxn ang="0">
                  <a:pos x="158" y="51"/>
                </a:cxn>
                <a:cxn ang="0">
                  <a:pos x="142" y="90"/>
                </a:cxn>
                <a:cxn ang="0">
                  <a:pos x="119" y="80"/>
                </a:cxn>
                <a:cxn ang="0">
                  <a:pos x="109" y="101"/>
                </a:cxn>
                <a:cxn ang="0">
                  <a:pos x="86" y="76"/>
                </a:cxn>
                <a:cxn ang="0">
                  <a:pos x="74" y="96"/>
                </a:cxn>
                <a:cxn ang="0">
                  <a:pos x="29" y="96"/>
                </a:cxn>
                <a:cxn ang="0">
                  <a:pos x="0" y="76"/>
                </a:cxn>
              </a:cxnLst>
              <a:rect l="0" t="0" r="r" b="b"/>
              <a:pathLst>
                <a:path w="158" h="101">
                  <a:moveTo>
                    <a:pt x="0" y="76"/>
                  </a:moveTo>
                  <a:lnTo>
                    <a:pt x="9" y="40"/>
                  </a:lnTo>
                  <a:lnTo>
                    <a:pt x="29" y="12"/>
                  </a:lnTo>
                  <a:lnTo>
                    <a:pt x="60" y="3"/>
                  </a:lnTo>
                  <a:lnTo>
                    <a:pt x="89" y="10"/>
                  </a:lnTo>
                  <a:lnTo>
                    <a:pt x="119" y="0"/>
                  </a:lnTo>
                  <a:lnTo>
                    <a:pt x="152" y="18"/>
                  </a:lnTo>
                  <a:lnTo>
                    <a:pt x="158" y="51"/>
                  </a:lnTo>
                  <a:lnTo>
                    <a:pt x="142" y="90"/>
                  </a:lnTo>
                  <a:lnTo>
                    <a:pt x="119" y="80"/>
                  </a:lnTo>
                  <a:lnTo>
                    <a:pt x="109" y="101"/>
                  </a:lnTo>
                  <a:lnTo>
                    <a:pt x="86" y="76"/>
                  </a:lnTo>
                  <a:lnTo>
                    <a:pt x="74" y="96"/>
                  </a:lnTo>
                  <a:lnTo>
                    <a:pt x="29" y="96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4" name="Freeform 284"/>
            <p:cNvSpPr>
              <a:spLocks noChangeAspect="1"/>
            </p:cNvSpPr>
            <p:nvPr/>
          </p:nvSpPr>
          <p:spPr bwMode="auto">
            <a:xfrm>
              <a:off x="1608378" y="3385522"/>
              <a:ext cx="28132" cy="90523"/>
            </a:xfrm>
            <a:custGeom>
              <a:avLst/>
              <a:gdLst/>
              <a:ahLst/>
              <a:cxnLst>
                <a:cxn ang="0">
                  <a:pos x="43" y="152"/>
                </a:cxn>
                <a:cxn ang="0">
                  <a:pos x="50" y="80"/>
                </a:cxn>
                <a:cxn ang="0">
                  <a:pos x="48" y="0"/>
                </a:cxn>
                <a:cxn ang="0">
                  <a:pos x="0" y="85"/>
                </a:cxn>
                <a:cxn ang="0">
                  <a:pos x="43" y="152"/>
                </a:cxn>
              </a:cxnLst>
              <a:rect l="0" t="0" r="r" b="b"/>
              <a:pathLst>
                <a:path w="50" h="152">
                  <a:moveTo>
                    <a:pt x="43" y="152"/>
                  </a:moveTo>
                  <a:lnTo>
                    <a:pt x="50" y="80"/>
                  </a:lnTo>
                  <a:lnTo>
                    <a:pt x="48" y="0"/>
                  </a:lnTo>
                  <a:lnTo>
                    <a:pt x="0" y="85"/>
                  </a:lnTo>
                  <a:lnTo>
                    <a:pt x="43" y="15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5" name="Freeform 285"/>
            <p:cNvSpPr>
              <a:spLocks noChangeAspect="1"/>
            </p:cNvSpPr>
            <p:nvPr/>
          </p:nvSpPr>
          <p:spPr bwMode="auto">
            <a:xfrm>
              <a:off x="1520466" y="4299624"/>
              <a:ext cx="131868" cy="166846"/>
            </a:xfrm>
            <a:custGeom>
              <a:avLst/>
              <a:gdLst/>
              <a:ahLst/>
              <a:cxnLst>
                <a:cxn ang="0">
                  <a:pos x="0" y="269"/>
                </a:cxn>
                <a:cxn ang="0">
                  <a:pos x="33" y="280"/>
                </a:cxn>
                <a:cxn ang="0">
                  <a:pos x="56" y="267"/>
                </a:cxn>
                <a:cxn ang="0">
                  <a:pos x="103" y="275"/>
                </a:cxn>
                <a:cxn ang="0">
                  <a:pos x="197" y="267"/>
                </a:cxn>
                <a:cxn ang="0">
                  <a:pos x="187" y="243"/>
                </a:cxn>
                <a:cxn ang="0">
                  <a:pos x="198" y="192"/>
                </a:cxn>
                <a:cxn ang="0">
                  <a:pos x="225" y="133"/>
                </a:cxn>
                <a:cxn ang="0">
                  <a:pos x="220" y="48"/>
                </a:cxn>
                <a:cxn ang="0">
                  <a:pos x="198" y="0"/>
                </a:cxn>
                <a:cxn ang="0">
                  <a:pos x="142" y="20"/>
                </a:cxn>
                <a:cxn ang="0">
                  <a:pos x="48" y="14"/>
                </a:cxn>
                <a:cxn ang="0">
                  <a:pos x="59" y="95"/>
                </a:cxn>
                <a:cxn ang="0">
                  <a:pos x="84" y="98"/>
                </a:cxn>
                <a:cxn ang="0">
                  <a:pos x="87" y="127"/>
                </a:cxn>
                <a:cxn ang="0">
                  <a:pos x="10" y="154"/>
                </a:cxn>
                <a:cxn ang="0">
                  <a:pos x="0" y="264"/>
                </a:cxn>
                <a:cxn ang="0">
                  <a:pos x="0" y="269"/>
                </a:cxn>
              </a:cxnLst>
              <a:rect l="0" t="0" r="r" b="b"/>
              <a:pathLst>
                <a:path w="225" h="280">
                  <a:moveTo>
                    <a:pt x="0" y="269"/>
                  </a:moveTo>
                  <a:lnTo>
                    <a:pt x="33" y="280"/>
                  </a:lnTo>
                  <a:lnTo>
                    <a:pt x="56" y="267"/>
                  </a:lnTo>
                  <a:lnTo>
                    <a:pt x="103" y="275"/>
                  </a:lnTo>
                  <a:lnTo>
                    <a:pt x="197" y="267"/>
                  </a:lnTo>
                  <a:lnTo>
                    <a:pt x="187" y="243"/>
                  </a:lnTo>
                  <a:lnTo>
                    <a:pt x="198" y="192"/>
                  </a:lnTo>
                  <a:lnTo>
                    <a:pt x="225" y="133"/>
                  </a:lnTo>
                  <a:lnTo>
                    <a:pt x="220" y="48"/>
                  </a:lnTo>
                  <a:lnTo>
                    <a:pt x="198" y="0"/>
                  </a:lnTo>
                  <a:lnTo>
                    <a:pt x="142" y="20"/>
                  </a:lnTo>
                  <a:lnTo>
                    <a:pt x="48" y="14"/>
                  </a:lnTo>
                  <a:lnTo>
                    <a:pt x="59" y="95"/>
                  </a:lnTo>
                  <a:lnTo>
                    <a:pt x="84" y="98"/>
                  </a:lnTo>
                  <a:lnTo>
                    <a:pt x="87" y="127"/>
                  </a:lnTo>
                  <a:lnTo>
                    <a:pt x="10" y="154"/>
                  </a:lnTo>
                  <a:lnTo>
                    <a:pt x="0" y="264"/>
                  </a:lnTo>
                  <a:lnTo>
                    <a:pt x="0" y="26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6" name="Freeform 286"/>
            <p:cNvSpPr>
              <a:spLocks noChangeAspect="1"/>
            </p:cNvSpPr>
            <p:nvPr/>
          </p:nvSpPr>
          <p:spPr bwMode="auto">
            <a:xfrm>
              <a:off x="1520466" y="4299624"/>
              <a:ext cx="131868" cy="166846"/>
            </a:xfrm>
            <a:custGeom>
              <a:avLst/>
              <a:gdLst/>
              <a:ahLst/>
              <a:cxnLst>
                <a:cxn ang="0">
                  <a:pos x="0" y="269"/>
                </a:cxn>
                <a:cxn ang="0">
                  <a:pos x="33" y="280"/>
                </a:cxn>
                <a:cxn ang="0">
                  <a:pos x="56" y="267"/>
                </a:cxn>
                <a:cxn ang="0">
                  <a:pos x="103" y="275"/>
                </a:cxn>
                <a:cxn ang="0">
                  <a:pos x="197" y="267"/>
                </a:cxn>
                <a:cxn ang="0">
                  <a:pos x="187" y="243"/>
                </a:cxn>
                <a:cxn ang="0">
                  <a:pos x="198" y="192"/>
                </a:cxn>
                <a:cxn ang="0">
                  <a:pos x="225" y="133"/>
                </a:cxn>
                <a:cxn ang="0">
                  <a:pos x="220" y="48"/>
                </a:cxn>
                <a:cxn ang="0">
                  <a:pos x="198" y="0"/>
                </a:cxn>
                <a:cxn ang="0">
                  <a:pos x="142" y="20"/>
                </a:cxn>
                <a:cxn ang="0">
                  <a:pos x="48" y="14"/>
                </a:cxn>
                <a:cxn ang="0">
                  <a:pos x="59" y="95"/>
                </a:cxn>
                <a:cxn ang="0">
                  <a:pos x="84" y="98"/>
                </a:cxn>
                <a:cxn ang="0">
                  <a:pos x="87" y="127"/>
                </a:cxn>
                <a:cxn ang="0">
                  <a:pos x="10" y="154"/>
                </a:cxn>
                <a:cxn ang="0">
                  <a:pos x="0" y="264"/>
                </a:cxn>
              </a:cxnLst>
              <a:rect l="0" t="0" r="r" b="b"/>
              <a:pathLst>
                <a:path w="225" h="280">
                  <a:moveTo>
                    <a:pt x="0" y="269"/>
                  </a:moveTo>
                  <a:lnTo>
                    <a:pt x="33" y="280"/>
                  </a:lnTo>
                  <a:lnTo>
                    <a:pt x="56" y="267"/>
                  </a:lnTo>
                  <a:lnTo>
                    <a:pt x="103" y="275"/>
                  </a:lnTo>
                  <a:lnTo>
                    <a:pt x="197" y="267"/>
                  </a:lnTo>
                  <a:lnTo>
                    <a:pt x="187" y="243"/>
                  </a:lnTo>
                  <a:lnTo>
                    <a:pt x="198" y="192"/>
                  </a:lnTo>
                  <a:lnTo>
                    <a:pt x="225" y="133"/>
                  </a:lnTo>
                  <a:lnTo>
                    <a:pt x="220" y="48"/>
                  </a:lnTo>
                  <a:lnTo>
                    <a:pt x="198" y="0"/>
                  </a:lnTo>
                  <a:lnTo>
                    <a:pt x="142" y="20"/>
                  </a:lnTo>
                  <a:lnTo>
                    <a:pt x="48" y="14"/>
                  </a:lnTo>
                  <a:lnTo>
                    <a:pt x="59" y="95"/>
                  </a:lnTo>
                  <a:lnTo>
                    <a:pt x="84" y="98"/>
                  </a:lnTo>
                  <a:lnTo>
                    <a:pt x="87" y="127"/>
                  </a:lnTo>
                  <a:lnTo>
                    <a:pt x="10" y="154"/>
                  </a:lnTo>
                  <a:lnTo>
                    <a:pt x="0" y="264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7" name="Freeform 287"/>
            <p:cNvSpPr>
              <a:spLocks noChangeAspect="1"/>
            </p:cNvSpPr>
            <p:nvPr/>
          </p:nvSpPr>
          <p:spPr bwMode="auto">
            <a:xfrm>
              <a:off x="3862446" y="4058230"/>
              <a:ext cx="59780" cy="110047"/>
            </a:xfrm>
            <a:custGeom>
              <a:avLst/>
              <a:gdLst/>
              <a:ahLst/>
              <a:cxnLst>
                <a:cxn ang="0">
                  <a:pos x="87" y="0"/>
                </a:cxn>
                <a:cxn ang="0">
                  <a:pos x="103" y="37"/>
                </a:cxn>
                <a:cxn ang="0">
                  <a:pos x="55" y="138"/>
                </a:cxn>
                <a:cxn ang="0">
                  <a:pos x="7" y="186"/>
                </a:cxn>
                <a:cxn ang="0">
                  <a:pos x="0" y="123"/>
                </a:cxn>
                <a:cxn ang="0">
                  <a:pos x="24" y="83"/>
                </a:cxn>
                <a:cxn ang="0">
                  <a:pos x="68" y="52"/>
                </a:cxn>
                <a:cxn ang="0">
                  <a:pos x="87" y="0"/>
                </a:cxn>
              </a:cxnLst>
              <a:rect l="0" t="0" r="r" b="b"/>
              <a:pathLst>
                <a:path w="103" h="186">
                  <a:moveTo>
                    <a:pt x="87" y="0"/>
                  </a:moveTo>
                  <a:lnTo>
                    <a:pt x="103" y="37"/>
                  </a:lnTo>
                  <a:lnTo>
                    <a:pt x="55" y="138"/>
                  </a:lnTo>
                  <a:lnTo>
                    <a:pt x="7" y="186"/>
                  </a:lnTo>
                  <a:lnTo>
                    <a:pt x="0" y="123"/>
                  </a:lnTo>
                  <a:lnTo>
                    <a:pt x="24" y="83"/>
                  </a:lnTo>
                  <a:lnTo>
                    <a:pt x="68" y="52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8" name="Freeform 288"/>
            <p:cNvSpPr>
              <a:spLocks noChangeAspect="1"/>
            </p:cNvSpPr>
            <p:nvPr/>
          </p:nvSpPr>
          <p:spPr bwMode="auto">
            <a:xfrm>
              <a:off x="4451458" y="5728464"/>
              <a:ext cx="91429" cy="94073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0" y="138"/>
                </a:cxn>
                <a:cxn ang="0">
                  <a:pos x="35" y="157"/>
                </a:cxn>
                <a:cxn ang="0">
                  <a:pos x="118" y="142"/>
                </a:cxn>
                <a:cxn ang="0">
                  <a:pos x="122" y="102"/>
                </a:cxn>
                <a:cxn ang="0">
                  <a:pos x="153" y="63"/>
                </a:cxn>
                <a:cxn ang="0">
                  <a:pos x="158" y="11"/>
                </a:cxn>
                <a:cxn ang="0">
                  <a:pos x="12" y="0"/>
                </a:cxn>
              </a:cxnLst>
              <a:rect l="0" t="0" r="r" b="b"/>
              <a:pathLst>
                <a:path w="158" h="157">
                  <a:moveTo>
                    <a:pt x="12" y="0"/>
                  </a:moveTo>
                  <a:lnTo>
                    <a:pt x="0" y="138"/>
                  </a:lnTo>
                  <a:lnTo>
                    <a:pt x="35" y="157"/>
                  </a:lnTo>
                  <a:lnTo>
                    <a:pt x="118" y="142"/>
                  </a:lnTo>
                  <a:lnTo>
                    <a:pt x="122" y="102"/>
                  </a:lnTo>
                  <a:lnTo>
                    <a:pt x="153" y="63"/>
                  </a:lnTo>
                  <a:lnTo>
                    <a:pt x="158" y="11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89" name="Picture 5" descr="C:\Users\9124~1\AppData\Local\Temp\Rar$DI59.168\United-States-of-America(USA).pn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6720967" y="3076938"/>
            <a:ext cx="360000" cy="360000"/>
          </a:xfrm>
          <a:prstGeom prst="rect">
            <a:avLst/>
          </a:prstGeom>
          <a:noFill/>
        </p:spPr>
      </p:pic>
      <p:sp>
        <p:nvSpPr>
          <p:cNvPr id="290" name="TextBox 289"/>
          <p:cNvSpPr txBox="1"/>
          <p:nvPr>
            <p:custDataLst>
              <p:tags r:id="rId3"/>
            </p:custDataLst>
          </p:nvPr>
        </p:nvSpPr>
        <p:spPr>
          <a:xfrm>
            <a:off x="6324600" y="2759603"/>
            <a:ext cx="12144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18 тыс. туристов</a:t>
            </a:r>
          </a:p>
        </p:txBody>
      </p:sp>
      <p:sp>
        <p:nvSpPr>
          <p:cNvPr id="291" name="TextBox 290"/>
          <p:cNvSpPr txBox="1"/>
          <p:nvPr>
            <p:custDataLst>
              <p:tags r:id="rId4"/>
            </p:custDataLst>
          </p:nvPr>
        </p:nvSpPr>
        <p:spPr>
          <a:xfrm>
            <a:off x="7230564" y="5488533"/>
            <a:ext cx="114300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6 тыс. туристов</a:t>
            </a:r>
          </a:p>
        </p:txBody>
      </p:sp>
      <p:pic>
        <p:nvPicPr>
          <p:cNvPr id="292" name="Picture 6" descr="C:\Users\CD86~1\AppData\Local\Temp\Rar$DIa0.141\Canada.pn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6744787" y="2445276"/>
            <a:ext cx="360000" cy="360000"/>
          </a:xfrm>
          <a:prstGeom prst="rect">
            <a:avLst/>
          </a:prstGeom>
          <a:noFill/>
        </p:spPr>
      </p:pic>
      <p:sp>
        <p:nvSpPr>
          <p:cNvPr id="293" name="TextBox 292"/>
          <p:cNvSpPr txBox="1"/>
          <p:nvPr>
            <p:custDataLst>
              <p:tags r:id="rId6"/>
            </p:custDataLst>
          </p:nvPr>
        </p:nvSpPr>
        <p:spPr>
          <a:xfrm>
            <a:off x="4944547" y="5845723"/>
            <a:ext cx="12361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8 тыс. туристов</a:t>
            </a:r>
          </a:p>
        </p:txBody>
      </p:sp>
      <p:sp>
        <p:nvSpPr>
          <p:cNvPr id="294" name="TextBox 293"/>
          <p:cNvSpPr txBox="1"/>
          <p:nvPr>
            <p:custDataLst>
              <p:tags r:id="rId7"/>
            </p:custDataLst>
          </p:nvPr>
        </p:nvSpPr>
        <p:spPr>
          <a:xfrm>
            <a:off x="2658532" y="2345261"/>
            <a:ext cx="135732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151 тыс. туристов</a:t>
            </a:r>
            <a:endParaRPr lang="ru-RU" sz="1200" b="1" baseline="30000" dirty="0" smtClean="0"/>
          </a:p>
        </p:txBody>
      </p:sp>
      <p:cxnSp>
        <p:nvCxnSpPr>
          <p:cNvPr id="295" name="Shape 40"/>
          <p:cNvCxnSpPr>
            <a:stCxn id="305" idx="1"/>
            <a:endCxn id="307" idx="0"/>
          </p:cNvCxnSpPr>
          <p:nvPr>
            <p:custDataLst>
              <p:tags r:id="rId8"/>
            </p:custDataLst>
          </p:nvPr>
        </p:nvCxnSpPr>
        <p:spPr>
          <a:xfrm rot="10800000" flipV="1">
            <a:off x="5041748" y="2382385"/>
            <a:ext cx="3689014" cy="340884"/>
          </a:xfrm>
          <a:prstGeom prst="curvedConnector2">
            <a:avLst/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sp>
        <p:nvSpPr>
          <p:cNvPr id="296" name="TextBox 295"/>
          <p:cNvSpPr txBox="1"/>
          <p:nvPr>
            <p:custDataLst>
              <p:tags r:id="rId9"/>
            </p:custDataLst>
          </p:nvPr>
        </p:nvSpPr>
        <p:spPr>
          <a:xfrm>
            <a:off x="8051277" y="2488137"/>
            <a:ext cx="12144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14 тыс. туристов</a:t>
            </a:r>
          </a:p>
        </p:txBody>
      </p:sp>
      <p:cxnSp>
        <p:nvCxnSpPr>
          <p:cNvPr id="297" name="Скругленная соединительная линия 296"/>
          <p:cNvCxnSpPr>
            <a:stCxn id="303" idx="0"/>
            <a:endCxn id="307" idx="3"/>
          </p:cNvCxnSpPr>
          <p:nvPr>
            <p:custDataLst>
              <p:tags r:id="rId10"/>
            </p:custDataLst>
          </p:nvPr>
        </p:nvCxnSpPr>
        <p:spPr>
          <a:xfrm rot="16200000" flipV="1">
            <a:off x="3861392" y="3939625"/>
            <a:ext cx="2775246" cy="465446"/>
          </a:xfrm>
          <a:prstGeom prst="curvedConnector3">
            <a:avLst>
              <a:gd name="adj1" fmla="val 50000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cxnSp>
        <p:nvCxnSpPr>
          <p:cNvPr id="298" name="Shape 63"/>
          <p:cNvCxnSpPr>
            <a:stCxn id="300" idx="3"/>
          </p:cNvCxnSpPr>
          <p:nvPr>
            <p:custDataLst>
              <p:tags r:id="rId11"/>
            </p:custDataLst>
          </p:nvPr>
        </p:nvCxnSpPr>
        <p:spPr>
          <a:xfrm>
            <a:off x="3524358" y="2242389"/>
            <a:ext cx="1491628" cy="531500"/>
          </a:xfrm>
          <a:prstGeom prst="curvedConnector3">
            <a:avLst>
              <a:gd name="adj1" fmla="val 50000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cxnSp>
        <p:nvCxnSpPr>
          <p:cNvPr id="299" name="Скругленная соединительная линия 65"/>
          <p:cNvCxnSpPr>
            <a:stCxn id="292" idx="1"/>
            <a:endCxn id="307" idx="6"/>
          </p:cNvCxnSpPr>
          <p:nvPr>
            <p:custDataLst>
              <p:tags r:id="rId12"/>
            </p:custDataLst>
          </p:nvPr>
        </p:nvCxnSpPr>
        <p:spPr>
          <a:xfrm rot="10800000" flipV="1">
            <a:off x="5077749" y="2625275"/>
            <a:ext cx="1667039" cy="133993"/>
          </a:xfrm>
          <a:prstGeom prst="curvedConnector3">
            <a:avLst>
              <a:gd name="adj1" fmla="val 50000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pic>
        <p:nvPicPr>
          <p:cNvPr id="300" name="Picture 3" descr="C:\Users\Игорь Копытов\Dropbox\Работа\Полезные вещи\иконки\Flags\Square\Russian-Federation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3158598" y="2059509"/>
            <a:ext cx="365760" cy="365760"/>
          </a:xfrm>
          <a:prstGeom prst="rect">
            <a:avLst/>
          </a:prstGeom>
          <a:noFill/>
        </p:spPr>
      </p:pic>
      <p:cxnSp>
        <p:nvCxnSpPr>
          <p:cNvPr id="301" name="Скругленная соединительная линия 1764"/>
          <p:cNvCxnSpPr>
            <a:stCxn id="289" idx="1"/>
            <a:endCxn id="307" idx="5"/>
          </p:cNvCxnSpPr>
          <p:nvPr>
            <p:custDataLst>
              <p:tags r:id="rId14"/>
            </p:custDataLst>
          </p:nvPr>
        </p:nvCxnSpPr>
        <p:spPr>
          <a:xfrm rot="10800000">
            <a:off x="5067205" y="2784726"/>
            <a:ext cx="1653763" cy="472213"/>
          </a:xfrm>
          <a:prstGeom prst="curvedConnector2">
            <a:avLst/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cxnSp>
        <p:nvCxnSpPr>
          <p:cNvPr id="302" name="Скругленная соединительная линия 1766"/>
          <p:cNvCxnSpPr>
            <a:stCxn id="304" idx="1"/>
            <a:endCxn id="307" idx="4"/>
          </p:cNvCxnSpPr>
          <p:nvPr>
            <p:custDataLst>
              <p:tags r:id="rId15"/>
            </p:custDataLst>
          </p:nvPr>
        </p:nvCxnSpPr>
        <p:spPr>
          <a:xfrm rot="10800000">
            <a:off x="5041748" y="2795269"/>
            <a:ext cx="2546006" cy="2587512"/>
          </a:xfrm>
          <a:prstGeom prst="curvedConnector2">
            <a:avLst/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pic>
        <p:nvPicPr>
          <p:cNvPr id="303" name="Picture 3" descr="C:\Users\9124~1\AppData\Local\Temp\Rar$DR26.312\Square\New-Zealand.png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5301738" y="5559971"/>
            <a:ext cx="360000" cy="360000"/>
          </a:xfrm>
          <a:prstGeom prst="rect">
            <a:avLst/>
          </a:prstGeom>
          <a:noFill/>
        </p:spPr>
      </p:pic>
      <p:pic>
        <p:nvPicPr>
          <p:cNvPr id="304" name="Picture 4" descr="C:\Users\9124~1\AppData\Local\Temp\Rar$DR07.312\Square\Chile.png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7587754" y="5202781"/>
            <a:ext cx="360000" cy="360000"/>
          </a:xfrm>
          <a:prstGeom prst="rect">
            <a:avLst/>
          </a:prstGeom>
          <a:noFill/>
        </p:spPr>
      </p:pic>
      <p:pic>
        <p:nvPicPr>
          <p:cNvPr id="305" name="Picture 5" descr="C:\Users\9124~1\AppData\Local\Temp\Rar$DR79.312\Square\Iceland.png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8730762" y="2202385"/>
            <a:ext cx="360000" cy="360000"/>
          </a:xfrm>
          <a:prstGeom prst="rect">
            <a:avLst/>
          </a:prstGeom>
          <a:noFill/>
        </p:spPr>
      </p:pic>
      <p:sp>
        <p:nvSpPr>
          <p:cNvPr id="306" name="TextBox 305"/>
          <p:cNvSpPr txBox="1"/>
          <p:nvPr>
            <p:custDataLst>
              <p:tags r:id="rId19"/>
            </p:custDataLst>
          </p:nvPr>
        </p:nvSpPr>
        <p:spPr>
          <a:xfrm>
            <a:off x="6268528" y="3363655"/>
            <a:ext cx="12144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43 тыс. туристов</a:t>
            </a:r>
          </a:p>
        </p:txBody>
      </p:sp>
      <p:sp>
        <p:nvSpPr>
          <p:cNvPr id="307" name="Овал 306"/>
          <p:cNvSpPr/>
          <p:nvPr/>
        </p:nvSpPr>
        <p:spPr>
          <a:xfrm>
            <a:off x="5005748" y="2723269"/>
            <a:ext cx="72000" cy="720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08" name="Прямоугольник 307"/>
          <p:cNvSpPr/>
          <p:nvPr/>
        </p:nvSpPr>
        <p:spPr>
          <a:xfrm>
            <a:off x="474133" y="957602"/>
            <a:ext cx="9017000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57816">
              <a:lnSpc>
                <a:spcPct val="90000"/>
              </a:lnSpc>
              <a:spcBef>
                <a:spcPct val="0"/>
              </a:spcBef>
              <a:defRPr/>
            </a:pPr>
            <a:r>
              <a:rPr lang="ru-RU" b="1" spc="75" dirty="0" smtClean="0">
                <a:solidFill>
                  <a:schemeClr val="accent5">
                    <a:lumMod val="50000"/>
                  </a:schemeClr>
                </a:solidFill>
                <a:cs typeface="Segoe UI" pitchFamily="34" charset="0"/>
              </a:rPr>
              <a:t>Потенциальный поток туристов к 2025 г.: 240 тыс. туристов</a:t>
            </a:r>
            <a:endParaRPr lang="ru-RU" b="1" spc="75" dirty="0">
              <a:solidFill>
                <a:schemeClr val="accent5">
                  <a:lumMod val="50000"/>
                </a:schemeClr>
              </a:solidFill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3034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Объект 2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24"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0" name="Picture 67"/>
                      <p:cNvPicPr>
                        <a:picLocks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085850" y="187193"/>
            <a:ext cx="8388378" cy="625036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Поток круизных туристов через ППК к 2020г. может </a:t>
            </a:r>
            <a:br>
              <a:rPr lang="ru-RU" dirty="0" smtClean="0"/>
            </a:br>
            <a:r>
              <a:rPr lang="ru-RU" dirty="0" smtClean="0"/>
              <a:t>достичь 120 тыс. туристов, а к 2025 г.</a:t>
            </a:r>
            <a:r>
              <a:rPr lang="ru-RU" sz="2800" b="0" dirty="0" smtClean="0">
                <a:solidFill>
                  <a:schemeClr val="tx1"/>
                </a:solidFill>
              </a:rPr>
              <a:t> –</a:t>
            </a:r>
            <a:r>
              <a:rPr lang="ru-RU" dirty="0" smtClean="0"/>
              <a:t> 300 тыс. туристов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4294967295"/>
            <p:custDataLst>
              <p:tags r:id="rId4"/>
            </p:custDataLst>
          </p:nvPr>
        </p:nvSpPr>
        <p:spPr>
          <a:xfrm>
            <a:off x="209551" y="6310313"/>
            <a:ext cx="9696450" cy="350837"/>
          </a:xfrm>
        </p:spPr>
        <p:txBody>
          <a:bodyPr>
            <a:noAutofit/>
          </a:bodyPr>
          <a:lstStyle/>
          <a:p>
            <a:endParaRPr lang="ru-RU" sz="800" dirty="0" smtClean="0">
              <a:solidFill>
                <a:schemeClr val="tx1"/>
              </a:solidFill>
            </a:endParaRPr>
          </a:p>
          <a:p>
            <a:pPr marL="0" lvl="1" indent="0">
              <a:buClr>
                <a:schemeClr val="tx2"/>
              </a:buClr>
              <a:buNone/>
            </a:pPr>
            <a:r>
              <a:rPr lang="ru-RU" sz="800" dirty="0" smtClean="0">
                <a:solidFill>
                  <a:schemeClr val="tx1"/>
                </a:solidFill>
              </a:rPr>
              <a:t>Примечания: 1 – с учетом круизов в данном регионе продолжительностью 12 и более дней. 2 – поток круизных туристов из Азиатских стран в страны Северной Америки и обратно с учетом кругосветных круизов. 3 – расчетное количество крупных круизных кораблей с фиксированными маршрутами. Источники: данных </a:t>
            </a:r>
            <a:r>
              <a:rPr lang="en-US" sz="800" dirty="0" err="1" smtClean="0">
                <a:solidFill>
                  <a:schemeClr val="tx1"/>
                </a:solidFill>
              </a:rPr>
              <a:t>Euromonitor</a:t>
            </a:r>
            <a:r>
              <a:rPr lang="en-US" sz="800" dirty="0" smtClean="0">
                <a:solidFill>
                  <a:schemeClr val="tx1"/>
                </a:solidFill>
              </a:rPr>
              <a:t> International</a:t>
            </a:r>
            <a:r>
              <a:rPr lang="ru-RU" sz="800" dirty="0" smtClean="0">
                <a:solidFill>
                  <a:schemeClr val="tx1"/>
                </a:solidFill>
              </a:rPr>
              <a:t>, данные из экспертных интервью (вице-президент </a:t>
            </a:r>
            <a:r>
              <a:rPr lang="en-US" sz="800" dirty="0" smtClean="0">
                <a:solidFill>
                  <a:schemeClr val="tx1"/>
                </a:solidFill>
              </a:rPr>
              <a:t>Carnival Corporation, </a:t>
            </a:r>
            <a:r>
              <a:rPr lang="ru-RU" sz="800" dirty="0" smtClean="0">
                <a:solidFill>
                  <a:schemeClr val="tx1"/>
                </a:solidFill>
              </a:rPr>
              <a:t>глава АКОР), аналитика АНО «НИСИПП»</a:t>
            </a:r>
          </a:p>
        </p:txBody>
      </p:sp>
      <p:sp>
        <p:nvSpPr>
          <p:cNvPr id="16" name="Текст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36827" y="6489700"/>
            <a:ext cx="9360000" cy="32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9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17422" t="37995" r="61808" b="18965"/>
          <a:stretch>
            <a:fillRect/>
          </a:stretch>
        </p:blipFill>
        <p:spPr bwMode="auto">
          <a:xfrm>
            <a:off x="271728" y="1274763"/>
            <a:ext cx="9347068" cy="5028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5" descr="C:\Users\9124~1\AppData\Local\Temp\Rar$DI59.168\United-States-of-America(USA)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7333230" y="1576667"/>
            <a:ext cx="390000" cy="360000"/>
          </a:xfrm>
          <a:prstGeom prst="rect">
            <a:avLst/>
          </a:prstGeom>
          <a:noFill/>
        </p:spPr>
      </p:pic>
      <p:pic>
        <p:nvPicPr>
          <p:cNvPr id="24" name="Picture 3" descr="C:\Users\9124~1\AppData\Local\Temp\Rar$DI37.952\Canada.pn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9179011" y="3014000"/>
            <a:ext cx="390000" cy="360000"/>
          </a:xfrm>
          <a:prstGeom prst="rect">
            <a:avLst/>
          </a:prstGeom>
          <a:noFill/>
        </p:spPr>
      </p:pic>
      <p:pic>
        <p:nvPicPr>
          <p:cNvPr id="26" name="Picture 3" descr="C:\Users\9124~1\AppData\Local\Temp\Rar$DR55.936\Square\China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619095" y="4500570"/>
            <a:ext cx="390000" cy="360000"/>
          </a:xfrm>
          <a:prstGeom prst="rect">
            <a:avLst/>
          </a:prstGeom>
          <a:noFill/>
        </p:spPr>
      </p:pic>
      <p:pic>
        <p:nvPicPr>
          <p:cNvPr id="28" name="Picture 7" descr="C:\Users\9124~1\AppData\Local\Temp\Rar$DI21.168\Japan.pn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2399092" y="5214950"/>
            <a:ext cx="390000" cy="360000"/>
          </a:xfrm>
          <a:prstGeom prst="rect">
            <a:avLst/>
          </a:prstGeom>
          <a:noFill/>
        </p:spPr>
      </p:pic>
      <p:pic>
        <p:nvPicPr>
          <p:cNvPr id="31" name="Picture 4" descr="C:\Users\9124~1\AppData\Local\Temp\Rar$DR39.640\Square\South-Korea.pn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1181195" y="5498933"/>
            <a:ext cx="390000" cy="360000"/>
          </a:xfrm>
          <a:prstGeom prst="rect">
            <a:avLst/>
          </a:prstGeom>
          <a:noFill/>
        </p:spPr>
      </p:pic>
      <p:sp>
        <p:nvSpPr>
          <p:cNvPr id="32" name="Прямоугольник 31"/>
          <p:cNvSpPr/>
          <p:nvPr>
            <p:custDataLst>
              <p:tags r:id="rId12"/>
            </p:custDataLst>
          </p:nvPr>
        </p:nvSpPr>
        <p:spPr>
          <a:xfrm rot="20470814">
            <a:off x="4643435" y="3643315"/>
            <a:ext cx="239912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/>
              <a:t>300 тыс. туристов</a:t>
            </a:r>
            <a:r>
              <a:rPr lang="ru-RU" sz="1400" b="1" baseline="30000" dirty="0" smtClean="0"/>
              <a:t>2</a:t>
            </a:r>
          </a:p>
        </p:txBody>
      </p:sp>
      <p:sp>
        <p:nvSpPr>
          <p:cNvPr id="37" name="Овал 36"/>
          <p:cNvSpPr/>
          <p:nvPr>
            <p:custDataLst>
              <p:tags r:id="rId13"/>
            </p:custDataLst>
          </p:nvPr>
        </p:nvSpPr>
        <p:spPr>
          <a:xfrm>
            <a:off x="3879850" y="3302000"/>
            <a:ext cx="78000" cy="720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14"/>
            </p:custDataLst>
          </p:nvPr>
        </p:nvSpPr>
        <p:spPr>
          <a:xfrm>
            <a:off x="2930562" y="3055780"/>
            <a:ext cx="205457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 smtClean="0"/>
              <a:t>Петропавловск-Камчатский</a:t>
            </a:r>
          </a:p>
        </p:txBody>
      </p:sp>
      <p:pic>
        <p:nvPicPr>
          <p:cNvPr id="315397" name="Picture 5" descr="C:\Users\9124~1\AppData\Local\Temp\Rar$DR94.048\Square\Russian-Federation.png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2212527" y="1936667"/>
            <a:ext cx="390000" cy="360000"/>
          </a:xfrm>
          <a:prstGeom prst="rect">
            <a:avLst/>
          </a:prstGeom>
          <a:noFill/>
        </p:spPr>
      </p:pic>
      <p:sp>
        <p:nvSpPr>
          <p:cNvPr id="97" name="Стрелка влево 96"/>
          <p:cNvSpPr/>
          <p:nvPr>
            <p:custDataLst>
              <p:tags r:id="rId16"/>
            </p:custDataLst>
          </p:nvPr>
        </p:nvSpPr>
        <p:spPr>
          <a:xfrm rot="3787906">
            <a:off x="3807046" y="3426301"/>
            <a:ext cx="792000" cy="624000"/>
          </a:xfrm>
          <a:prstGeom prst="leftArrow">
            <a:avLst/>
          </a:prstGeom>
          <a:solidFill>
            <a:schemeClr val="accent3">
              <a:lumMod val="75000"/>
              <a:alpha val="20000"/>
            </a:schemeClr>
          </a:solidFill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00" name="Стрелка влево 99"/>
          <p:cNvSpPr/>
          <p:nvPr>
            <p:custDataLst>
              <p:tags r:id="rId17"/>
            </p:custDataLst>
          </p:nvPr>
        </p:nvSpPr>
        <p:spPr>
          <a:xfrm rot="8226602">
            <a:off x="2698123" y="3583416"/>
            <a:ext cx="1296000" cy="624000"/>
          </a:xfrm>
          <a:prstGeom prst="leftArrow">
            <a:avLst/>
          </a:prstGeom>
          <a:solidFill>
            <a:schemeClr val="accent5">
              <a:alpha val="25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600056686"/>
              </p:ext>
            </p:extLst>
          </p:nvPr>
        </p:nvGraphicFramePr>
        <p:xfrm>
          <a:off x="5339955" y="5090491"/>
          <a:ext cx="4278843" cy="1188720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1069711"/>
                <a:gridCol w="1438722"/>
                <a:gridCol w="687089"/>
                <a:gridCol w="1083321"/>
              </a:tblGrid>
              <a:tr h="33831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Обозначение на карте</a:t>
                      </a:r>
                      <a:endParaRPr lang="ru-RU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Ключевые направления</a:t>
                      </a: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Поток, тыс. чел.</a:t>
                      </a:r>
                      <a:endParaRPr lang="ru-RU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Поток, ед. судов/рейсов</a:t>
                      </a:r>
                      <a:r>
                        <a:rPr lang="ru-RU" sz="1000" b="1" kern="1200" baseline="300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ru-RU" sz="10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27462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раны Азии – страны Северной Америки</a:t>
                      </a: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20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/110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7462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раны Азии (Китай, Япония, Южная Корея)</a:t>
                      </a: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0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/40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060" marR="990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2" name="Овал 51"/>
          <p:cNvSpPr/>
          <p:nvPr>
            <p:custDataLst>
              <p:tags r:id="rId19"/>
            </p:custDataLst>
          </p:nvPr>
        </p:nvSpPr>
        <p:spPr>
          <a:xfrm>
            <a:off x="271728" y="3857628"/>
            <a:ext cx="2901276" cy="2487610"/>
          </a:xfrm>
          <a:prstGeom prst="ellipse">
            <a:avLst/>
          </a:prstGeom>
          <a:solidFill>
            <a:schemeClr val="accent5">
              <a:alpha val="25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53" name="Прямоугольник 52"/>
          <p:cNvSpPr/>
          <p:nvPr>
            <p:custDataLst>
              <p:tags r:id="rId20"/>
            </p:custDataLst>
          </p:nvPr>
        </p:nvSpPr>
        <p:spPr>
          <a:xfrm>
            <a:off x="878155" y="4929199"/>
            <a:ext cx="173329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/>
              <a:t>1500 тыс. туристов</a:t>
            </a:r>
            <a:r>
              <a:rPr lang="ru-RU" sz="1400" b="1" baseline="30000" dirty="0" smtClean="0"/>
              <a:t>1</a:t>
            </a:r>
            <a:r>
              <a:rPr lang="ru-RU" sz="1400" b="1" dirty="0" smtClean="0"/>
              <a:t> </a:t>
            </a:r>
          </a:p>
        </p:txBody>
      </p:sp>
      <p:sp>
        <p:nvSpPr>
          <p:cNvPr id="62" name="Стрелка влево 61"/>
          <p:cNvSpPr/>
          <p:nvPr>
            <p:custDataLst>
              <p:tags r:id="rId21"/>
            </p:custDataLst>
          </p:nvPr>
        </p:nvSpPr>
        <p:spPr>
          <a:xfrm rot="10800000">
            <a:off x="5410041" y="5972104"/>
            <a:ext cx="936000" cy="216000"/>
          </a:xfrm>
          <a:prstGeom prst="leftArrow">
            <a:avLst/>
          </a:prstGeom>
          <a:solidFill>
            <a:schemeClr val="accent5">
              <a:alpha val="25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5" name="TextBox 64"/>
          <p:cNvSpPr txBox="1"/>
          <p:nvPr>
            <p:custDataLst>
              <p:tags r:id="rId22"/>
            </p:custDataLst>
          </p:nvPr>
        </p:nvSpPr>
        <p:spPr>
          <a:xfrm>
            <a:off x="6268650" y="4830783"/>
            <a:ext cx="26313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/>
              <a:t>Ожидаемые потоки к 2025 г.</a:t>
            </a:r>
          </a:p>
        </p:txBody>
      </p:sp>
      <p:sp>
        <p:nvSpPr>
          <p:cNvPr id="66" name="Овал 65"/>
          <p:cNvSpPr/>
          <p:nvPr>
            <p:custDataLst>
              <p:tags r:id="rId23"/>
            </p:custDataLst>
          </p:nvPr>
        </p:nvSpPr>
        <p:spPr>
          <a:xfrm rot="20370409">
            <a:off x="2933990" y="3504168"/>
            <a:ext cx="5890271" cy="627985"/>
          </a:xfrm>
          <a:prstGeom prst="ellipse">
            <a:avLst/>
          </a:prstGeom>
          <a:solidFill>
            <a:schemeClr val="accent3">
              <a:lumMod val="75000"/>
              <a:alpha val="20000"/>
            </a:schemeClr>
          </a:solidFill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1" name="Стрелка влево 70"/>
          <p:cNvSpPr/>
          <p:nvPr>
            <p:custDataLst>
              <p:tags r:id="rId24"/>
            </p:custDataLst>
          </p:nvPr>
        </p:nvSpPr>
        <p:spPr>
          <a:xfrm rot="10800000">
            <a:off x="5417347" y="5545163"/>
            <a:ext cx="936000" cy="216000"/>
          </a:xfrm>
          <a:prstGeom prst="leftArrow">
            <a:avLst/>
          </a:prstGeom>
          <a:solidFill>
            <a:schemeClr val="accent3">
              <a:lumMod val="75000"/>
              <a:alpha val="20000"/>
            </a:schemeClr>
          </a:solidFill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12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7459" name="Picture 3" descr="C:\Users\digital\Pictures\Рисунок3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685" y="1104975"/>
            <a:ext cx="5383213" cy="5394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Точки притяжения туристов вблизи г. Петропавловска-Камчатског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6" name="Текст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71727" y="6501076"/>
            <a:ext cx="9360000" cy="324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pPr marR="0" lvl="0" defTabSz="957816" fontAlgn="auto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9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имечания: 1 – расстояние от Петропавловска-Камчатского</a:t>
            </a:r>
          </a:p>
        </p:txBody>
      </p:sp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2717807" y="4891670"/>
            <a:ext cx="7739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cs typeface="Arial" pitchFamily="34" charset="0"/>
              </a:rPr>
              <a:t>40 км</a:t>
            </a:r>
            <a:r>
              <a:rPr lang="ru-RU" sz="1400" baseline="30000" dirty="0" smtClean="0">
                <a:cs typeface="Arial" pitchFamily="34" charset="0"/>
              </a:rPr>
              <a:t>1</a:t>
            </a:r>
            <a:endParaRPr lang="ru-RU" sz="1400" baseline="30000" dirty="0">
              <a:cs typeface="Arial" pitchFamily="34" charset="0"/>
            </a:endParaRPr>
          </a:p>
        </p:txBody>
      </p:sp>
      <p:sp>
        <p:nvSpPr>
          <p:cNvPr id="8" name="TextBox 7"/>
          <p:cNvSpPr txBox="1"/>
          <p:nvPr>
            <p:custDataLst>
              <p:tags r:id="rId3"/>
            </p:custDataLst>
          </p:nvPr>
        </p:nvSpPr>
        <p:spPr>
          <a:xfrm>
            <a:off x="2717807" y="5963240"/>
            <a:ext cx="7739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cs typeface="Arial" pitchFamily="34" charset="0"/>
              </a:rPr>
              <a:t>93</a:t>
            </a:r>
            <a:r>
              <a:rPr lang="ru-RU" sz="1400" dirty="0" smtClean="0">
                <a:cs typeface="Arial" pitchFamily="34" charset="0"/>
              </a:rPr>
              <a:t> км</a:t>
            </a:r>
            <a:r>
              <a:rPr lang="ru-RU" sz="1400" baseline="30000" dirty="0" smtClean="0">
                <a:cs typeface="Arial" pitchFamily="34" charset="0"/>
              </a:rPr>
              <a:t>1</a:t>
            </a:r>
            <a:endParaRPr lang="ru-RU" sz="1400" dirty="0">
              <a:cs typeface="Arial" pitchFamily="34" charset="0"/>
            </a:endParaRPr>
          </a:p>
        </p:txBody>
      </p:sp>
      <p:sp>
        <p:nvSpPr>
          <p:cNvPr id="9" name="TextBox 8"/>
          <p:cNvSpPr txBox="1"/>
          <p:nvPr>
            <p:custDataLst>
              <p:tags r:id="rId4"/>
            </p:custDataLst>
          </p:nvPr>
        </p:nvSpPr>
        <p:spPr>
          <a:xfrm>
            <a:off x="5923127" y="1547412"/>
            <a:ext cx="3708599" cy="465085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ru-RU" sz="14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Туристический поток по основным точкам притяжения туристов в 2014 г., посещений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0130403"/>
              </p:ext>
            </p:extLst>
          </p:nvPr>
        </p:nvGraphicFramePr>
        <p:xfrm>
          <a:off x="5936776" y="2040837"/>
          <a:ext cx="3707999" cy="326136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259266"/>
                <a:gridCol w="2548405"/>
                <a:gridCol w="900328"/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1</a:t>
                      </a:r>
                      <a:endParaRPr lang="ru-RU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Гора Морозная</a:t>
                      </a:r>
                      <a:endParaRPr lang="ru-RU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30 000</a:t>
                      </a:r>
                      <a:endParaRPr lang="ru-RU" sz="14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2</a:t>
                      </a:r>
                      <a:endParaRPr lang="ru-RU" sz="1400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Халактырский</a:t>
                      </a:r>
                      <a:r>
                        <a:rPr lang="ru-RU" sz="1400" baseline="0" dirty="0" smtClean="0"/>
                        <a:t> пляж</a:t>
                      </a:r>
                      <a:endParaRPr lang="ru-RU" sz="1400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30 000</a:t>
                      </a:r>
                      <a:endParaRPr lang="ru-RU" sz="1400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3</a:t>
                      </a:r>
                      <a:endParaRPr lang="ru-RU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Экскурсия</a:t>
                      </a:r>
                      <a:r>
                        <a:rPr lang="ru-RU" sz="1400" baseline="0" dirty="0" smtClean="0"/>
                        <a:t> по г. Петропавловску-Камчатскому</a:t>
                      </a:r>
                      <a:endParaRPr lang="ru-RU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25 000</a:t>
                      </a:r>
                      <a:endParaRPr lang="ru-RU" sz="14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57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4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57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Сопка Мишенная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25 000</a:t>
                      </a:r>
                      <a:endParaRPr lang="ru-RU" sz="1400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57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5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5781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Сопка Никольская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25 000</a:t>
                      </a:r>
                      <a:endParaRPr lang="ru-RU" sz="14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6</a:t>
                      </a:r>
                      <a:endParaRPr lang="ru-RU" sz="1400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Малкинские</a:t>
                      </a:r>
                      <a:r>
                        <a:rPr lang="ru-RU" sz="1400" baseline="0" dirty="0" smtClean="0"/>
                        <a:t> горячие источники</a:t>
                      </a:r>
                      <a:endParaRPr lang="ru-RU" sz="1400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20 000</a:t>
                      </a:r>
                      <a:endParaRPr lang="ru-RU" sz="1400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Прочие</a:t>
                      </a:r>
                      <a:endParaRPr lang="ru-RU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80 000</a:t>
                      </a:r>
                      <a:endParaRPr lang="ru-RU" sz="1400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Итого</a:t>
                      </a:r>
                      <a:endParaRPr lang="ru-RU" sz="1400" b="1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235 000</a:t>
                      </a:r>
                      <a:endParaRPr lang="ru-RU" sz="1400" b="1" dirty="0"/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Овал 10"/>
          <p:cNvSpPr/>
          <p:nvPr/>
        </p:nvSpPr>
        <p:spPr>
          <a:xfrm>
            <a:off x="3022293" y="3632544"/>
            <a:ext cx="150710" cy="15120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3036523" y="3715504"/>
            <a:ext cx="15900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г. Петропавловск-Камчатский</a:t>
            </a:r>
            <a:endParaRPr lang="ru-RU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6045958" y="5398645"/>
            <a:ext cx="358576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spc="75" dirty="0">
                <a:solidFill>
                  <a:schemeClr val="accent5">
                    <a:lumMod val="50000"/>
                  </a:schemeClr>
                </a:solidFill>
                <a:ea typeface="+mj-ea"/>
                <a:cs typeface="Segoe UI" pitchFamily="34" charset="0"/>
              </a:rPr>
              <a:t>Вблизи г. Петропавловска-Камчатского расположены еще 19 точек притяжения туристов</a:t>
            </a:r>
          </a:p>
        </p:txBody>
      </p:sp>
    </p:spTree>
    <p:extLst>
      <p:ext uri="{BB962C8B-B14F-4D97-AF65-F5344CB8AC3E}">
        <p14:creationId xmlns:p14="http://schemas.microsoft.com/office/powerpoint/2010/main" val="3136331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Для развития туризма планируется привлечение значительного объема инвестиций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13"/>
          <p:cNvSpPr/>
          <p:nvPr>
            <p:custDataLst>
              <p:tags r:id="rId1"/>
            </p:custDataLst>
          </p:nvPr>
        </p:nvSpPr>
        <p:spPr>
          <a:xfrm>
            <a:off x="2950029" y="1138222"/>
            <a:ext cx="6324146" cy="828000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36000" rIns="72000" bIns="36000" rtlCol="0" anchor="ctr"/>
          <a:lstStyle/>
          <a:p>
            <a:pPr marL="276225" indent="266700" algn="just">
              <a:buClr>
                <a:srgbClr val="A6CE39"/>
              </a:buClr>
              <a:buFont typeface="Wingdings" pitchFamily="2" charset="2"/>
              <a:buChar char="ü"/>
              <a:tabLst>
                <a:tab pos="266700" algn="l"/>
              </a:tabLst>
            </a:pPr>
            <a:r>
              <a:rPr lang="ru-RU" sz="1400" dirty="0">
                <a:solidFill>
                  <a:schemeClr val="tx1"/>
                </a:solidFill>
              </a:rPr>
              <a:t>Необходимо привлечение порядка </a:t>
            </a:r>
            <a:r>
              <a:rPr lang="ru-RU" sz="1400" dirty="0" smtClean="0">
                <a:solidFill>
                  <a:schemeClr val="tx1"/>
                </a:solidFill>
              </a:rPr>
              <a:t>25 млрд руб. для развития горнолыжных комплексов</a:t>
            </a:r>
          </a:p>
        </p:txBody>
      </p:sp>
      <p:sp>
        <p:nvSpPr>
          <p:cNvPr id="6" name="Pentagon 12"/>
          <p:cNvSpPr/>
          <p:nvPr>
            <p:custDataLst>
              <p:tags r:id="rId2"/>
            </p:custDataLst>
          </p:nvPr>
        </p:nvSpPr>
        <p:spPr>
          <a:xfrm>
            <a:off x="651101" y="1138222"/>
            <a:ext cx="2679927" cy="828000"/>
          </a:xfrm>
          <a:prstGeom prst="homePlate">
            <a:avLst>
              <a:gd name="adj" fmla="val 31714"/>
            </a:avLst>
          </a:prstGeom>
          <a:solidFill>
            <a:srgbClr val="DEEBF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sym typeface="Arial"/>
              </a:rPr>
              <a:t>Создание горнолыжной инфраструктуры</a:t>
            </a:r>
          </a:p>
        </p:txBody>
      </p:sp>
      <p:sp>
        <p:nvSpPr>
          <p:cNvPr id="7" name="Rectangle 13"/>
          <p:cNvSpPr/>
          <p:nvPr>
            <p:custDataLst>
              <p:tags r:id="rId3"/>
            </p:custDataLst>
          </p:nvPr>
        </p:nvSpPr>
        <p:spPr>
          <a:xfrm>
            <a:off x="2950030" y="3005127"/>
            <a:ext cx="6324145" cy="1328747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36000" rIns="72000" bIns="36000" rtlCol="0" anchor="ctr"/>
          <a:lstStyle/>
          <a:p>
            <a:pPr marL="276225" indent="266700" algn="just">
              <a:buClr>
                <a:srgbClr val="A6CE39"/>
              </a:buClr>
              <a:buFont typeface="Wingdings" pitchFamily="2" charset="2"/>
              <a:buChar char="ü"/>
              <a:tabLst>
                <a:tab pos="266700" algn="l"/>
              </a:tabLst>
              <a:defRPr/>
            </a:pPr>
            <a:r>
              <a:rPr lang="ru-RU" sz="1400" dirty="0" smtClean="0">
                <a:solidFill>
                  <a:schemeClr val="tx1"/>
                </a:solidFill>
              </a:rPr>
              <a:t>Необходимо привлечение </a:t>
            </a:r>
            <a:r>
              <a:rPr lang="ru-RU" sz="1400" dirty="0">
                <a:solidFill>
                  <a:schemeClr val="tx1"/>
                </a:solidFill>
              </a:rPr>
              <a:t>порядка 40 млрд руб. частных инвестиций в строительство </a:t>
            </a:r>
            <a:r>
              <a:rPr lang="ru-RU" sz="1400" dirty="0" smtClean="0">
                <a:solidFill>
                  <a:schemeClr val="tx1"/>
                </a:solidFill>
              </a:rPr>
              <a:t>инфраструктуры мест размещения для </a:t>
            </a:r>
            <a:r>
              <a:rPr lang="ru-RU" sz="1400" dirty="0">
                <a:solidFill>
                  <a:schemeClr val="tx1"/>
                </a:solidFill>
              </a:rPr>
              <a:t>приема до 21-22 тыс. туристов единовременно</a:t>
            </a:r>
          </a:p>
        </p:txBody>
      </p:sp>
      <p:sp>
        <p:nvSpPr>
          <p:cNvPr id="8" name="Pentagon 12"/>
          <p:cNvSpPr/>
          <p:nvPr>
            <p:custDataLst>
              <p:tags r:id="rId4"/>
            </p:custDataLst>
          </p:nvPr>
        </p:nvSpPr>
        <p:spPr>
          <a:xfrm>
            <a:off x="651102" y="3005128"/>
            <a:ext cx="2758848" cy="1328746"/>
          </a:xfrm>
          <a:prstGeom prst="homePlate">
            <a:avLst>
              <a:gd name="adj" fmla="val 31714"/>
            </a:avLst>
          </a:prstGeom>
          <a:solidFill>
            <a:srgbClr val="DEEBF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sym typeface="Arial"/>
              </a:rPr>
              <a:t>Создание инфраструктуры мест размещения туристов</a:t>
            </a:r>
          </a:p>
        </p:txBody>
      </p:sp>
      <p:sp>
        <p:nvSpPr>
          <p:cNvPr id="9" name="Rectangle 13"/>
          <p:cNvSpPr/>
          <p:nvPr>
            <p:custDataLst>
              <p:tags r:id="rId5"/>
            </p:custDataLst>
          </p:nvPr>
        </p:nvSpPr>
        <p:spPr>
          <a:xfrm>
            <a:off x="2950030" y="5410896"/>
            <a:ext cx="6324145" cy="828000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36000" rIns="72000" bIns="36000" rtlCol="0" anchor="ctr"/>
          <a:lstStyle/>
          <a:p>
            <a:pPr marL="276225" indent="266700" algn="just">
              <a:buClr>
                <a:srgbClr val="A6CE39"/>
              </a:buClr>
              <a:buFont typeface="Wingdings" pitchFamily="2" charset="2"/>
              <a:buChar char="ü"/>
              <a:tabLst>
                <a:tab pos="266700" algn="l"/>
              </a:tabLst>
            </a:pPr>
            <a:r>
              <a:rPr lang="ru-RU" sz="1400" dirty="0">
                <a:solidFill>
                  <a:schemeClr val="tx1"/>
                </a:solidFill>
              </a:rPr>
              <a:t>Необходимо привлечение порядка 4 </a:t>
            </a:r>
            <a:r>
              <a:rPr lang="ru-RU" sz="1400" dirty="0" smtClean="0">
                <a:solidFill>
                  <a:schemeClr val="tx1"/>
                </a:solidFill>
              </a:rPr>
              <a:t>млрд руб. для оборудования необходимой инфраструктурой 26 точек притяжения  туристов</a:t>
            </a:r>
          </a:p>
        </p:txBody>
      </p:sp>
      <p:sp>
        <p:nvSpPr>
          <p:cNvPr id="10" name="Pentagon 12"/>
          <p:cNvSpPr/>
          <p:nvPr>
            <p:custDataLst>
              <p:tags r:id="rId6"/>
            </p:custDataLst>
          </p:nvPr>
        </p:nvSpPr>
        <p:spPr>
          <a:xfrm>
            <a:off x="651102" y="5410896"/>
            <a:ext cx="2679927" cy="828000"/>
          </a:xfrm>
          <a:prstGeom prst="homePlate">
            <a:avLst>
              <a:gd name="adj" fmla="val 31714"/>
            </a:avLst>
          </a:prstGeom>
          <a:solidFill>
            <a:srgbClr val="DEEBF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sym typeface="Arial"/>
              </a:rPr>
              <a:t>Создание инфраструктуры точек притяжения туристов</a:t>
            </a:r>
          </a:p>
        </p:txBody>
      </p:sp>
    </p:spTree>
    <p:extLst>
      <p:ext uri="{BB962C8B-B14F-4D97-AF65-F5344CB8AC3E}">
        <p14:creationId xmlns:p14="http://schemas.microsoft.com/office/powerpoint/2010/main" val="166476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48150" y="202757"/>
            <a:ext cx="8728364" cy="625036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Туризм будет также способствовать развитию смежных отраслей и принесет существенный синергетический эффект</a:t>
            </a:r>
            <a:endParaRPr lang="ru-RU" baseline="30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Текст 23"/>
          <p:cNvSpPr txBox="1">
            <a:spLocks/>
          </p:cNvSpPr>
          <p:nvPr/>
        </p:nvSpPr>
        <p:spPr>
          <a:xfrm>
            <a:off x="0" y="6467099"/>
            <a:ext cx="9905999" cy="343276"/>
          </a:xfrm>
          <a:prstGeom prst="rect">
            <a:avLst/>
          </a:prstGeom>
        </p:spPr>
        <p:txBody>
          <a:bodyPr/>
          <a:lstStyle/>
          <a:p>
            <a:pPr marL="184150" marR="0" lvl="0" indent="-6350" algn="l" defTabSz="957816" rtl="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tabLst/>
              <a:defRPr/>
            </a:pP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4150" marR="0" lvl="0" indent="-6350" algn="l" defTabSz="957816" rtl="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Источники: аналитика АНО «НИСИПП»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blackWhite">
          <a:xfrm>
            <a:off x="3714222" y="4312488"/>
            <a:ext cx="2596091" cy="10324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 lIns="94813" tIns="49040" rIns="94813" bIns="49040" anchor="ctr"/>
          <a:lstStyle/>
          <a:p>
            <a:pPr algn="ctr" defTabSz="1038225" eaLnBrk="0" hangingPunct="0">
              <a:lnSpc>
                <a:spcPct val="95000"/>
              </a:lnSpc>
              <a:buSzTx/>
            </a:pPr>
            <a:r>
              <a:rPr lang="de-DE" sz="1500">
                <a:solidFill>
                  <a:srgbClr val="091D5D"/>
                </a:solidFill>
              </a:rPr>
              <a:t>...</a:t>
            </a: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blackWhite">
          <a:xfrm>
            <a:off x="6642224" y="953337"/>
            <a:ext cx="2599574" cy="10304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 lIns="94813" tIns="49040" rIns="94813" bIns="49040" anchor="ctr"/>
          <a:lstStyle/>
          <a:p>
            <a:pPr algn="ctr" defTabSz="1038225" eaLnBrk="0" hangingPunct="0">
              <a:lnSpc>
                <a:spcPct val="95000"/>
              </a:lnSpc>
              <a:buSzTx/>
            </a:pPr>
            <a:r>
              <a:rPr lang="de-DE" sz="1500">
                <a:solidFill>
                  <a:srgbClr val="091D5D"/>
                </a:solidFill>
              </a:rPr>
              <a:t>...</a:t>
            </a: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blackWhite">
          <a:xfrm>
            <a:off x="6642224" y="2212226"/>
            <a:ext cx="2599574" cy="10324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 lIns="94813" tIns="49040" rIns="94813" bIns="49040" anchor="ctr"/>
          <a:lstStyle/>
          <a:p>
            <a:pPr algn="ctr" defTabSz="1038225" eaLnBrk="0" hangingPunct="0">
              <a:lnSpc>
                <a:spcPct val="95000"/>
              </a:lnSpc>
              <a:buSzTx/>
            </a:pPr>
            <a:r>
              <a:rPr lang="de-DE" sz="1500">
                <a:solidFill>
                  <a:srgbClr val="091D5D"/>
                </a:solidFill>
              </a:rPr>
              <a:t>...</a:t>
            </a:r>
          </a:p>
        </p:txBody>
      </p:sp>
      <p:sp>
        <p:nvSpPr>
          <p:cNvPr id="9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blackWhite">
          <a:xfrm>
            <a:off x="723870" y="3558426"/>
            <a:ext cx="2601315" cy="1030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 lIns="94813" tIns="49040" rIns="94813" bIns="49040" anchor="ctr"/>
          <a:lstStyle/>
          <a:p>
            <a:pPr algn="ctr" defTabSz="1038225" eaLnBrk="0" hangingPunct="0">
              <a:lnSpc>
                <a:spcPct val="95000"/>
              </a:lnSpc>
              <a:buSzTx/>
            </a:pPr>
            <a:endParaRPr lang="de-DE" sz="1500" dirty="0">
              <a:solidFill>
                <a:srgbClr val="091D5D"/>
              </a:solidFill>
            </a:endParaRPr>
          </a:p>
        </p:txBody>
      </p:sp>
      <p:sp>
        <p:nvSpPr>
          <p:cNvPr id="10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blackWhite">
          <a:xfrm>
            <a:off x="6642224" y="3558426"/>
            <a:ext cx="2599574" cy="1030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 lIns="94813" tIns="49040" rIns="94813" bIns="49040" anchor="ctr"/>
          <a:lstStyle/>
          <a:p>
            <a:pPr algn="ctr" defTabSz="1038225" eaLnBrk="0" hangingPunct="0">
              <a:lnSpc>
                <a:spcPct val="95000"/>
              </a:lnSpc>
              <a:buSzTx/>
            </a:pPr>
            <a:r>
              <a:rPr lang="de-DE" sz="1500">
                <a:solidFill>
                  <a:srgbClr val="091D5D"/>
                </a:solidFill>
              </a:rPr>
              <a:t>...</a:t>
            </a:r>
          </a:p>
        </p:txBody>
      </p:sp>
      <p:sp>
        <p:nvSpPr>
          <p:cNvPr id="11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blackWhite">
          <a:xfrm>
            <a:off x="723870" y="2212226"/>
            <a:ext cx="2601315" cy="10324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 lIns="94813" tIns="49040" rIns="94813" bIns="49040" anchor="ctr"/>
          <a:lstStyle/>
          <a:p>
            <a:pPr algn="ctr" defTabSz="1038225" eaLnBrk="0" hangingPunct="0">
              <a:lnSpc>
                <a:spcPct val="95000"/>
              </a:lnSpc>
              <a:buSzTx/>
            </a:pPr>
            <a:endParaRPr lang="de-DE" sz="1500" dirty="0">
              <a:solidFill>
                <a:srgbClr val="091D5D"/>
              </a:solidFill>
            </a:endParaRPr>
          </a:p>
        </p:txBody>
      </p:sp>
      <p:sp>
        <p:nvSpPr>
          <p:cNvPr id="12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blackWhite">
          <a:xfrm>
            <a:off x="723870" y="953337"/>
            <a:ext cx="2601315" cy="10304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noFill/>
            <a:miter lim="800000"/>
            <a:headEnd/>
            <a:tailEnd/>
          </a:ln>
        </p:spPr>
        <p:txBody>
          <a:bodyPr lIns="94813" tIns="49040" rIns="94813" bIns="49040" anchor="ctr"/>
          <a:lstStyle/>
          <a:p>
            <a:pPr algn="ctr" defTabSz="1038225" eaLnBrk="0" hangingPunct="0">
              <a:lnSpc>
                <a:spcPct val="95000"/>
              </a:lnSpc>
              <a:buSzTx/>
            </a:pPr>
            <a:r>
              <a:rPr lang="de-DE" sz="1500">
                <a:solidFill>
                  <a:srgbClr val="091D5D"/>
                </a:solidFill>
              </a:rPr>
              <a:t>...</a:t>
            </a:r>
          </a:p>
        </p:txBody>
      </p:sp>
      <p:sp>
        <p:nvSpPr>
          <p:cNvPr id="13" name="Прямоугольник 12"/>
          <p:cNvSpPr/>
          <p:nvPr>
            <p:custDataLst>
              <p:tags r:id="rId8"/>
            </p:custDataLst>
          </p:nvPr>
        </p:nvSpPr>
        <p:spPr>
          <a:xfrm>
            <a:off x="3985698" y="1468560"/>
            <a:ext cx="204553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  <a:defRPr/>
            </a:pPr>
            <a:r>
              <a:rPr lang="ru-RU" sz="2800" b="1" dirty="0" smtClean="0"/>
              <a:t>ТУРИЗМ</a:t>
            </a:r>
          </a:p>
        </p:txBody>
      </p:sp>
      <p:pic>
        <p:nvPicPr>
          <p:cNvPr id="14" name="Picture 8" descr="Форум ТДВ * Просмотр темы - Фальшивые продукты: Мясо на прилавке может оказаться с клеем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36" cstate="print">
            <a:lum bright="10000" contrast="-20000"/>
          </a:blip>
          <a:srcRect r="6744" b="12919"/>
          <a:stretch>
            <a:fillRect/>
          </a:stretch>
        </p:blipFill>
        <p:spPr bwMode="auto">
          <a:xfrm>
            <a:off x="3815274" y="4466995"/>
            <a:ext cx="1275291" cy="747194"/>
          </a:xfrm>
          <a:prstGeom prst="rect">
            <a:avLst/>
          </a:prstGeom>
          <a:noFill/>
        </p:spPr>
      </p:pic>
      <p:sp>
        <p:nvSpPr>
          <p:cNvPr id="15" name="Прямоугольник 14"/>
          <p:cNvSpPr/>
          <p:nvPr>
            <p:custDataLst>
              <p:tags r:id="rId10"/>
            </p:custDataLst>
          </p:nvPr>
        </p:nvSpPr>
        <p:spPr>
          <a:xfrm>
            <a:off x="5059495" y="4466995"/>
            <a:ext cx="1289877" cy="7471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buClr>
                <a:schemeClr val="tx2"/>
              </a:buClr>
              <a:defRPr/>
            </a:pPr>
            <a:r>
              <a:rPr lang="ru-RU" sz="1400" dirty="0" smtClean="0"/>
              <a:t>Производство пищевых продуктов</a:t>
            </a:r>
          </a:p>
        </p:txBody>
      </p:sp>
      <p:pic>
        <p:nvPicPr>
          <p:cNvPr id="16" name="Picture 16" descr="Кроноцкий заповедник / Лучшие места наблюдения за медведями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37" cstate="print">
            <a:lum bright="10000" contrast="-20000"/>
          </a:blip>
          <a:srcRect/>
          <a:stretch>
            <a:fillRect/>
          </a:stretch>
        </p:blipFill>
        <p:spPr bwMode="auto">
          <a:xfrm>
            <a:off x="3696405" y="2710771"/>
            <a:ext cx="1318915" cy="869659"/>
          </a:xfrm>
          <a:prstGeom prst="rect">
            <a:avLst/>
          </a:prstGeom>
          <a:noFill/>
        </p:spPr>
      </p:pic>
      <p:pic>
        <p:nvPicPr>
          <p:cNvPr id="17" name="Picture 18" descr="Кроноцкий заповедник проведет литературный конкурс к своему 80-летию - новости на сегодня 05.02.2014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38" cstate="print">
            <a:lum bright="10000" contrast="-20000"/>
          </a:blip>
          <a:srcRect/>
          <a:stretch>
            <a:fillRect/>
          </a:stretch>
        </p:blipFill>
        <p:spPr bwMode="auto">
          <a:xfrm>
            <a:off x="3696405" y="1983783"/>
            <a:ext cx="1322814" cy="745647"/>
          </a:xfrm>
          <a:prstGeom prst="rect">
            <a:avLst/>
          </a:prstGeom>
          <a:noFill/>
        </p:spPr>
      </p:pic>
      <p:sp>
        <p:nvSpPr>
          <p:cNvPr id="18" name="Прямоугольник 17"/>
          <p:cNvSpPr/>
          <p:nvPr>
            <p:custDataLst>
              <p:tags r:id="rId13"/>
            </p:custDataLst>
          </p:nvPr>
        </p:nvSpPr>
        <p:spPr>
          <a:xfrm>
            <a:off x="6635122" y="2363158"/>
            <a:ext cx="12679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  <a:defRPr/>
            </a:pPr>
            <a:r>
              <a:rPr lang="ru-RU" sz="1400" dirty="0" smtClean="0"/>
              <a:t>Производство </a:t>
            </a:r>
            <a:r>
              <a:rPr lang="ru-RU" sz="1400" dirty="0" err="1" smtClean="0"/>
              <a:t>строительныхматериалов</a:t>
            </a:r>
            <a:endParaRPr lang="ru-RU" sz="1400" dirty="0" smtClean="0"/>
          </a:p>
        </p:txBody>
      </p:sp>
      <p:pic>
        <p:nvPicPr>
          <p:cNvPr id="19" name="Picture 26" descr="Использование разнообразных стройматериалов. Часть 2 Строите…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39" cstate="print">
            <a:lum bright="10000" contrast="-20000"/>
          </a:blip>
          <a:srcRect t="1291" b="13218"/>
          <a:stretch>
            <a:fillRect/>
          </a:stretch>
        </p:blipFill>
        <p:spPr bwMode="auto">
          <a:xfrm>
            <a:off x="7896226" y="2363158"/>
            <a:ext cx="1275780" cy="732543"/>
          </a:xfrm>
          <a:prstGeom prst="rect">
            <a:avLst/>
          </a:prstGeom>
          <a:noFill/>
        </p:spPr>
      </p:pic>
      <p:pic>
        <p:nvPicPr>
          <p:cNvPr id="20" name="Picture 4" descr="http://silo-z.ru/sites/default/files/a221_0.png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40" cstate="print">
            <a:lum bright="10000" contrast="-20000"/>
          </a:blip>
          <a:srcRect/>
          <a:stretch>
            <a:fillRect/>
          </a:stretch>
        </p:blipFill>
        <p:spPr bwMode="auto">
          <a:xfrm>
            <a:off x="7896226" y="1089515"/>
            <a:ext cx="1275780" cy="736298"/>
          </a:xfrm>
          <a:prstGeom prst="rect">
            <a:avLst/>
          </a:prstGeom>
          <a:noFill/>
        </p:spPr>
      </p:pic>
      <p:sp>
        <p:nvSpPr>
          <p:cNvPr id="21" name="Прямоугольник 20"/>
          <p:cNvSpPr/>
          <p:nvPr>
            <p:custDataLst>
              <p:tags r:id="rId16"/>
            </p:custDataLst>
          </p:nvPr>
        </p:nvSpPr>
        <p:spPr>
          <a:xfrm>
            <a:off x="6642224" y="1160783"/>
            <a:ext cx="10227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  <a:defRPr/>
            </a:pPr>
            <a:r>
              <a:rPr lang="ru-RU" sz="1400" dirty="0" err="1" smtClean="0"/>
              <a:t>Дерево-обработка</a:t>
            </a:r>
            <a:endParaRPr lang="ru-RU" sz="1400" dirty="0" smtClean="0"/>
          </a:p>
        </p:txBody>
      </p:sp>
      <p:pic>
        <p:nvPicPr>
          <p:cNvPr id="22" name="Picture 5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 rotWithShape="1">
          <a:blip r:embed="rId41" cstate="print">
            <a:lum bright="10000" contrast="-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4" t="34797" r="44599" b="20921"/>
          <a:stretch/>
        </p:blipFill>
        <p:spPr bwMode="auto">
          <a:xfrm>
            <a:off x="7855490" y="3680303"/>
            <a:ext cx="1316515" cy="786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Прямоугольник 22"/>
          <p:cNvSpPr/>
          <p:nvPr>
            <p:custDataLst>
              <p:tags r:id="rId18"/>
            </p:custDataLst>
          </p:nvPr>
        </p:nvSpPr>
        <p:spPr>
          <a:xfrm>
            <a:off x="6625316" y="3823178"/>
            <a:ext cx="1316360" cy="5278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  <a:defRPr/>
            </a:pPr>
            <a:r>
              <a:rPr lang="ru-RU" sz="1400" dirty="0" smtClean="0"/>
              <a:t>Сельское хозяйство</a:t>
            </a:r>
          </a:p>
        </p:txBody>
      </p:sp>
      <p:pic>
        <p:nvPicPr>
          <p:cNvPr id="24" name="Picture 4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 rotWithShape="1">
          <a:blip r:embed="rId42" cstate="print">
            <a:lum bright="10000" contrast="-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28" t="46918" r="51126" b="17773"/>
          <a:stretch/>
        </p:blipFill>
        <p:spPr bwMode="auto">
          <a:xfrm>
            <a:off x="807256" y="1089515"/>
            <a:ext cx="1263022" cy="758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Прямоугольник 24"/>
          <p:cNvSpPr/>
          <p:nvPr>
            <p:custDataLst>
              <p:tags r:id="rId20"/>
            </p:custDataLst>
          </p:nvPr>
        </p:nvSpPr>
        <p:spPr>
          <a:xfrm>
            <a:off x="2009788" y="1000106"/>
            <a:ext cx="144065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  <a:defRPr/>
            </a:pPr>
            <a:r>
              <a:rPr lang="ru-RU" sz="1400" dirty="0" smtClean="0"/>
              <a:t>Производство сувенирной продукции, косметики и др.</a:t>
            </a:r>
          </a:p>
        </p:txBody>
      </p:sp>
      <p:pic>
        <p:nvPicPr>
          <p:cNvPr id="26" name="Picture 3" descr="C:\Users\Екатерина Пикулева\Downloads\1219916447_0252.310x280.jpg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43" cstate="print">
            <a:lum bright="10000" contrast="-20000"/>
          </a:blip>
          <a:srcRect l="2068" t="30979" r="1251" b="5698"/>
          <a:stretch>
            <a:fillRect/>
          </a:stretch>
        </p:blipFill>
        <p:spPr bwMode="auto">
          <a:xfrm>
            <a:off x="807256" y="2337174"/>
            <a:ext cx="1263022" cy="747194"/>
          </a:xfrm>
          <a:prstGeom prst="rect">
            <a:avLst/>
          </a:prstGeom>
          <a:noFill/>
        </p:spPr>
      </p:pic>
      <p:pic>
        <p:nvPicPr>
          <p:cNvPr id="27" name="Picture 4" descr="C:\Users\Екатерина Пикулева\Downloads\rynok-torgovlya-ovoschami-i-fruktami-0000831091-preview.jpg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44" cstate="print">
            <a:lum bright="10000" contrast="-20000"/>
          </a:blip>
          <a:srcRect t="11452" b="18510"/>
          <a:stretch>
            <a:fillRect/>
          </a:stretch>
        </p:blipFill>
        <p:spPr bwMode="auto">
          <a:xfrm>
            <a:off x="807256" y="3680301"/>
            <a:ext cx="1263022" cy="786694"/>
          </a:xfrm>
          <a:prstGeom prst="rect">
            <a:avLst/>
          </a:prstGeom>
          <a:noFill/>
        </p:spPr>
      </p:pic>
      <p:sp>
        <p:nvSpPr>
          <p:cNvPr id="28" name="Прямоугольник 27"/>
          <p:cNvSpPr/>
          <p:nvPr>
            <p:custDataLst>
              <p:tags r:id="rId23"/>
            </p:custDataLst>
          </p:nvPr>
        </p:nvSpPr>
        <p:spPr>
          <a:xfrm>
            <a:off x="2070278" y="2449161"/>
            <a:ext cx="9691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  <a:defRPr/>
            </a:pPr>
            <a:r>
              <a:rPr lang="ru-RU" sz="1400" dirty="0" smtClean="0"/>
              <a:t>Сфера услуг</a:t>
            </a:r>
          </a:p>
        </p:txBody>
      </p:sp>
      <p:sp>
        <p:nvSpPr>
          <p:cNvPr id="29" name="Прямоугольник 28"/>
          <p:cNvSpPr/>
          <p:nvPr>
            <p:custDataLst>
              <p:tags r:id="rId24"/>
            </p:custDataLst>
          </p:nvPr>
        </p:nvSpPr>
        <p:spPr>
          <a:xfrm>
            <a:off x="2070278" y="3919759"/>
            <a:ext cx="9324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  <a:defRPr/>
            </a:pPr>
            <a:r>
              <a:rPr lang="ru-RU" sz="1400" dirty="0" smtClean="0"/>
              <a:t>Торговля</a:t>
            </a:r>
          </a:p>
        </p:txBody>
      </p:sp>
      <p:cxnSp>
        <p:nvCxnSpPr>
          <p:cNvPr id="30" name="AutoShape 11"/>
          <p:cNvCxnSpPr>
            <a:cxnSpLocks noChangeShapeType="1"/>
            <a:stCxn id="12" idx="3"/>
          </p:cNvCxnSpPr>
          <p:nvPr>
            <p:custDataLst>
              <p:tags r:id="rId25"/>
            </p:custDataLst>
          </p:nvPr>
        </p:nvCxnSpPr>
        <p:spPr bwMode="auto">
          <a:xfrm>
            <a:off x="3325185" y="1468560"/>
            <a:ext cx="594864" cy="48565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 type="triangle" w="med" len="med"/>
            <a:tailEnd type="none" w="med" len="med"/>
          </a:ln>
        </p:spPr>
      </p:cxnSp>
      <p:cxnSp>
        <p:nvCxnSpPr>
          <p:cNvPr id="31" name="AutoShape 12"/>
          <p:cNvCxnSpPr>
            <a:cxnSpLocks noChangeShapeType="1"/>
            <a:stCxn id="9" idx="3"/>
            <a:endCxn id="16" idx="2"/>
          </p:cNvCxnSpPr>
          <p:nvPr>
            <p:custDataLst>
              <p:tags r:id="rId26"/>
            </p:custDataLst>
          </p:nvPr>
        </p:nvCxnSpPr>
        <p:spPr bwMode="auto">
          <a:xfrm flipV="1">
            <a:off x="3325185" y="3580430"/>
            <a:ext cx="1030678" cy="493218"/>
          </a:xfrm>
          <a:prstGeom prst="curvedConnector2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none" w="med" len="med"/>
          </a:ln>
        </p:spPr>
      </p:cxnSp>
      <p:cxnSp>
        <p:nvCxnSpPr>
          <p:cNvPr id="32" name="AutoShape 13"/>
          <p:cNvCxnSpPr>
            <a:cxnSpLocks noChangeShapeType="1"/>
            <a:stCxn id="10" idx="1"/>
            <a:endCxn id="37" idx="2"/>
          </p:cNvCxnSpPr>
          <p:nvPr>
            <p:custDataLst>
              <p:tags r:id="rId27"/>
            </p:custDataLst>
          </p:nvPr>
        </p:nvCxnSpPr>
        <p:spPr bwMode="auto">
          <a:xfrm rot="10800000">
            <a:off x="5628180" y="3580430"/>
            <a:ext cx="1014044" cy="493218"/>
          </a:xfrm>
          <a:prstGeom prst="curvedConnector2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none" w="med" len="med"/>
          </a:ln>
        </p:spPr>
      </p:cxnSp>
      <p:cxnSp>
        <p:nvCxnSpPr>
          <p:cNvPr id="33" name="AutoShape 14"/>
          <p:cNvCxnSpPr>
            <a:cxnSpLocks noChangeShapeType="1"/>
            <a:stCxn id="7" idx="1"/>
          </p:cNvCxnSpPr>
          <p:nvPr>
            <p:custDataLst>
              <p:tags r:id="rId28"/>
            </p:custDataLst>
          </p:nvPr>
        </p:nvCxnSpPr>
        <p:spPr bwMode="auto">
          <a:xfrm rot="10800000" flipV="1">
            <a:off x="5926458" y="1468559"/>
            <a:ext cx="715767" cy="48565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 type="triangle" w="med" len="med"/>
            <a:tailEnd type="none" w="med" len="med"/>
          </a:ln>
        </p:spPr>
      </p:cxnSp>
      <p:cxnSp>
        <p:nvCxnSpPr>
          <p:cNvPr id="34" name="AutoShape 16"/>
          <p:cNvCxnSpPr>
            <a:cxnSpLocks noChangeShapeType="1"/>
          </p:cNvCxnSpPr>
          <p:nvPr>
            <p:custDataLst>
              <p:tags r:id="rId29"/>
            </p:custDataLst>
          </p:nvPr>
        </p:nvCxnSpPr>
        <p:spPr bwMode="auto">
          <a:xfrm rot="5400000" flipH="1" flipV="1">
            <a:off x="4647813" y="3941082"/>
            <a:ext cx="732058" cy="10754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none" w="med" len="med"/>
          </a:ln>
        </p:spPr>
      </p:cxnSp>
      <p:cxnSp>
        <p:nvCxnSpPr>
          <p:cNvPr id="35" name="AutoShape 17"/>
          <p:cNvCxnSpPr>
            <a:cxnSpLocks noChangeShapeType="1"/>
            <a:stCxn id="11" idx="3"/>
          </p:cNvCxnSpPr>
          <p:nvPr>
            <p:custDataLst>
              <p:tags r:id="rId30"/>
            </p:custDataLst>
          </p:nvPr>
        </p:nvCxnSpPr>
        <p:spPr bwMode="auto">
          <a:xfrm>
            <a:off x="3325185" y="2728437"/>
            <a:ext cx="371220" cy="99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none" w="med" len="med"/>
          </a:ln>
        </p:spPr>
      </p:cxnSp>
      <p:cxnSp>
        <p:nvCxnSpPr>
          <p:cNvPr id="36" name="AutoShape 18"/>
          <p:cNvCxnSpPr>
            <a:cxnSpLocks noChangeShapeType="1"/>
            <a:stCxn id="8" idx="1"/>
          </p:cNvCxnSpPr>
          <p:nvPr>
            <p:custDataLst>
              <p:tags r:id="rId31"/>
            </p:custDataLst>
          </p:nvPr>
        </p:nvCxnSpPr>
        <p:spPr bwMode="auto">
          <a:xfrm rot="10800000">
            <a:off x="6136266" y="2710771"/>
            <a:ext cx="505959" cy="17666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none" w="med" len="med"/>
          </a:ln>
        </p:spPr>
      </p:cxnSp>
      <p:pic>
        <p:nvPicPr>
          <p:cNvPr id="37" name="Picture 14" descr="Долина гейзеров на Камчатке празднует юбилей Мировые новости"/>
          <p:cNvPicPr>
            <a:picLocks noChangeAspect="1" noChangeArrowheads="1"/>
          </p:cNvPicPr>
          <p:nvPr>
            <p:custDataLst>
              <p:tags r:id="rId32"/>
            </p:custDataLst>
          </p:nvPr>
        </p:nvPicPr>
        <p:blipFill>
          <a:blip r:embed="rId45" cstate="print">
            <a:lum bright="10000" contrast="-20000"/>
          </a:blip>
          <a:srcRect/>
          <a:stretch>
            <a:fillRect/>
          </a:stretch>
        </p:blipFill>
        <p:spPr bwMode="auto">
          <a:xfrm>
            <a:off x="5015320" y="2729430"/>
            <a:ext cx="1225720" cy="851000"/>
          </a:xfrm>
          <a:prstGeom prst="rect">
            <a:avLst/>
          </a:prstGeom>
          <a:noFill/>
        </p:spPr>
      </p:pic>
      <p:pic>
        <p:nvPicPr>
          <p:cNvPr id="38" name="Picture 12" descr="Фото Камчатки"/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>
          <a:blip r:embed="rId46" cstate="print">
            <a:lum bright="10000" contrast="-20000"/>
          </a:blip>
          <a:srcRect/>
          <a:stretch>
            <a:fillRect/>
          </a:stretch>
        </p:blipFill>
        <p:spPr bwMode="auto">
          <a:xfrm>
            <a:off x="5015320" y="1983783"/>
            <a:ext cx="1225720" cy="745647"/>
          </a:xfrm>
          <a:prstGeom prst="rect">
            <a:avLst/>
          </a:prstGeom>
          <a:noFill/>
        </p:spPr>
      </p:pic>
      <p:sp>
        <p:nvSpPr>
          <p:cNvPr id="40" name="TextBox 39"/>
          <p:cNvSpPr txBox="1"/>
          <p:nvPr/>
        </p:nvSpPr>
        <p:spPr>
          <a:xfrm>
            <a:off x="409574" y="5502196"/>
            <a:ext cx="908685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180975">
              <a:spcBef>
                <a:spcPts val="600"/>
              </a:spcBef>
              <a:buFont typeface="Wingdings" pitchFamily="2" charset="2"/>
              <a:buChar char="ü"/>
            </a:pPr>
            <a:r>
              <a:rPr lang="ru-RU" sz="1400" dirty="0" smtClean="0"/>
              <a:t>Турист, прибывающий через порт на круизном лайнере за 1 день пребывания в Камчатском крае в среднем тратит 12 тыс. руб., а турист, прибывающий через аэропорт – 50 тыс. руб. </a:t>
            </a:r>
          </a:p>
          <a:p>
            <a:pPr indent="180975">
              <a:spcBef>
                <a:spcPts val="600"/>
              </a:spcBef>
              <a:buFont typeface="Wingdings" pitchFamily="2" charset="2"/>
              <a:buChar char="ü"/>
            </a:pPr>
            <a:r>
              <a:rPr lang="ru-RU" sz="1400" dirty="0" smtClean="0"/>
              <a:t>К 2025 г. расходы туристов на территории региона увеличатся до 28 млрд руб. в год в ценах 2014 г.</a:t>
            </a:r>
          </a:p>
          <a:p>
            <a:pPr indent="180975">
              <a:spcBef>
                <a:spcPts val="600"/>
              </a:spcBef>
              <a:buFont typeface="Wingdings" pitchFamily="2" charset="2"/>
              <a:buChar char="ü"/>
            </a:pPr>
            <a:r>
              <a:rPr lang="ru-RU" sz="1400" dirty="0" smtClean="0"/>
              <a:t>Развитие туризма позволит к 2025 г. создать около 24 тыс. рабочих мест </a:t>
            </a:r>
          </a:p>
        </p:txBody>
      </p:sp>
    </p:spTree>
    <p:extLst>
      <p:ext uri="{BB962C8B-B14F-4D97-AF65-F5344CB8AC3E}">
        <p14:creationId xmlns:p14="http://schemas.microsoft.com/office/powerpoint/2010/main" val="351196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Объект 5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08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8" cstate="print">
            <a:lum/>
          </a:blip>
          <a:srcRect l="34222" t="22916" r="27089" b="5208"/>
          <a:stretch>
            <a:fillRect/>
          </a:stretch>
        </p:blipFill>
        <p:spPr bwMode="auto">
          <a:xfrm>
            <a:off x="2194560" y="1189038"/>
            <a:ext cx="4716780" cy="4929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ru-RU" dirty="0" smtClean="0"/>
              <a:t>Площадка «Паратунка»</a:t>
            </a:r>
            <a:endParaRPr lang="ru-RU" baseline="30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Текст 23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0" y="6400424"/>
            <a:ext cx="9905999" cy="457576"/>
          </a:xfrm>
          <a:prstGeom prst="rect">
            <a:avLst/>
          </a:prstGeom>
        </p:spPr>
        <p:txBody>
          <a:bodyPr/>
          <a:lstStyle/>
          <a:p>
            <a:pPr marL="184150" marR="0" lvl="0" indent="-6350" algn="l" defTabSz="957816" rtl="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1 – </a:t>
            </a:r>
            <a:r>
              <a:rPr lang="ru-RU" sz="900" dirty="0" smtClean="0"/>
              <a:t>Потенциальный проект, не был включен в паспорт ТОР</a:t>
            </a:r>
          </a:p>
          <a:p>
            <a:pPr marL="184150" marR="0" lvl="0" indent="-6350" algn="l" defTabSz="957816" rtl="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2 – Есть</a:t>
            </a:r>
            <a:r>
              <a:rPr kumimoji="0" lang="ru-RU" sz="9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концепция развития площадки, проекты могут быть реализованы на 2 этапе </a:t>
            </a:r>
            <a:r>
              <a:rPr lang="ru-RU" sz="900" dirty="0" smtClean="0"/>
              <a:t>в случае привлечения инвесторов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4150" marR="0" lvl="0" indent="-6350" algn="l" defTabSz="957816" rtl="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Источники: аналитика АНО «НИСИПП»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0" name="Овал 39"/>
          <p:cNvSpPr/>
          <p:nvPr>
            <p:custDataLst>
              <p:tags r:id="rId7"/>
            </p:custDataLst>
          </p:nvPr>
        </p:nvSpPr>
        <p:spPr>
          <a:xfrm>
            <a:off x="5063496" y="1474790"/>
            <a:ext cx="214314" cy="214314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41" name="Овал 40"/>
          <p:cNvSpPr/>
          <p:nvPr>
            <p:custDataLst>
              <p:tags r:id="rId8"/>
            </p:custDataLst>
          </p:nvPr>
        </p:nvSpPr>
        <p:spPr>
          <a:xfrm>
            <a:off x="4491992" y="2974988"/>
            <a:ext cx="214314" cy="214314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42" name="Овал 41"/>
          <p:cNvSpPr/>
          <p:nvPr>
            <p:custDataLst>
              <p:tags r:id="rId9"/>
            </p:custDataLst>
          </p:nvPr>
        </p:nvSpPr>
        <p:spPr>
          <a:xfrm>
            <a:off x="3848096" y="3760806"/>
            <a:ext cx="214314" cy="214314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43" name="Овал 42"/>
          <p:cNvSpPr/>
          <p:nvPr>
            <p:custDataLst>
              <p:tags r:id="rId10"/>
            </p:custDataLst>
          </p:nvPr>
        </p:nvSpPr>
        <p:spPr>
          <a:xfrm>
            <a:off x="3563298" y="5118128"/>
            <a:ext cx="214314" cy="214314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44" name="TextBox 43"/>
          <p:cNvSpPr txBox="1"/>
          <p:nvPr>
            <p:custDataLst>
              <p:tags r:id="rId11"/>
            </p:custDataLst>
          </p:nvPr>
        </p:nvSpPr>
        <p:spPr>
          <a:xfrm>
            <a:off x="6979920" y="918647"/>
            <a:ext cx="2545079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ООО «Русский двор» – 2,2 млрд руб.</a:t>
            </a:r>
            <a:r>
              <a:rPr lang="ru-RU" sz="1200" b="1" baseline="30000" dirty="0" smtClean="0"/>
              <a:t> 1</a:t>
            </a:r>
            <a:endParaRPr lang="ru-RU" sz="1200" b="1" dirty="0" smtClean="0"/>
          </a:p>
          <a:p>
            <a:pPr algn="ctr"/>
            <a:r>
              <a:rPr lang="ru-RU" sz="1200" dirty="0" smtClean="0"/>
              <a:t>Гостиничный комплекс: поле для гольфа, теннисные корты, 2 вертолетных площадки, бани, ледовая арена, гостиница</a:t>
            </a:r>
          </a:p>
          <a:p>
            <a:pPr algn="ctr"/>
            <a:endParaRPr lang="ru-RU" sz="1200" b="1" dirty="0" smtClean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5267325" y="1566707"/>
            <a:ext cx="2064808" cy="29596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>
            <a:stCxn id="41" idx="6"/>
          </p:cNvCxnSpPr>
          <p:nvPr/>
        </p:nvCxnSpPr>
        <p:spPr>
          <a:xfrm>
            <a:off x="4706306" y="3082145"/>
            <a:ext cx="3805234" cy="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834390" y="5210175"/>
            <a:ext cx="2776534" cy="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>
            <p:custDataLst>
              <p:tags r:id="rId12"/>
            </p:custDataLst>
          </p:nvPr>
        </p:nvSpPr>
        <p:spPr>
          <a:xfrm>
            <a:off x="364067" y="938107"/>
            <a:ext cx="1778000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ДЦЮО «Алые паруса» – 2,3 млрд руб.</a:t>
            </a:r>
          </a:p>
          <a:p>
            <a:pPr algn="ctr"/>
            <a:r>
              <a:rPr lang="ru-RU" sz="1200" dirty="0" smtClean="0"/>
              <a:t>Аквапарк с пляжной зоной, гостиницы на 120 и 40 мест, 3 детских оздоровительных комплекса на 100 мест каждый, лечебно-оздоровительный комплекс, коттеджи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466724" y="4457725"/>
            <a:ext cx="154495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ООО «</a:t>
            </a:r>
            <a:r>
              <a:rPr lang="ru-RU" sz="1200" b="1" dirty="0" err="1" smtClean="0"/>
              <a:t>Тулуач</a:t>
            </a:r>
            <a:r>
              <a:rPr lang="ru-RU" sz="1200" b="1" dirty="0" smtClean="0"/>
              <a:t>» – 1,8 млрд руб.</a:t>
            </a:r>
          </a:p>
          <a:p>
            <a:pPr algn="ctr"/>
            <a:r>
              <a:rPr lang="ru-RU" sz="1200" dirty="0" smtClean="0"/>
              <a:t>Рекреационный центр на 300 человек</a:t>
            </a:r>
          </a:p>
        </p:txBody>
      </p:sp>
      <p:sp>
        <p:nvSpPr>
          <p:cNvPr id="78" name="TextBox 77"/>
          <p:cNvSpPr txBox="1"/>
          <p:nvPr>
            <p:custDataLst>
              <p:tags r:id="rId13"/>
            </p:custDataLst>
          </p:nvPr>
        </p:nvSpPr>
        <p:spPr>
          <a:xfrm>
            <a:off x="7150100" y="3212136"/>
            <a:ext cx="2289175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ИП </a:t>
            </a:r>
            <a:r>
              <a:rPr lang="ru-RU" sz="1200" b="1" dirty="0" err="1" smtClean="0"/>
              <a:t>Ветчинова</a:t>
            </a:r>
            <a:r>
              <a:rPr lang="ru-RU" sz="1200" b="1" dirty="0" smtClean="0"/>
              <a:t> – 2 млрд руб.</a:t>
            </a:r>
          </a:p>
          <a:p>
            <a:pPr algn="ctr"/>
            <a:r>
              <a:rPr lang="ru-RU" sz="1200" dirty="0" smtClean="0"/>
              <a:t>Гостиничный комплекс: поле для гольфа, теннисные корты, 2 вертолетных площадки, бани, ледовая арена, гостиница</a:t>
            </a:r>
          </a:p>
        </p:txBody>
      </p:sp>
      <p:cxnSp>
        <p:nvCxnSpPr>
          <p:cNvPr id="81" name="Прямая соединительная линия 80"/>
          <p:cNvCxnSpPr/>
          <p:nvPr/>
        </p:nvCxnSpPr>
        <p:spPr>
          <a:xfrm>
            <a:off x="7315201" y="1860230"/>
            <a:ext cx="1171574" cy="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>
            <a:endCxn id="42" idx="1"/>
          </p:cNvCxnSpPr>
          <p:nvPr/>
        </p:nvCxnSpPr>
        <p:spPr>
          <a:xfrm>
            <a:off x="1952171" y="2862943"/>
            <a:ext cx="1927311" cy="929249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/>
          <p:cNvCxnSpPr/>
          <p:nvPr/>
        </p:nvCxnSpPr>
        <p:spPr>
          <a:xfrm>
            <a:off x="869115" y="2864541"/>
            <a:ext cx="1080000" cy="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0350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2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2" cstate="print"/>
          <a:srcRect l="44531" t="26297" r="17114" b="5486"/>
          <a:stretch>
            <a:fillRect/>
          </a:stretch>
        </p:blipFill>
        <p:spPr bwMode="auto">
          <a:xfrm>
            <a:off x="2909871" y="1531938"/>
            <a:ext cx="4676262" cy="4678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Площадки «Аэропорт», «</a:t>
            </a:r>
            <a:r>
              <a:rPr lang="ru-RU" dirty="0" err="1" smtClean="0"/>
              <a:t>Витязь-Аэро</a:t>
            </a:r>
            <a:r>
              <a:rPr lang="ru-RU" dirty="0" smtClean="0"/>
              <a:t>», «Нагорный», «</a:t>
            </a:r>
            <a:r>
              <a:rPr lang="ru-RU" dirty="0" err="1" smtClean="0"/>
              <a:t>Зеленовские</a:t>
            </a:r>
            <a:r>
              <a:rPr lang="ru-RU" dirty="0" smtClean="0"/>
              <a:t> озерки»</a:t>
            </a:r>
            <a:endParaRPr lang="ru-RU" baseline="30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Текст 23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0" y="6286124"/>
            <a:ext cx="9905999" cy="476626"/>
          </a:xfrm>
          <a:prstGeom prst="rect">
            <a:avLst/>
          </a:prstGeom>
        </p:spPr>
        <p:txBody>
          <a:bodyPr/>
          <a:lstStyle/>
          <a:p>
            <a:pPr marL="184150" marR="0" lvl="0" indent="-6350" algn="l" defTabSz="957816" rtl="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1 – </a:t>
            </a:r>
            <a:r>
              <a:rPr lang="ru-RU" sz="900" noProof="0" dirty="0" smtClean="0"/>
              <a:t>Заявленные инвестиции 4 млрд руб., инвестиции согласно текущему проекту – около 2 млрд руб.</a:t>
            </a:r>
          </a:p>
          <a:p>
            <a:pPr marL="184150" indent="-6350" defTabSz="957816">
              <a:lnSpc>
                <a:spcPct val="90000"/>
              </a:lnSpc>
              <a:defRPr/>
            </a:pPr>
            <a:r>
              <a:rPr lang="ru-RU" sz="900" dirty="0" smtClean="0"/>
              <a:t>2 – Есть концепция развития площадки, проекты могут быть реализованы на 2 этапе в случае привлечения инвесторов</a:t>
            </a:r>
          </a:p>
          <a:p>
            <a:pPr marL="184150" indent="-6350" defTabSz="957816">
              <a:lnSpc>
                <a:spcPct val="90000"/>
              </a:lnSpc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3 – </a:t>
            </a:r>
            <a:r>
              <a:rPr lang="ru-RU" sz="900" dirty="0" smtClean="0"/>
              <a:t>Площадка предусматривает размещение нескольких резидентов (в настоящий момент 2)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4150" marR="0" lvl="0" indent="-6350" algn="l" defTabSz="957816" rtl="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Источники: аналитика АНО «НИСИПП»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4" name="Овал 23"/>
          <p:cNvSpPr/>
          <p:nvPr>
            <p:custDataLst>
              <p:tags r:id="rId7"/>
            </p:custDataLst>
          </p:nvPr>
        </p:nvSpPr>
        <p:spPr>
          <a:xfrm>
            <a:off x="4797715" y="4537076"/>
            <a:ext cx="216000" cy="216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Овал 24"/>
          <p:cNvSpPr/>
          <p:nvPr>
            <p:custDataLst>
              <p:tags r:id="rId8"/>
            </p:custDataLst>
          </p:nvPr>
        </p:nvSpPr>
        <p:spPr>
          <a:xfrm>
            <a:off x="3857909" y="2300513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Овал 25"/>
          <p:cNvSpPr/>
          <p:nvPr>
            <p:custDataLst>
              <p:tags r:id="rId9"/>
            </p:custDataLst>
          </p:nvPr>
        </p:nvSpPr>
        <p:spPr>
          <a:xfrm>
            <a:off x="3667403" y="1881431"/>
            <a:ext cx="216000" cy="216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Овал 26"/>
          <p:cNvSpPr/>
          <p:nvPr>
            <p:custDataLst>
              <p:tags r:id="rId10"/>
            </p:custDataLst>
          </p:nvPr>
        </p:nvSpPr>
        <p:spPr>
          <a:xfrm>
            <a:off x="4653782" y="3837173"/>
            <a:ext cx="216000" cy="216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Овал 27"/>
          <p:cNvSpPr/>
          <p:nvPr>
            <p:custDataLst>
              <p:tags r:id="rId11"/>
            </p:custDataLst>
          </p:nvPr>
        </p:nvSpPr>
        <p:spPr>
          <a:xfrm>
            <a:off x="3358382" y="5445840"/>
            <a:ext cx="216000" cy="216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5" name="TextBox 34"/>
          <p:cNvSpPr txBox="1"/>
          <p:nvPr>
            <p:custDataLst>
              <p:tags r:id="rId12"/>
            </p:custDataLst>
          </p:nvPr>
        </p:nvSpPr>
        <p:spPr>
          <a:xfrm>
            <a:off x="466725" y="3041199"/>
            <a:ext cx="2181225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ОАО «Гостиница «</a:t>
            </a:r>
            <a:r>
              <a:rPr lang="ru-RU" sz="1200" b="1" dirty="0" err="1" smtClean="0"/>
              <a:t>Авача</a:t>
            </a:r>
            <a:r>
              <a:rPr lang="ru-RU" sz="1200" b="1" dirty="0" smtClean="0"/>
              <a:t>» – 0,5 млрд руб. </a:t>
            </a:r>
            <a:endParaRPr lang="ru-RU" sz="1200" b="1" baseline="30000" dirty="0" smtClean="0"/>
          </a:p>
          <a:p>
            <a:pPr algn="ctr"/>
            <a:r>
              <a:rPr lang="ru-RU" sz="1200" dirty="0" smtClean="0"/>
              <a:t>Административно-лечебный корпус гостиничного типа на 150 номеров</a:t>
            </a: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7734300" y="5861527"/>
            <a:ext cx="1024890" cy="1589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>
            <a:endCxn id="28" idx="2"/>
          </p:cNvCxnSpPr>
          <p:nvPr/>
        </p:nvCxnSpPr>
        <p:spPr>
          <a:xfrm>
            <a:off x="834390" y="5553075"/>
            <a:ext cx="2523992" cy="765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862965" y="2276475"/>
            <a:ext cx="1889760" cy="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>
            <p:custDataLst>
              <p:tags r:id="rId13"/>
            </p:custDataLst>
          </p:nvPr>
        </p:nvSpPr>
        <p:spPr>
          <a:xfrm>
            <a:off x="266700" y="1242497"/>
            <a:ext cx="257175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ООО «Зеленая ферма» – 1,5 млрд руб.</a:t>
            </a:r>
          </a:p>
          <a:p>
            <a:pPr algn="ctr"/>
            <a:r>
              <a:rPr lang="ru-RU" sz="1200" dirty="0" smtClean="0"/>
              <a:t>Строительство тепличного комплекса</a:t>
            </a:r>
          </a:p>
        </p:txBody>
      </p:sp>
      <p:sp>
        <p:nvSpPr>
          <p:cNvPr id="41" name="TextBox 40"/>
          <p:cNvSpPr txBox="1"/>
          <p:nvPr>
            <p:custDataLst>
              <p:tags r:id="rId14"/>
            </p:custDataLst>
          </p:nvPr>
        </p:nvSpPr>
        <p:spPr>
          <a:xfrm>
            <a:off x="304801" y="4782106"/>
            <a:ext cx="25527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ОАО «</a:t>
            </a:r>
            <a:r>
              <a:rPr lang="ru-RU" sz="1200" b="1" dirty="0" err="1" smtClean="0"/>
              <a:t>Витязь-Аэро</a:t>
            </a:r>
            <a:r>
              <a:rPr lang="ru-RU" sz="1200" b="1" dirty="0" smtClean="0"/>
              <a:t>» – 0,6 млрд руб.</a:t>
            </a:r>
          </a:p>
          <a:p>
            <a:pPr algn="ctr"/>
            <a:r>
              <a:rPr lang="ru-RU" sz="1200" dirty="0" smtClean="0"/>
              <a:t>Строительство взлетно-посадочной полосы и необходимой инфраструктуры</a:t>
            </a:r>
          </a:p>
        </p:txBody>
      </p:sp>
      <p:sp>
        <p:nvSpPr>
          <p:cNvPr id="42" name="TextBox 41"/>
          <p:cNvSpPr txBox="1"/>
          <p:nvPr>
            <p:custDataLst>
              <p:tags r:id="rId15"/>
            </p:custDataLst>
          </p:nvPr>
        </p:nvSpPr>
        <p:spPr>
          <a:xfrm>
            <a:off x="7696795" y="2782032"/>
            <a:ext cx="1884759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ОАО «Камчатское авиационное предприятие» – 2 млрд руб.</a:t>
            </a:r>
            <a:r>
              <a:rPr lang="ru-RU" sz="1200" b="1" baseline="30000" dirty="0" smtClean="0"/>
              <a:t> 1</a:t>
            </a:r>
            <a:endParaRPr lang="ru-RU" sz="1200" b="1" dirty="0" smtClean="0"/>
          </a:p>
          <a:p>
            <a:pPr algn="ctr"/>
            <a:r>
              <a:rPr lang="ru-RU" sz="1200" dirty="0" smtClean="0"/>
              <a:t>Строительство нового терминала для внутренних и международных авиалиний </a:t>
            </a:r>
          </a:p>
        </p:txBody>
      </p:sp>
      <p:sp>
        <p:nvSpPr>
          <p:cNvPr id="43" name="TextBox 42"/>
          <p:cNvSpPr txBox="1"/>
          <p:nvPr>
            <p:custDataLst>
              <p:tags r:id="rId16"/>
            </p:custDataLst>
          </p:nvPr>
        </p:nvSpPr>
        <p:spPr>
          <a:xfrm>
            <a:off x="279400" y="1675765"/>
            <a:ext cx="252729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ООО «Экзотика </a:t>
            </a:r>
            <a:r>
              <a:rPr lang="ru-RU" sz="1200" b="1" dirty="0" err="1" smtClean="0"/>
              <a:t>трейдинг</a:t>
            </a:r>
            <a:r>
              <a:rPr lang="ru-RU" sz="1200" b="1" dirty="0" smtClean="0"/>
              <a:t>» – 2,1 млрд руб.</a:t>
            </a:r>
          </a:p>
          <a:p>
            <a:pPr algn="ctr"/>
            <a:r>
              <a:rPr lang="ru-RU" sz="1200" dirty="0" smtClean="0"/>
              <a:t>Строительство тепличного комплекса</a:t>
            </a:r>
          </a:p>
        </p:txBody>
      </p:sp>
      <p:cxnSp>
        <p:nvCxnSpPr>
          <p:cNvPr id="48" name="Прямая соединительная линия 47"/>
          <p:cNvCxnSpPr>
            <a:stCxn id="26" idx="2"/>
          </p:cNvCxnSpPr>
          <p:nvPr/>
        </p:nvCxnSpPr>
        <p:spPr>
          <a:xfrm rot="10800000" flipV="1">
            <a:off x="2758441" y="1989430"/>
            <a:ext cx="908963" cy="283869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>
            <p:custDataLst>
              <p:tags r:id="rId17"/>
            </p:custDataLst>
          </p:nvPr>
        </p:nvSpPr>
        <p:spPr>
          <a:xfrm>
            <a:off x="7730896" y="5075236"/>
            <a:ext cx="193357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ООО «Русский двор» – 1,5 млрд руб.</a:t>
            </a:r>
          </a:p>
          <a:p>
            <a:pPr algn="ctr"/>
            <a:r>
              <a:rPr lang="ru-RU" sz="1200" dirty="0" smtClean="0"/>
              <a:t>Строительство тепличного комплекса</a:t>
            </a:r>
          </a:p>
        </p:txBody>
      </p:sp>
      <p:cxnSp>
        <p:nvCxnSpPr>
          <p:cNvPr id="60" name="Прямая соединительная линия 59"/>
          <p:cNvCxnSpPr>
            <a:endCxn id="24" idx="5"/>
          </p:cNvCxnSpPr>
          <p:nvPr/>
        </p:nvCxnSpPr>
        <p:spPr>
          <a:xfrm rot="10800000">
            <a:off x="4982083" y="4721445"/>
            <a:ext cx="2757660" cy="1140513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rot="10800000" flipV="1">
            <a:off x="4824244" y="3952875"/>
            <a:ext cx="3938756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>
            <a:endCxn id="25" idx="3"/>
          </p:cNvCxnSpPr>
          <p:nvPr/>
        </p:nvCxnSpPr>
        <p:spPr>
          <a:xfrm rot="5400000" flipH="1" flipV="1">
            <a:off x="2521255" y="2640152"/>
            <a:ext cx="1523557" cy="1213016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/>
          <p:cNvCxnSpPr/>
          <p:nvPr/>
        </p:nvCxnSpPr>
        <p:spPr>
          <a:xfrm>
            <a:off x="858308" y="4024641"/>
            <a:ext cx="1809750" cy="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5361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Объект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56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8" cstate="print"/>
          <a:srcRect l="39922" t="23218" r="21953" b="4583"/>
          <a:stretch>
            <a:fillRect/>
          </a:stretch>
        </p:blipFill>
        <p:spPr bwMode="auto">
          <a:xfrm>
            <a:off x="2762250" y="1066800"/>
            <a:ext cx="4648200" cy="4951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ru-RU" dirty="0" smtClean="0"/>
              <a:t>Площадки «Порт», «Юг», «Центр»</a:t>
            </a:r>
            <a:endParaRPr lang="ru-RU" baseline="30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Текст 23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0" y="6372225"/>
            <a:ext cx="9905999" cy="514349"/>
          </a:xfrm>
          <a:prstGeom prst="rect">
            <a:avLst/>
          </a:prstGeom>
        </p:spPr>
        <p:txBody>
          <a:bodyPr/>
          <a:lstStyle/>
          <a:p>
            <a:pPr marL="184150" indent="-6350" defTabSz="957816">
              <a:lnSpc>
                <a:spcPct val="90000"/>
              </a:lnSpc>
              <a:defRPr/>
            </a:pPr>
            <a:r>
              <a:rPr lang="ru-RU" sz="900" noProof="0" dirty="0" smtClean="0"/>
              <a:t>1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–</a:t>
            </a:r>
            <a:r>
              <a:rPr kumimoji="0" lang="ru-RU" sz="9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0,5 млрд руб. – оценочная стоимость гостиницы. Заявленная стоимость проекта – 7 млрд руб. включает </a:t>
            </a:r>
            <a:r>
              <a:rPr lang="ru-RU" sz="900" dirty="0" smtClean="0"/>
              <a:t>торгово-развлекательный центр, при этом торгово-развлекательная деятельность не поддерживается в рамках ТОР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4150" marR="0" lvl="0" indent="-6350" algn="l" defTabSz="957816" rtl="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Источники: аналитика АНО «НИСИПП»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Овал 10"/>
          <p:cNvSpPr/>
          <p:nvPr>
            <p:custDataLst>
              <p:tags r:id="rId7"/>
            </p:custDataLst>
          </p:nvPr>
        </p:nvSpPr>
        <p:spPr>
          <a:xfrm>
            <a:off x="3915059" y="1613142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Овал 11"/>
          <p:cNvSpPr/>
          <p:nvPr/>
        </p:nvSpPr>
        <p:spPr>
          <a:xfrm>
            <a:off x="4799832" y="3378402"/>
            <a:ext cx="216000" cy="216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Овал 12"/>
          <p:cNvSpPr/>
          <p:nvPr>
            <p:custDataLst>
              <p:tags r:id="rId8"/>
            </p:custDataLst>
          </p:nvPr>
        </p:nvSpPr>
        <p:spPr>
          <a:xfrm>
            <a:off x="5333232" y="5004002"/>
            <a:ext cx="216000" cy="216000"/>
          </a:xfrm>
          <a:prstGeom prst="ellipse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091565" y="1714500"/>
            <a:ext cx="2824159" cy="1587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1047750" y="3468687"/>
            <a:ext cx="3829999" cy="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>
            <a:endCxn id="13" idx="2"/>
          </p:cNvCxnSpPr>
          <p:nvPr/>
        </p:nvCxnSpPr>
        <p:spPr>
          <a:xfrm flipV="1">
            <a:off x="1019175" y="5112002"/>
            <a:ext cx="4314057" cy="451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>
            <p:custDataLst>
              <p:tags r:id="rId9"/>
            </p:custDataLst>
          </p:nvPr>
        </p:nvSpPr>
        <p:spPr>
          <a:xfrm>
            <a:off x="466725" y="2307193"/>
            <a:ext cx="2238374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ОАО «ПКМТП» – 2,3 млрд руб.</a:t>
            </a:r>
          </a:p>
          <a:p>
            <a:pPr algn="ctr"/>
            <a:r>
              <a:rPr lang="ru-RU" sz="1200" dirty="0" smtClean="0"/>
              <a:t>Реконструкция причала №3 (длина 85 м) до 300 м, создание искусственного земельного участка, строительство здания пункта пропуска</a:t>
            </a:r>
          </a:p>
        </p:txBody>
      </p:sp>
      <p:sp>
        <p:nvSpPr>
          <p:cNvPr id="32" name="TextBox 31"/>
          <p:cNvSpPr txBox="1"/>
          <p:nvPr>
            <p:custDataLst>
              <p:tags r:id="rId10"/>
            </p:custDataLst>
          </p:nvPr>
        </p:nvSpPr>
        <p:spPr>
          <a:xfrm>
            <a:off x="466724" y="1116568"/>
            <a:ext cx="229552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ООО «Ариэль» – 0,5 млрд руб.</a:t>
            </a:r>
            <a:r>
              <a:rPr lang="ru-RU" sz="1200" b="1" baseline="30000" dirty="0" smtClean="0"/>
              <a:t>1</a:t>
            </a:r>
          </a:p>
          <a:p>
            <a:pPr algn="ctr"/>
            <a:r>
              <a:rPr lang="ru-RU" sz="1200" dirty="0" smtClean="0"/>
              <a:t>Гостиница на 200 мест, офисный центр, фитнес и бассейн</a:t>
            </a:r>
          </a:p>
        </p:txBody>
      </p:sp>
      <p:sp>
        <p:nvSpPr>
          <p:cNvPr id="33" name="TextBox 32"/>
          <p:cNvSpPr txBox="1"/>
          <p:nvPr>
            <p:custDataLst>
              <p:tags r:id="rId11"/>
            </p:custDataLst>
          </p:nvPr>
        </p:nvSpPr>
        <p:spPr>
          <a:xfrm>
            <a:off x="466725" y="4307443"/>
            <a:ext cx="25527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ЗАО «ПСРЗ» – 0,6 млрд руб.</a:t>
            </a:r>
          </a:p>
          <a:p>
            <a:pPr algn="ctr"/>
            <a:r>
              <a:rPr lang="ru-RU" sz="1200" dirty="0" smtClean="0"/>
              <a:t>Модернизация и расширение существующих судоремонтных мощностей</a:t>
            </a:r>
          </a:p>
        </p:txBody>
      </p:sp>
      <p:sp>
        <p:nvSpPr>
          <p:cNvPr id="34" name="Овал 33"/>
          <p:cNvSpPr/>
          <p:nvPr>
            <p:custDataLst>
              <p:tags r:id="rId12"/>
            </p:custDataLst>
          </p:nvPr>
        </p:nvSpPr>
        <p:spPr>
          <a:xfrm>
            <a:off x="4895082" y="3559377"/>
            <a:ext cx="216000" cy="216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7705725" y="4381500"/>
            <a:ext cx="1381125" cy="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>
            <a:stCxn id="34" idx="6"/>
          </p:cNvCxnSpPr>
          <p:nvPr/>
        </p:nvCxnSpPr>
        <p:spPr>
          <a:xfrm>
            <a:off x="5111082" y="3667377"/>
            <a:ext cx="2613693" cy="714123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>
            <p:custDataLst>
              <p:tags r:id="rId13"/>
            </p:custDataLst>
          </p:nvPr>
        </p:nvSpPr>
        <p:spPr>
          <a:xfrm>
            <a:off x="7554913" y="3602593"/>
            <a:ext cx="178593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/>
              <a:t>ООО «Невада-Восток» – 0,5 млрд руб.</a:t>
            </a:r>
          </a:p>
          <a:p>
            <a:pPr algn="ctr"/>
            <a:r>
              <a:rPr lang="ru-RU" sz="1200" dirty="0" smtClean="0"/>
              <a:t>Строительство </a:t>
            </a:r>
            <a:r>
              <a:rPr lang="ru-RU" sz="1200" dirty="0" err="1" smtClean="0"/>
              <a:t>логистического</a:t>
            </a:r>
            <a:r>
              <a:rPr lang="ru-RU" sz="1200" dirty="0" smtClean="0"/>
              <a:t> центра</a:t>
            </a:r>
          </a:p>
        </p:txBody>
      </p:sp>
    </p:spTree>
    <p:extLst>
      <p:ext uri="{BB962C8B-B14F-4D97-AF65-F5344CB8AC3E}">
        <p14:creationId xmlns:p14="http://schemas.microsoft.com/office/powerpoint/2010/main" val="3138519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ерспективные площадк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19</a:t>
            </a:fld>
            <a:endParaRPr lang="ru-RU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8" cstate="print">
            <a:lum/>
          </a:blip>
          <a:srcRect l="36343" t="15456" r="16097" b="7005"/>
          <a:stretch>
            <a:fillRect/>
          </a:stretch>
        </p:blipFill>
        <p:spPr bwMode="auto">
          <a:xfrm>
            <a:off x="2095500" y="1009650"/>
            <a:ext cx="5581650" cy="5112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Овал 5"/>
          <p:cNvSpPr/>
          <p:nvPr>
            <p:custDataLst>
              <p:tags r:id="rId1"/>
            </p:custDataLst>
          </p:nvPr>
        </p:nvSpPr>
        <p:spPr>
          <a:xfrm>
            <a:off x="6311850" y="4738638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Овал 6"/>
          <p:cNvSpPr/>
          <p:nvPr>
            <p:custDataLst>
              <p:tags r:id="rId2"/>
            </p:custDataLst>
          </p:nvPr>
        </p:nvSpPr>
        <p:spPr>
          <a:xfrm>
            <a:off x="2304282" y="5597727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Овал 7"/>
          <p:cNvSpPr/>
          <p:nvPr>
            <p:custDataLst>
              <p:tags r:id="rId3"/>
            </p:custDataLst>
          </p:nvPr>
        </p:nvSpPr>
        <p:spPr>
          <a:xfrm>
            <a:off x="3406725" y="2425650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Овал 8"/>
          <p:cNvSpPr/>
          <p:nvPr>
            <p:custDataLst>
              <p:tags r:id="rId4"/>
            </p:custDataLst>
          </p:nvPr>
        </p:nvSpPr>
        <p:spPr>
          <a:xfrm>
            <a:off x="7464375" y="1463625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Овал 9"/>
          <p:cNvSpPr/>
          <p:nvPr>
            <p:custDataLst>
              <p:tags r:id="rId5"/>
            </p:custDataLst>
          </p:nvPr>
        </p:nvSpPr>
        <p:spPr>
          <a:xfrm>
            <a:off x="6519182" y="5581667"/>
            <a:ext cx="216000" cy="216000"/>
          </a:xfrm>
          <a:prstGeom prst="ellipse">
            <a:avLst/>
          </a:prstGeom>
          <a:solidFill>
            <a:schemeClr val="bg2">
              <a:lumMod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400" dirty="0" err="1" smtClean="0">
              <a:solidFill>
                <a:schemeClr val="bg1"/>
              </a:solidFill>
            </a:endParaRPr>
          </a:p>
        </p:txBody>
      </p:sp>
      <p:sp>
        <p:nvSpPr>
          <p:cNvPr id="11" name="Овал 10"/>
          <p:cNvSpPr/>
          <p:nvPr>
            <p:custDataLst>
              <p:tags r:id="rId6"/>
            </p:custDataLst>
          </p:nvPr>
        </p:nvSpPr>
        <p:spPr>
          <a:xfrm>
            <a:off x="6738257" y="5715017"/>
            <a:ext cx="216000" cy="216000"/>
          </a:xfrm>
          <a:prstGeom prst="ellipse">
            <a:avLst/>
          </a:prstGeom>
          <a:solidFill>
            <a:schemeClr val="bg2">
              <a:lumMod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400" dirty="0" err="1" smtClean="0">
              <a:solidFill>
                <a:schemeClr val="bg1"/>
              </a:solidFill>
            </a:endParaRPr>
          </a:p>
        </p:txBody>
      </p:sp>
      <p:sp>
        <p:nvSpPr>
          <p:cNvPr id="12" name="Овал 11"/>
          <p:cNvSpPr/>
          <p:nvPr>
            <p:custDataLst>
              <p:tags r:id="rId7"/>
            </p:custDataLst>
          </p:nvPr>
        </p:nvSpPr>
        <p:spPr>
          <a:xfrm>
            <a:off x="6557282" y="5886467"/>
            <a:ext cx="216000" cy="216000"/>
          </a:xfrm>
          <a:prstGeom prst="ellipse">
            <a:avLst/>
          </a:prstGeom>
          <a:solidFill>
            <a:schemeClr val="bg2">
              <a:lumMod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400" dirty="0" err="1" smtClean="0">
              <a:solidFill>
                <a:schemeClr val="bg1"/>
              </a:solidFill>
            </a:endParaRPr>
          </a:p>
        </p:txBody>
      </p:sp>
      <p:sp>
        <p:nvSpPr>
          <p:cNvPr id="13" name="Овал 12"/>
          <p:cNvSpPr/>
          <p:nvPr>
            <p:custDataLst>
              <p:tags r:id="rId8"/>
            </p:custDataLst>
          </p:nvPr>
        </p:nvSpPr>
        <p:spPr>
          <a:xfrm>
            <a:off x="3562634" y="976538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Овал 13"/>
          <p:cNvSpPr/>
          <p:nvPr>
            <p:custDataLst>
              <p:tags r:id="rId9"/>
            </p:custDataLst>
          </p:nvPr>
        </p:nvSpPr>
        <p:spPr>
          <a:xfrm>
            <a:off x="3343553" y="976556"/>
            <a:ext cx="216000" cy="216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Овал 17"/>
          <p:cNvSpPr/>
          <p:nvPr>
            <p:custDataLst>
              <p:tags r:id="rId10"/>
            </p:custDataLst>
          </p:nvPr>
        </p:nvSpPr>
        <p:spPr>
          <a:xfrm>
            <a:off x="6292800" y="5346902"/>
            <a:ext cx="216000" cy="216000"/>
          </a:xfrm>
          <a:prstGeom prst="ellipse">
            <a:avLst/>
          </a:prstGeom>
          <a:solidFill>
            <a:srgbClr val="203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Овал 19"/>
          <p:cNvSpPr/>
          <p:nvPr>
            <p:custDataLst>
              <p:tags r:id="rId11"/>
            </p:custDataLst>
          </p:nvPr>
        </p:nvSpPr>
        <p:spPr>
          <a:xfrm>
            <a:off x="6966857" y="4419617"/>
            <a:ext cx="216000" cy="216000"/>
          </a:xfrm>
          <a:prstGeom prst="ellipse">
            <a:avLst/>
          </a:prstGeom>
          <a:solidFill>
            <a:schemeClr val="bg2">
              <a:lumMod val="5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400" dirty="0" err="1" smtClean="0">
              <a:solidFill>
                <a:schemeClr val="bg1"/>
              </a:solidFill>
            </a:endParaRPr>
          </a:p>
        </p:txBody>
      </p:sp>
      <p:sp>
        <p:nvSpPr>
          <p:cNvPr id="21" name="Овал 20"/>
          <p:cNvSpPr/>
          <p:nvPr>
            <p:custDataLst>
              <p:tags r:id="rId12"/>
            </p:custDataLst>
          </p:nvPr>
        </p:nvSpPr>
        <p:spPr>
          <a:xfrm>
            <a:off x="5200928" y="4110281"/>
            <a:ext cx="216000" cy="216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22" name="Прямая соединительная линия 21"/>
          <p:cNvCxnSpPr>
            <a:stCxn id="6" idx="6"/>
          </p:cNvCxnSpPr>
          <p:nvPr/>
        </p:nvCxnSpPr>
        <p:spPr>
          <a:xfrm flipV="1">
            <a:off x="6527850" y="4808538"/>
            <a:ext cx="2990800" cy="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>
            <p:custDataLst>
              <p:tags r:id="rId13"/>
            </p:custDataLst>
          </p:nvPr>
        </p:nvSpPr>
        <p:spPr>
          <a:xfrm>
            <a:off x="7826375" y="4439206"/>
            <a:ext cx="173355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/>
              <a:t>Горнолыжный курорт «Петровская сопка»</a:t>
            </a:r>
            <a:r>
              <a:rPr lang="ru-RU" sz="1200" baseline="30000" dirty="0" smtClean="0"/>
              <a:t> 1</a:t>
            </a:r>
            <a:endParaRPr lang="ru-RU" sz="1200" dirty="0" smtClean="0"/>
          </a:p>
        </p:txBody>
      </p:sp>
      <p:sp>
        <p:nvSpPr>
          <p:cNvPr id="26" name="Текст 23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0" y="6305550"/>
            <a:ext cx="9905999" cy="466725"/>
          </a:xfrm>
          <a:prstGeom prst="rect">
            <a:avLst/>
          </a:prstGeom>
        </p:spPr>
        <p:txBody>
          <a:bodyPr/>
          <a:lstStyle/>
          <a:p>
            <a:pPr marL="184150" marR="0" lvl="0" indent="-6350" algn="l" defTabSz="957816" rtl="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1 – Есть</a:t>
            </a:r>
            <a:r>
              <a:rPr kumimoji="0" lang="ru-RU" sz="9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концепция развития площадки, проекты могут быть реализованы на 2 этапе </a:t>
            </a:r>
            <a:r>
              <a:rPr lang="ru-RU" sz="900" dirty="0" smtClean="0"/>
              <a:t>в случае привлечения инвесторов</a:t>
            </a:r>
          </a:p>
          <a:p>
            <a:pPr marL="184150" lvl="0" indent="-6350" defTabSz="957816">
              <a:lnSpc>
                <a:spcPct val="90000"/>
              </a:lnSpc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Примечание: в рамках карты не отображены перспективные проекты </a:t>
            </a:r>
            <a:r>
              <a:rPr lang="ru-RU" sz="900" dirty="0" smtClean="0"/>
              <a:t>в сфере туризма «Малки» (93 км от г.Елизово на северо-запад), «</a:t>
            </a:r>
            <a:r>
              <a:rPr lang="ru-RU" sz="900" dirty="0" err="1" smtClean="0"/>
              <a:t>Начики</a:t>
            </a:r>
            <a:r>
              <a:rPr lang="ru-RU" sz="900" dirty="0" smtClean="0"/>
              <a:t>» (57 км от г.Елизово на северо-запад), площадки вблизи </a:t>
            </a:r>
            <a:r>
              <a:rPr lang="ru-RU" sz="900" err="1" smtClean="0"/>
              <a:t>Кроноцкого</a:t>
            </a:r>
            <a:r>
              <a:rPr lang="ru-RU" sz="900" smtClean="0"/>
              <a:t> заповедниа  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4150" marR="0" lvl="0" indent="-6350" algn="l" defTabSz="957816" rtl="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Источники: аналитика АНО «НИСИПП»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7" name="Прямая соединительная линия 26"/>
          <p:cNvCxnSpPr>
            <a:endCxn id="7" idx="2"/>
          </p:cNvCxnSpPr>
          <p:nvPr/>
        </p:nvCxnSpPr>
        <p:spPr>
          <a:xfrm>
            <a:off x="565150" y="5705475"/>
            <a:ext cx="1739132" cy="252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>
            <p:custDataLst>
              <p:tags r:id="rId15"/>
            </p:custDataLst>
          </p:nvPr>
        </p:nvSpPr>
        <p:spPr>
          <a:xfrm>
            <a:off x="374650" y="4943500"/>
            <a:ext cx="173355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/>
              <a:t>Горнолыжный курорт «</a:t>
            </a:r>
            <a:r>
              <a:rPr lang="ru-RU" sz="1200" dirty="0" err="1" smtClean="0"/>
              <a:t>Тополовый</a:t>
            </a:r>
            <a:r>
              <a:rPr lang="ru-RU" sz="1200" dirty="0" smtClean="0"/>
              <a:t> хребет», </a:t>
            </a:r>
          </a:p>
          <a:p>
            <a:pPr algn="ctr"/>
            <a:r>
              <a:rPr lang="ru-RU" sz="1200" dirty="0" smtClean="0"/>
              <a:t>5 гостиничных комплексов</a:t>
            </a:r>
            <a:r>
              <a:rPr lang="ru-RU" sz="1200" baseline="30000" dirty="0" smtClean="0"/>
              <a:t>1</a:t>
            </a:r>
          </a:p>
        </p:txBody>
      </p:sp>
      <p:cxnSp>
        <p:nvCxnSpPr>
          <p:cNvPr id="30" name="Прямая соединительная линия 29"/>
          <p:cNvCxnSpPr>
            <a:stCxn id="8" idx="2"/>
          </p:cNvCxnSpPr>
          <p:nvPr/>
        </p:nvCxnSpPr>
        <p:spPr>
          <a:xfrm rot="10800000" flipV="1">
            <a:off x="565151" y="2562223"/>
            <a:ext cx="2841575" cy="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>
            <p:custDataLst>
              <p:tags r:id="rId16"/>
            </p:custDataLst>
          </p:nvPr>
        </p:nvSpPr>
        <p:spPr>
          <a:xfrm>
            <a:off x="374650" y="2101875"/>
            <a:ext cx="173355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/>
              <a:t>Горнолыжный курорт «</a:t>
            </a:r>
            <a:r>
              <a:rPr lang="ru-RU" sz="1200" dirty="0" err="1" smtClean="0"/>
              <a:t>Седло-Морозная</a:t>
            </a:r>
            <a:r>
              <a:rPr lang="ru-RU" sz="1200" dirty="0" smtClean="0"/>
              <a:t>»</a:t>
            </a:r>
            <a:r>
              <a:rPr lang="ru-RU" sz="1200" baseline="30000" dirty="0" smtClean="0"/>
              <a:t>1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 rot="10800000" flipV="1">
            <a:off x="557025" y="1341662"/>
            <a:ext cx="1440000" cy="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>
            <p:custDataLst>
              <p:tags r:id="rId17"/>
            </p:custDataLst>
          </p:nvPr>
        </p:nvSpPr>
        <p:spPr>
          <a:xfrm>
            <a:off x="374650" y="892200"/>
            <a:ext cx="173355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err="1" smtClean="0"/>
              <a:t>Агропарк</a:t>
            </a:r>
            <a:r>
              <a:rPr lang="ru-RU" sz="1200" dirty="0" smtClean="0"/>
              <a:t> «</a:t>
            </a:r>
            <a:r>
              <a:rPr lang="ru-RU" sz="1200" dirty="0" err="1" smtClean="0"/>
              <a:t>Зеленовские</a:t>
            </a:r>
            <a:r>
              <a:rPr lang="ru-RU" sz="1200" dirty="0" smtClean="0"/>
              <a:t> озерки»</a:t>
            </a:r>
            <a:endParaRPr lang="ru-RU" sz="1200" baseline="30000" dirty="0" smtClean="0"/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 rot="10800000" flipV="1">
            <a:off x="557025" y="1932212"/>
            <a:ext cx="1440000" cy="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>
            <p:custDataLst>
              <p:tags r:id="rId18"/>
            </p:custDataLst>
          </p:nvPr>
        </p:nvSpPr>
        <p:spPr>
          <a:xfrm>
            <a:off x="374650" y="1482750"/>
            <a:ext cx="173355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/>
              <a:t>Туристический кластер «</a:t>
            </a:r>
            <a:r>
              <a:rPr lang="ru-RU" sz="1200" dirty="0" err="1" smtClean="0"/>
              <a:t>Зеленовские</a:t>
            </a:r>
            <a:r>
              <a:rPr lang="ru-RU" sz="1200" dirty="0" smtClean="0"/>
              <a:t> озерки»</a:t>
            </a:r>
            <a:endParaRPr lang="ru-RU" sz="1200" baseline="30000" dirty="0" smtClean="0"/>
          </a:p>
        </p:txBody>
      </p:sp>
      <p:cxnSp>
        <p:nvCxnSpPr>
          <p:cNvPr id="40" name="Прямая соединительная линия 39"/>
          <p:cNvCxnSpPr>
            <a:endCxn id="14" idx="2"/>
          </p:cNvCxnSpPr>
          <p:nvPr/>
        </p:nvCxnSpPr>
        <p:spPr>
          <a:xfrm flipV="1">
            <a:off x="2001520" y="1084556"/>
            <a:ext cx="1342033" cy="261644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>
            <a:endCxn id="13" idx="3"/>
          </p:cNvCxnSpPr>
          <p:nvPr/>
        </p:nvCxnSpPr>
        <p:spPr>
          <a:xfrm flipV="1">
            <a:off x="2001520" y="1160906"/>
            <a:ext cx="1592746" cy="764414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 rot="10800000" flipV="1">
            <a:off x="8078650" y="3998913"/>
            <a:ext cx="1440000" cy="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>
            <p:custDataLst>
              <p:tags r:id="rId19"/>
            </p:custDataLst>
          </p:nvPr>
        </p:nvSpPr>
        <p:spPr>
          <a:xfrm>
            <a:off x="7785100" y="1140897"/>
            <a:ext cx="173355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/>
              <a:t>Горнолыжный курорт «</a:t>
            </a:r>
            <a:r>
              <a:rPr lang="ru-RU" sz="1200" dirty="0" err="1" smtClean="0"/>
              <a:t>Авача</a:t>
            </a:r>
            <a:r>
              <a:rPr lang="ru-RU" sz="1200" dirty="0" smtClean="0"/>
              <a:t>»</a:t>
            </a:r>
            <a:r>
              <a:rPr lang="ru-RU" sz="1200" baseline="30000" dirty="0" smtClean="0"/>
              <a:t> 1</a:t>
            </a:r>
            <a:endParaRPr lang="ru-RU" sz="1200" dirty="0" smtClean="0"/>
          </a:p>
        </p:txBody>
      </p:sp>
      <p:cxnSp>
        <p:nvCxnSpPr>
          <p:cNvPr id="52" name="Прямая соединительная линия 51"/>
          <p:cNvCxnSpPr>
            <a:stCxn id="21" idx="2"/>
          </p:cNvCxnSpPr>
          <p:nvPr/>
        </p:nvCxnSpPr>
        <p:spPr>
          <a:xfrm rot="10800000" flipV="1">
            <a:off x="565152" y="4229096"/>
            <a:ext cx="4635776" cy="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>
            <p:custDataLst>
              <p:tags r:id="rId20"/>
            </p:custDataLst>
          </p:nvPr>
        </p:nvSpPr>
        <p:spPr>
          <a:xfrm>
            <a:off x="374650" y="4006875"/>
            <a:ext cx="17335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err="1" smtClean="0"/>
              <a:t>Агропарк</a:t>
            </a:r>
            <a:r>
              <a:rPr lang="ru-RU" sz="1200" dirty="0" smtClean="0"/>
              <a:t> «</a:t>
            </a:r>
            <a:r>
              <a:rPr lang="ru-RU" sz="1200" dirty="0" err="1" smtClean="0"/>
              <a:t>Авача</a:t>
            </a:r>
            <a:r>
              <a:rPr lang="ru-RU" sz="1200" dirty="0" smtClean="0"/>
              <a:t>»</a:t>
            </a:r>
            <a:endParaRPr lang="ru-RU" sz="1200" baseline="30000" dirty="0" smtClean="0"/>
          </a:p>
        </p:txBody>
      </p:sp>
      <p:sp>
        <p:nvSpPr>
          <p:cNvPr id="56" name="TextBox 55"/>
          <p:cNvSpPr txBox="1"/>
          <p:nvPr>
            <p:custDataLst>
              <p:tags r:id="rId21"/>
            </p:custDataLst>
          </p:nvPr>
        </p:nvSpPr>
        <p:spPr>
          <a:xfrm>
            <a:off x="7785100" y="3622110"/>
            <a:ext cx="173355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/>
              <a:t>Промышленный парк «Дальний»</a:t>
            </a:r>
          </a:p>
        </p:txBody>
      </p:sp>
      <p:cxnSp>
        <p:nvCxnSpPr>
          <p:cNvPr id="57" name="Прямая соединительная линия 56"/>
          <p:cNvCxnSpPr>
            <a:endCxn id="18" idx="7"/>
          </p:cNvCxnSpPr>
          <p:nvPr/>
        </p:nvCxnSpPr>
        <p:spPr>
          <a:xfrm rot="10800000">
            <a:off x="6477168" y="5399088"/>
            <a:ext cx="3041482" cy="0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>
            <p:custDataLst>
              <p:tags r:id="rId22"/>
            </p:custDataLst>
          </p:nvPr>
        </p:nvSpPr>
        <p:spPr>
          <a:xfrm>
            <a:off x="7785100" y="5022285"/>
            <a:ext cx="173355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/>
              <a:t>Территория ЗАО «</a:t>
            </a:r>
            <a:r>
              <a:rPr lang="ru-RU" sz="1200" dirty="0" err="1" smtClean="0"/>
              <a:t>Судоремсервис</a:t>
            </a:r>
            <a:r>
              <a:rPr lang="ru-RU" sz="1200" dirty="0" smtClean="0"/>
              <a:t>»</a:t>
            </a:r>
          </a:p>
        </p:txBody>
      </p:sp>
      <p:cxnSp>
        <p:nvCxnSpPr>
          <p:cNvPr id="59" name="Прямая соединительная линия 58"/>
          <p:cNvCxnSpPr>
            <a:endCxn id="12" idx="6"/>
          </p:cNvCxnSpPr>
          <p:nvPr/>
        </p:nvCxnSpPr>
        <p:spPr>
          <a:xfrm rot="10800000" flipV="1">
            <a:off x="6773282" y="5989637"/>
            <a:ext cx="2745368" cy="4829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>
            <p:custDataLst>
              <p:tags r:id="rId23"/>
            </p:custDataLst>
          </p:nvPr>
        </p:nvSpPr>
        <p:spPr>
          <a:xfrm>
            <a:off x="7785100" y="5612835"/>
            <a:ext cx="173355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/>
              <a:t>Площадки «Юг-1», </a:t>
            </a:r>
          </a:p>
          <a:p>
            <a:pPr algn="ctr"/>
            <a:r>
              <a:rPr lang="ru-RU" sz="1200" dirty="0" smtClean="0"/>
              <a:t>«Юг-2», «Юг-3»</a:t>
            </a:r>
          </a:p>
        </p:txBody>
      </p:sp>
      <p:cxnSp>
        <p:nvCxnSpPr>
          <p:cNvPr id="62" name="Прямая соединительная линия 61"/>
          <p:cNvCxnSpPr>
            <a:stCxn id="20" idx="7"/>
          </p:cNvCxnSpPr>
          <p:nvPr/>
        </p:nvCxnSpPr>
        <p:spPr>
          <a:xfrm rot="5400000" flipH="1" flipV="1">
            <a:off x="7393600" y="3758126"/>
            <a:ext cx="450748" cy="935499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>
            <a:endCxn id="9" idx="6"/>
          </p:cNvCxnSpPr>
          <p:nvPr/>
        </p:nvCxnSpPr>
        <p:spPr>
          <a:xfrm rot="10800000" flipV="1">
            <a:off x="7680376" y="1560511"/>
            <a:ext cx="1838275" cy="11113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Овал 70"/>
          <p:cNvSpPr/>
          <p:nvPr>
            <p:custDataLst>
              <p:tags r:id="rId24"/>
            </p:custDataLst>
          </p:nvPr>
        </p:nvSpPr>
        <p:spPr>
          <a:xfrm>
            <a:off x="2152928" y="5929556"/>
            <a:ext cx="216000" cy="216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72" name="Прямая соединительная линия 71"/>
          <p:cNvCxnSpPr>
            <a:stCxn id="71" idx="4"/>
          </p:cNvCxnSpPr>
          <p:nvPr/>
        </p:nvCxnSpPr>
        <p:spPr>
          <a:xfrm rot="5400000" flipH="1">
            <a:off x="1406688" y="5279861"/>
            <a:ext cx="0" cy="1708478"/>
          </a:xfrm>
          <a:prstGeom prst="line">
            <a:avLst/>
          </a:prstGeom>
          <a:ln>
            <a:solidFill>
              <a:srgbClr val="0051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>
            <p:custDataLst>
              <p:tags r:id="rId25"/>
            </p:custDataLst>
          </p:nvPr>
        </p:nvSpPr>
        <p:spPr>
          <a:xfrm>
            <a:off x="374650" y="5759475"/>
            <a:ext cx="173355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smtClean="0"/>
              <a:t>Тепличное хозяйство в п.Термальном</a:t>
            </a:r>
            <a:endParaRPr lang="ru-RU" sz="1200" baseline="30000" dirty="0" smtClean="0"/>
          </a:p>
        </p:txBody>
      </p:sp>
    </p:spTree>
    <p:extLst>
      <p:ext uri="{BB962C8B-B14F-4D97-AF65-F5344CB8AC3E}">
        <p14:creationId xmlns:p14="http://schemas.microsoft.com/office/powerpoint/2010/main" val="184542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6491" y="234692"/>
            <a:ext cx="8709810" cy="625036"/>
          </a:xfrm>
        </p:spPr>
        <p:txBody>
          <a:bodyPr>
            <a:noAutofit/>
          </a:bodyPr>
          <a:lstStyle/>
          <a:p>
            <a:r>
              <a:rPr lang="ru-RU" sz="1900" dirty="0" smtClean="0"/>
              <a:t>Инструмент ТОР предназначен для обеспечения опережающего социально-экономического развития регионов</a:t>
            </a:r>
            <a:endParaRPr lang="ru-RU" sz="19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51233" y="1469236"/>
            <a:ext cx="2886321" cy="4500500"/>
          </a:xfrm>
          <a:prstGeom prst="roundRect">
            <a:avLst/>
          </a:prstGeom>
          <a:solidFill>
            <a:srgbClr val="DEEBF7">
              <a:alpha val="75000"/>
            </a:srgb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indent="0" algn="ctr">
              <a:lnSpc>
                <a:spcPct val="110000"/>
              </a:lnSpc>
              <a:buClr>
                <a:schemeClr val="tx2"/>
              </a:buClr>
              <a:buNone/>
            </a:pPr>
            <a:r>
              <a:rPr lang="ru-RU" sz="1400" b="1" dirty="0" err="1" smtClean="0">
                <a:solidFill>
                  <a:schemeClr val="tx2"/>
                </a:solidFill>
              </a:rPr>
              <a:t>ТОРы</a:t>
            </a:r>
            <a:r>
              <a:rPr lang="ru-RU" sz="1400" b="1" dirty="0" smtClean="0">
                <a:solidFill>
                  <a:schemeClr val="tx2"/>
                </a:solidFill>
              </a:rPr>
              <a:t> </a:t>
            </a:r>
            <a:r>
              <a:rPr lang="ru-RU" sz="1400" b="1" dirty="0">
                <a:solidFill>
                  <a:schemeClr val="tx2"/>
                </a:solidFill>
              </a:rPr>
              <a:t>создаются </a:t>
            </a:r>
          </a:p>
          <a:p>
            <a:pPr indent="0" algn="ctr">
              <a:lnSpc>
                <a:spcPct val="110000"/>
              </a:lnSpc>
              <a:buClr>
                <a:schemeClr val="tx2"/>
              </a:buClr>
              <a:buNone/>
            </a:pPr>
            <a:r>
              <a:rPr lang="ru-RU" sz="1400" b="1" dirty="0">
                <a:solidFill>
                  <a:schemeClr val="tx2"/>
                </a:solidFill>
              </a:rPr>
              <a:t>в соответствии </a:t>
            </a:r>
          </a:p>
          <a:p>
            <a:pPr indent="0" algn="ctr">
              <a:lnSpc>
                <a:spcPct val="110000"/>
              </a:lnSpc>
              <a:buClr>
                <a:schemeClr val="tx2"/>
              </a:buClr>
              <a:buNone/>
            </a:pPr>
            <a:r>
              <a:rPr lang="ru-RU" sz="1400" b="1" dirty="0">
                <a:solidFill>
                  <a:schemeClr val="tx2"/>
                </a:solidFill>
              </a:rPr>
              <a:t>с ФЗ № 473 </a:t>
            </a:r>
          </a:p>
          <a:p>
            <a:pPr indent="0" algn="ctr">
              <a:lnSpc>
                <a:spcPct val="110000"/>
              </a:lnSpc>
              <a:buClr>
                <a:schemeClr val="tx2"/>
              </a:buClr>
              <a:buNone/>
            </a:pPr>
            <a:r>
              <a:rPr lang="ru-RU" sz="1400" b="1" dirty="0">
                <a:solidFill>
                  <a:schemeClr val="tx2"/>
                </a:solidFill>
              </a:rPr>
              <a:t>от 29 декабря 2014 г.</a:t>
            </a:r>
          </a:p>
        </p:txBody>
      </p:sp>
      <p:sp>
        <p:nvSpPr>
          <p:cNvPr id="7" name="Isosceles Triangle 18"/>
          <p:cNvSpPr/>
          <p:nvPr>
            <p:custDataLst>
              <p:tags r:id="rId1"/>
            </p:custDataLst>
          </p:nvPr>
        </p:nvSpPr>
        <p:spPr>
          <a:xfrm rot="16200000" flipV="1">
            <a:off x="2019154" y="3561262"/>
            <a:ext cx="4500501" cy="316447"/>
          </a:xfrm>
          <a:prstGeom prst="triangle">
            <a:avLst/>
          </a:prstGeom>
          <a:solidFill>
            <a:srgbClr val="DEEBF7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130203" y="1268357"/>
            <a:ext cx="4232871" cy="1903468"/>
          </a:xfrm>
          <a:prstGeom prst="roundRect">
            <a:avLst>
              <a:gd name="adj" fmla="val 8189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2563" indent="-182563">
              <a:buFont typeface="Wingdings" pitchFamily="2" charset="2"/>
              <a:buChar char="§"/>
            </a:pPr>
            <a:endParaRPr lang="ru-RU" sz="1200" dirty="0" smtClean="0">
              <a:solidFill>
                <a:schemeClr val="tx1"/>
              </a:solidFill>
            </a:endParaRPr>
          </a:p>
          <a:p>
            <a:pPr marL="183600" indent="-182563">
              <a:buClr>
                <a:schemeClr val="accent1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н</a:t>
            </a:r>
            <a:r>
              <a:rPr lang="ru-RU" sz="1200" dirty="0" smtClean="0">
                <a:solidFill>
                  <a:schemeClr val="tx1"/>
                </a:solidFill>
              </a:rPr>
              <a:t>алоговые льготы</a:t>
            </a:r>
          </a:p>
          <a:p>
            <a:pPr marL="183600" lvl="0" indent="-182563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режим свободной таможенной зоны</a:t>
            </a:r>
          </a:p>
          <a:p>
            <a:pPr marL="183600" lvl="0" indent="-182563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привлечение иностранных работников вне квот</a:t>
            </a:r>
          </a:p>
          <a:p>
            <a:pPr marL="183600" lvl="0" indent="-182563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ru-RU" sz="1200" dirty="0" err="1">
                <a:solidFill>
                  <a:schemeClr val="tx1"/>
                </a:solidFill>
              </a:rPr>
              <a:t>софинансирование</a:t>
            </a:r>
            <a:r>
              <a:rPr lang="ru-RU" sz="1200" dirty="0">
                <a:solidFill>
                  <a:schemeClr val="tx1"/>
                </a:solidFill>
              </a:rPr>
              <a:t> создания транспортной и инженерной инфраструктуры из бюджетных средств</a:t>
            </a:r>
          </a:p>
          <a:p>
            <a:pPr marL="183600" lvl="0" indent="-182563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льготные условия аренды</a:t>
            </a:r>
          </a:p>
          <a:p>
            <a:pPr marL="183600" lvl="0" indent="-182563">
              <a:lnSpc>
                <a:spcPct val="110000"/>
              </a:lnSpc>
              <a:buClr>
                <a:schemeClr val="accent1"/>
              </a:buClr>
              <a:buFont typeface="Wingdings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упрощение и ускорение прохождения отдельных административных процедур</a:t>
            </a:r>
          </a:p>
        </p:txBody>
      </p:sp>
      <p:sp>
        <p:nvSpPr>
          <p:cNvPr id="9" name="Содержимое 2"/>
          <p:cNvSpPr txBox="1">
            <a:spLocks/>
          </p:cNvSpPr>
          <p:nvPr/>
        </p:nvSpPr>
        <p:spPr>
          <a:xfrm>
            <a:off x="5854180" y="992938"/>
            <a:ext cx="2794519" cy="5040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Преференции для резидентов</a:t>
            </a:r>
            <a:endParaRPr lang="ru-RU" sz="900" b="1" dirty="0" smtClean="0">
              <a:solidFill>
                <a:schemeClr val="tx2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5300400" y="992938"/>
            <a:ext cx="546000" cy="5040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bg1"/>
                </a:solidFill>
              </a:rPr>
              <a:t>1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130204" y="3659153"/>
            <a:ext cx="4232870" cy="1168416"/>
          </a:xfrm>
          <a:prstGeom prst="roundRect">
            <a:avLst>
              <a:gd name="adj" fmla="val 8189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2563" indent="-182563">
              <a:buFont typeface="Wingdings" pitchFamily="2" charset="2"/>
              <a:buChar char="§"/>
            </a:pPr>
            <a:endParaRPr lang="ru-RU" sz="1200" dirty="0" smtClean="0">
              <a:solidFill>
                <a:schemeClr val="tx1"/>
              </a:solidFill>
            </a:endParaRPr>
          </a:p>
          <a:p>
            <a:pPr marL="182563" indent="-182563">
              <a:buClr>
                <a:schemeClr val="accent1"/>
              </a:buClr>
              <a:buFont typeface="Wingdings" pitchFamily="2" charset="2"/>
              <a:buChar char="§"/>
            </a:pPr>
            <a:endParaRPr lang="ru-RU" sz="1200" dirty="0" smtClean="0">
              <a:solidFill>
                <a:schemeClr val="tx1"/>
              </a:solidFill>
            </a:endParaRPr>
          </a:p>
          <a:p>
            <a:pPr marL="182563" indent="-182563">
              <a:buClr>
                <a:schemeClr val="accent1"/>
              </a:buClr>
              <a:buFont typeface="Wingdings" pitchFamily="2" charset="2"/>
              <a:buChar char="§"/>
            </a:pPr>
            <a:r>
              <a:rPr lang="ru-RU" sz="1200" dirty="0" smtClean="0">
                <a:solidFill>
                  <a:schemeClr val="tx1"/>
                </a:solidFill>
              </a:rPr>
              <a:t>Производство подакцизных товаров</a:t>
            </a:r>
          </a:p>
          <a:p>
            <a:pPr marL="182563" indent="-182563">
              <a:buClr>
                <a:schemeClr val="accent1"/>
              </a:buClr>
              <a:buFont typeface="Wingdings" pitchFamily="2" charset="2"/>
              <a:buChar char="§"/>
            </a:pPr>
            <a:r>
              <a:rPr lang="ru-RU" sz="1200" dirty="0" smtClean="0">
                <a:solidFill>
                  <a:schemeClr val="tx1"/>
                </a:solidFill>
              </a:rPr>
              <a:t>Нефтегазовый сектор, в </a:t>
            </a:r>
            <a:r>
              <a:rPr lang="ru-RU" sz="1200" dirty="0" err="1" smtClean="0">
                <a:solidFill>
                  <a:schemeClr val="tx1"/>
                </a:solidFill>
              </a:rPr>
              <a:t>т.ч</a:t>
            </a:r>
            <a:r>
              <a:rPr lang="ru-RU" sz="1200" dirty="0" smtClean="0">
                <a:solidFill>
                  <a:schemeClr val="tx1"/>
                </a:solidFill>
              </a:rPr>
              <a:t>.  </a:t>
            </a:r>
            <a:r>
              <a:rPr lang="ru-RU" sz="1200" dirty="0">
                <a:solidFill>
                  <a:schemeClr val="tx1"/>
                </a:solidFill>
              </a:rPr>
              <a:t>т</a:t>
            </a:r>
            <a:r>
              <a:rPr lang="ru-RU" sz="1200" dirty="0" smtClean="0">
                <a:solidFill>
                  <a:schemeClr val="tx1"/>
                </a:solidFill>
              </a:rPr>
              <a:t>ранспортировка нефти и газа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2" name="Содержимое 2"/>
          <p:cNvSpPr txBox="1">
            <a:spLocks/>
          </p:cNvSpPr>
          <p:nvPr/>
        </p:nvSpPr>
        <p:spPr>
          <a:xfrm>
            <a:off x="5854181" y="3383734"/>
            <a:ext cx="2794519" cy="5040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Запрещенные виды деятельность</a:t>
            </a:r>
            <a:endParaRPr lang="ru-RU" sz="900" b="1" dirty="0" smtClean="0">
              <a:solidFill>
                <a:schemeClr val="tx2"/>
              </a:solidFill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5300400" y="3383734"/>
            <a:ext cx="546000" cy="5040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bg1"/>
                </a:solidFill>
              </a:rPr>
              <a:t>2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130204" y="5192699"/>
            <a:ext cx="4232870" cy="1168416"/>
          </a:xfrm>
          <a:prstGeom prst="roundRect">
            <a:avLst>
              <a:gd name="adj" fmla="val 8189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2563" indent="-182563">
              <a:buFont typeface="Wingdings" pitchFamily="2" charset="2"/>
              <a:buChar char="§"/>
            </a:pPr>
            <a:endParaRPr lang="ru-RU" sz="1200" dirty="0" smtClean="0">
              <a:solidFill>
                <a:schemeClr val="tx1"/>
              </a:solidFill>
            </a:endParaRPr>
          </a:p>
          <a:p>
            <a:pPr marL="182563" indent="-182563">
              <a:buClr>
                <a:schemeClr val="tx2"/>
              </a:buClr>
              <a:buFont typeface="Wingdings" pitchFamily="2" charset="2"/>
              <a:buChar char="§"/>
            </a:pPr>
            <a:endParaRPr lang="ru-RU" sz="1200" dirty="0" smtClean="0">
              <a:solidFill>
                <a:schemeClr val="tx1"/>
              </a:solidFill>
            </a:endParaRPr>
          </a:p>
          <a:p>
            <a:pPr marL="182563" indent="-182563"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 smtClean="0">
                <a:solidFill>
                  <a:schemeClr val="tx1"/>
                </a:solidFill>
              </a:rPr>
              <a:t>Объем осуществляемых инвестиций</a:t>
            </a:r>
          </a:p>
          <a:p>
            <a:pPr marL="182563" indent="-182563"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200" dirty="0" smtClean="0">
                <a:solidFill>
                  <a:schemeClr val="tx1"/>
                </a:solidFill>
              </a:rPr>
              <a:t>Преференции предоставляются только для реализации новых инвестиционных проектов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5" name="Содержимое 2"/>
          <p:cNvSpPr txBox="1">
            <a:spLocks/>
          </p:cNvSpPr>
          <p:nvPr/>
        </p:nvSpPr>
        <p:spPr>
          <a:xfrm>
            <a:off x="5854181" y="4917280"/>
            <a:ext cx="2794519" cy="50400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Критерии к резидентам </a:t>
            </a:r>
            <a:endParaRPr lang="ru-RU" sz="900" b="1" dirty="0" smtClean="0">
              <a:solidFill>
                <a:schemeClr val="tx2"/>
              </a:solidFill>
            </a:endParaRPr>
          </a:p>
        </p:txBody>
      </p:sp>
      <p:sp>
        <p:nvSpPr>
          <p:cNvPr id="16" name="Овал 15"/>
          <p:cNvSpPr/>
          <p:nvPr>
            <p:custDataLst>
              <p:tags r:id="rId2"/>
            </p:custDataLst>
          </p:nvPr>
        </p:nvSpPr>
        <p:spPr>
          <a:xfrm>
            <a:off x="5300400" y="4917280"/>
            <a:ext cx="546000" cy="5040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bg1"/>
                </a:solidFill>
              </a:rPr>
              <a:t>3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476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Цель – разработать концепцию глобально конкурентоспособного ТОР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0" name="Текст 23"/>
          <p:cNvSpPr txBox="1">
            <a:spLocks/>
          </p:cNvSpPr>
          <p:nvPr/>
        </p:nvSpPr>
        <p:spPr>
          <a:xfrm>
            <a:off x="0" y="6523200"/>
            <a:ext cx="9905999" cy="343276"/>
          </a:xfrm>
          <a:prstGeom prst="rect">
            <a:avLst/>
          </a:prstGeom>
        </p:spPr>
        <p:txBody>
          <a:bodyPr/>
          <a:lstStyle/>
          <a:p>
            <a:pPr marL="184150" marR="0" lvl="0" indent="-6350" algn="l" defTabSz="957816" rtl="0" eaLnBrk="1" fontAlgn="auto" latinLnBrk="0" hangingPunct="1">
              <a:lnSpc>
                <a:spcPct val="90000"/>
              </a:lnSpc>
              <a:spcBef>
                <a:spcPts val="1047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Источники: аналитика АНО «НИСИПП»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9" name="Rectangle 13"/>
          <p:cNvSpPr/>
          <p:nvPr>
            <p:custDataLst>
              <p:tags r:id="rId1"/>
            </p:custDataLst>
          </p:nvPr>
        </p:nvSpPr>
        <p:spPr>
          <a:xfrm>
            <a:off x="409575" y="1082607"/>
            <a:ext cx="9058275" cy="6777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36000" rIns="72000" bIns="36000" rtlCol="0" anchor="ctr"/>
          <a:lstStyle/>
          <a:p>
            <a:pPr marL="542925" indent="-4763" algn="ctr">
              <a:buClr>
                <a:srgbClr val="A6CE39"/>
              </a:buClr>
              <a:tabLst>
                <a:tab pos="541338" algn="l"/>
              </a:tabLst>
            </a:pPr>
            <a:r>
              <a:rPr lang="ru-RU" sz="1400" b="1" dirty="0" smtClean="0">
                <a:solidFill>
                  <a:schemeClr val="tx1"/>
                </a:solidFill>
              </a:rPr>
              <a:t>Для обеспечения глобальной конкурентоспособности ТОР необходим следующий подход к определению видов специализации ТОР </a:t>
            </a:r>
          </a:p>
        </p:txBody>
      </p:sp>
      <p:sp>
        <p:nvSpPr>
          <p:cNvPr id="33" name="Rectangle 16"/>
          <p:cNvSpPr/>
          <p:nvPr>
            <p:custDataLst>
              <p:tags r:id="rId2"/>
            </p:custDataLst>
          </p:nvPr>
        </p:nvSpPr>
        <p:spPr>
          <a:xfrm>
            <a:off x="1190624" y="4395604"/>
            <a:ext cx="8277225" cy="205282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542925" indent="-4763">
              <a:spcBef>
                <a:spcPts val="600"/>
              </a:spcBef>
              <a:spcAft>
                <a:spcPts val="600"/>
              </a:spcAft>
              <a:buClr>
                <a:srgbClr val="A6CE39"/>
              </a:buClr>
              <a:tabLst>
                <a:tab pos="541338" algn="l"/>
              </a:tabLst>
              <a:defRPr/>
            </a:pPr>
            <a:r>
              <a:rPr lang="ru-RU" sz="1400" b="1" dirty="0" smtClean="0">
                <a:solidFill>
                  <a:schemeClr val="tx1"/>
                </a:solidFill>
              </a:rPr>
              <a:t>Выделение отраслей, которые целесообразно развивать с помощью инструмента ТОР, т.е. удовлетворяющих следующим критериям:</a:t>
            </a:r>
          </a:p>
          <a:p>
            <a:pPr marL="823912" indent="-285750">
              <a:spcBef>
                <a:spcPts val="600"/>
              </a:spcBef>
              <a:spcAft>
                <a:spcPts val="600"/>
              </a:spcAft>
              <a:buClr>
                <a:srgbClr val="A6CE39"/>
              </a:buClr>
              <a:buFont typeface="Arial" pitchFamily="34" charset="0"/>
              <a:buChar char="•"/>
              <a:tabLst>
                <a:tab pos="541338" algn="l"/>
              </a:tabLst>
              <a:defRPr/>
            </a:pPr>
            <a:r>
              <a:rPr lang="ru-RU" sz="1400" b="1" dirty="0" smtClean="0">
                <a:solidFill>
                  <a:schemeClr val="tx1"/>
                </a:solidFill>
              </a:rPr>
              <a:t>Инструмент ТОР позволяет снизить ключевые барьеры для развития отрасли</a:t>
            </a:r>
            <a:r>
              <a:rPr lang="en-US" altLang="zh-CN" sz="1400" b="1" dirty="0" smtClean="0">
                <a:solidFill>
                  <a:schemeClr val="tx1"/>
                </a:solidFill>
              </a:rPr>
              <a:t>/</a:t>
            </a:r>
            <a:r>
              <a:rPr lang="ru-RU" altLang="zh-CN" sz="1400" b="1" dirty="0" smtClean="0">
                <a:solidFill>
                  <a:schemeClr val="tx1"/>
                </a:solidFill>
              </a:rPr>
              <a:t> </a:t>
            </a:r>
            <a:r>
              <a:rPr lang="ru-RU" altLang="zh-CN" sz="1400" b="1" dirty="0" err="1" smtClean="0">
                <a:solidFill>
                  <a:schemeClr val="tx1"/>
                </a:solidFill>
              </a:rPr>
              <a:t>подотрасли</a:t>
            </a:r>
            <a:endParaRPr lang="ru-RU" altLang="zh-CN" sz="1400" b="1" dirty="0" smtClean="0">
              <a:solidFill>
                <a:schemeClr val="tx1"/>
              </a:solidFill>
            </a:endParaRPr>
          </a:p>
          <a:p>
            <a:pPr marL="823912" indent="-285750">
              <a:spcBef>
                <a:spcPts val="600"/>
              </a:spcBef>
              <a:spcAft>
                <a:spcPts val="600"/>
              </a:spcAft>
              <a:buClr>
                <a:srgbClr val="A6CE39"/>
              </a:buClr>
              <a:buFont typeface="Arial" pitchFamily="34" charset="0"/>
              <a:buChar char="•"/>
              <a:tabLst>
                <a:tab pos="541338" algn="l"/>
              </a:tabLst>
              <a:defRPr/>
            </a:pPr>
            <a:r>
              <a:rPr lang="ru-RU" sz="1400" b="1" dirty="0" smtClean="0">
                <a:solidFill>
                  <a:schemeClr val="tx1"/>
                </a:solidFill>
              </a:rPr>
              <a:t>Нет других инструментов, позволяющих снизить барьеры, или они не могут быть применены для конкретного проекта</a:t>
            </a:r>
          </a:p>
          <a:p>
            <a:pPr marL="823912" indent="-285750">
              <a:spcBef>
                <a:spcPts val="600"/>
              </a:spcBef>
              <a:spcAft>
                <a:spcPts val="600"/>
              </a:spcAft>
              <a:buClr>
                <a:srgbClr val="A6CE39"/>
              </a:buClr>
              <a:buFont typeface="Arial" pitchFamily="34" charset="0"/>
              <a:buChar char="•"/>
              <a:tabLst>
                <a:tab pos="541338" algn="l"/>
              </a:tabLst>
              <a:defRPr/>
            </a:pPr>
            <a:r>
              <a:rPr lang="ru-RU" sz="1400" b="1" dirty="0" smtClean="0">
                <a:solidFill>
                  <a:schemeClr val="tx1"/>
                </a:solidFill>
              </a:rPr>
              <a:t>Включение в ТОР отдельных проектов не оказывает значимых негативных эффектов на уровень конкуренции в отрасли</a:t>
            </a:r>
          </a:p>
          <a:p>
            <a:pPr marL="538162">
              <a:spcBef>
                <a:spcPts val="600"/>
              </a:spcBef>
              <a:spcAft>
                <a:spcPts val="600"/>
              </a:spcAft>
              <a:buClr>
                <a:srgbClr val="A6CE39"/>
              </a:buClr>
              <a:tabLst>
                <a:tab pos="541338" algn="l"/>
              </a:tabLst>
              <a:defRPr/>
            </a:pPr>
            <a:endParaRPr lang="ru-RU" sz="1400" b="1" dirty="0" smtClean="0">
              <a:solidFill>
                <a:schemeClr val="tx1"/>
              </a:solidFill>
            </a:endParaRPr>
          </a:p>
          <a:p>
            <a:pPr marL="823912" indent="-285750" algn="ctr">
              <a:spcBef>
                <a:spcPts val="600"/>
              </a:spcBef>
              <a:spcAft>
                <a:spcPts val="600"/>
              </a:spcAft>
              <a:buClr>
                <a:srgbClr val="A6CE39"/>
              </a:buClr>
              <a:buFont typeface="Arial" pitchFamily="34" charset="0"/>
              <a:buChar char="•"/>
              <a:tabLst>
                <a:tab pos="541338" algn="l"/>
              </a:tabLst>
              <a:defRPr/>
            </a:pPr>
            <a:endParaRPr lang="ru-RU" sz="1400" b="1" dirty="0" smtClean="0">
              <a:solidFill>
                <a:schemeClr val="tx1"/>
              </a:solidFill>
            </a:endParaRPr>
          </a:p>
          <a:p>
            <a:pPr indent="4763">
              <a:spcBef>
                <a:spcPct val="20000"/>
              </a:spcBef>
              <a:buClr>
                <a:schemeClr val="tx2"/>
              </a:buClr>
              <a:defRPr/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34" name="Rounded Rectangle 28"/>
          <p:cNvSpPr/>
          <p:nvPr>
            <p:custDataLst>
              <p:tags r:id="rId3"/>
            </p:custDataLst>
          </p:nvPr>
        </p:nvSpPr>
        <p:spPr bwMode="gray">
          <a:xfrm>
            <a:off x="992624" y="4182608"/>
            <a:ext cx="396000" cy="360000"/>
          </a:xfrm>
          <a:prstGeom prst="roundRect">
            <a:avLst>
              <a:gd name="adj" fmla="val 38491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28575" bIns="25400" rtlCol="0" anchor="ctr">
            <a:no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sym typeface="Arial"/>
              </a:rPr>
              <a:t>3</a:t>
            </a:r>
            <a:endParaRPr lang="ru-RU" sz="1400" b="1" dirty="0" smtClean="0">
              <a:solidFill>
                <a:schemeClr val="bg1"/>
              </a:solidFill>
              <a:sym typeface="Arial"/>
            </a:endParaRPr>
          </a:p>
        </p:txBody>
      </p:sp>
      <p:sp>
        <p:nvSpPr>
          <p:cNvPr id="35" name="Rectangle 16"/>
          <p:cNvSpPr/>
          <p:nvPr>
            <p:custDataLst>
              <p:tags r:id="rId4"/>
            </p:custDataLst>
          </p:nvPr>
        </p:nvSpPr>
        <p:spPr>
          <a:xfrm>
            <a:off x="1190624" y="1849613"/>
            <a:ext cx="8277225" cy="676800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36000" rIns="72000" bIns="36000" rtlCol="0" anchor="ctr"/>
          <a:lstStyle/>
          <a:p>
            <a:pPr marL="542925" indent="-4763">
              <a:spcAft>
                <a:spcPts val="2400"/>
              </a:spcAft>
              <a:buClr>
                <a:srgbClr val="A6CE39"/>
              </a:buClr>
              <a:tabLst>
                <a:tab pos="541338" algn="l"/>
              </a:tabLst>
              <a:defRPr/>
            </a:pPr>
            <a:r>
              <a:rPr lang="ru-RU" sz="1400" b="1" dirty="0" smtClean="0">
                <a:solidFill>
                  <a:schemeClr val="tx1"/>
                </a:solidFill>
              </a:rPr>
              <a:t>Выделение отраслей обладающих значительным экспортным потенциалом или потенциалом </a:t>
            </a:r>
            <a:r>
              <a:rPr lang="ru-RU" sz="1400" b="1" dirty="0" err="1" smtClean="0">
                <a:solidFill>
                  <a:schemeClr val="tx1"/>
                </a:solidFill>
              </a:rPr>
              <a:t>импортозамещения</a:t>
            </a:r>
            <a:endParaRPr lang="ru-RU" sz="1400" b="1" dirty="0" smtClean="0">
              <a:solidFill>
                <a:schemeClr val="tx1"/>
              </a:solidFill>
            </a:endParaRPr>
          </a:p>
        </p:txBody>
      </p:sp>
      <p:sp>
        <p:nvSpPr>
          <p:cNvPr id="36" name="Rounded Rectangle 28"/>
          <p:cNvSpPr/>
          <p:nvPr>
            <p:custDataLst>
              <p:tags r:id="rId5"/>
            </p:custDataLst>
          </p:nvPr>
        </p:nvSpPr>
        <p:spPr bwMode="gray">
          <a:xfrm>
            <a:off x="992625" y="1598451"/>
            <a:ext cx="396000" cy="360000"/>
          </a:xfrm>
          <a:prstGeom prst="roundRect">
            <a:avLst>
              <a:gd name="adj" fmla="val 39197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28575" bIns="25400" rtlCol="0" anchor="ctr">
            <a:no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+mj-lt"/>
                <a:sym typeface="Arial"/>
              </a:rPr>
              <a:t>1</a:t>
            </a:r>
          </a:p>
        </p:txBody>
      </p:sp>
      <p:sp>
        <p:nvSpPr>
          <p:cNvPr id="37" name="Isosceles Triangle 18"/>
          <p:cNvSpPr/>
          <p:nvPr>
            <p:custDataLst>
              <p:tags r:id="rId6"/>
            </p:custDataLst>
          </p:nvPr>
        </p:nvSpPr>
        <p:spPr>
          <a:xfrm flipV="1">
            <a:off x="2210556" y="2690250"/>
            <a:ext cx="6353262" cy="292104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40" name="Rectangle 16"/>
          <p:cNvSpPr/>
          <p:nvPr>
            <p:custDataLst>
              <p:tags r:id="rId7"/>
            </p:custDataLst>
          </p:nvPr>
        </p:nvSpPr>
        <p:spPr>
          <a:xfrm>
            <a:off x="1190624" y="3094513"/>
            <a:ext cx="8277226" cy="676800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36000" rIns="72000" bIns="36000" rtlCol="0" anchor="ctr"/>
          <a:lstStyle/>
          <a:p>
            <a:pPr marL="542925" indent="-4763">
              <a:spcAft>
                <a:spcPts val="2400"/>
              </a:spcAft>
              <a:buClr>
                <a:srgbClr val="A6CE39"/>
              </a:buClr>
              <a:tabLst>
                <a:tab pos="541338" algn="l"/>
              </a:tabLst>
              <a:defRPr/>
            </a:pPr>
            <a:r>
              <a:rPr lang="ru-RU" sz="1400" b="1" dirty="0" smtClean="0">
                <a:solidFill>
                  <a:schemeClr val="tx1"/>
                </a:solidFill>
              </a:rPr>
              <a:t>Выделение </a:t>
            </a:r>
            <a:r>
              <a:rPr lang="ru-RU" sz="1400" b="1" dirty="0" err="1" smtClean="0">
                <a:solidFill>
                  <a:schemeClr val="tx1"/>
                </a:solidFill>
              </a:rPr>
              <a:t>подотраслей</a:t>
            </a:r>
            <a:r>
              <a:rPr lang="ru-RU" sz="1400" b="1" dirty="0" smtClean="0">
                <a:solidFill>
                  <a:schemeClr val="tx1"/>
                </a:solidFill>
              </a:rPr>
              <a:t> в Камчатском крае, развитие которых необходимо для развития приоритетных отраслей</a:t>
            </a:r>
          </a:p>
        </p:txBody>
      </p:sp>
      <p:sp>
        <p:nvSpPr>
          <p:cNvPr id="44" name="Isosceles Triangle 18"/>
          <p:cNvSpPr/>
          <p:nvPr>
            <p:custDataLst>
              <p:tags r:id="rId8"/>
            </p:custDataLst>
          </p:nvPr>
        </p:nvSpPr>
        <p:spPr>
          <a:xfrm flipV="1">
            <a:off x="2220456" y="3923275"/>
            <a:ext cx="6353262" cy="292104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45" name="Rounded Rectangle 28"/>
          <p:cNvSpPr/>
          <p:nvPr>
            <p:custDataLst>
              <p:tags r:id="rId9"/>
            </p:custDataLst>
          </p:nvPr>
        </p:nvSpPr>
        <p:spPr bwMode="gray">
          <a:xfrm>
            <a:off x="992625" y="2884956"/>
            <a:ext cx="396000" cy="360000"/>
          </a:xfrm>
          <a:prstGeom prst="roundRect">
            <a:avLst>
              <a:gd name="adj" fmla="val 39197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28575" bIns="25400" rtlCol="0" anchor="ctr">
            <a:no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+mj-lt"/>
                <a:sym typeface="Arial"/>
              </a:rPr>
              <a:t>2</a:t>
            </a:r>
            <a:endParaRPr lang="ru-RU" sz="1400" b="1" dirty="0" smtClean="0">
              <a:solidFill>
                <a:schemeClr val="bg1"/>
              </a:solidFill>
              <a:latin typeface="+mj-l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3262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Ключевые результат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417287" y="1792260"/>
            <a:ext cx="648000" cy="7200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1</a:t>
            </a:r>
            <a:endParaRPr lang="ru-RU" sz="1200" dirty="0" smtClean="0">
              <a:solidFill>
                <a:schemeClr val="bg1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810930" y="2964951"/>
            <a:ext cx="648000" cy="7200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2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204573" y="4154484"/>
            <a:ext cx="648000" cy="7200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3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2134930" y="1792260"/>
            <a:ext cx="6300000" cy="720000"/>
          </a:xfrm>
          <a:prstGeom prst="roundRect">
            <a:avLst/>
          </a:prstGeom>
          <a:solidFill>
            <a:srgbClr val="DEEBF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Разработана концепция ТОР «Камчатка» и </a:t>
            </a:r>
            <a:r>
              <a:rPr lang="ru-RU" sz="1400" dirty="0" smtClean="0">
                <a:solidFill>
                  <a:schemeClr val="tx1"/>
                </a:solidFill>
              </a:rPr>
              <a:t>обосновано, </a:t>
            </a:r>
            <a:r>
              <a:rPr lang="ru-RU" sz="1400" dirty="0">
                <a:solidFill>
                  <a:schemeClr val="tx1"/>
                </a:solidFill>
              </a:rPr>
              <a:t>что ТОР создавать </a:t>
            </a:r>
            <a:r>
              <a:rPr lang="ru-RU" sz="1400" dirty="0" smtClean="0">
                <a:solidFill>
                  <a:schemeClr val="tx1"/>
                </a:solidFill>
              </a:rPr>
              <a:t>целесообразно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528291" y="2966169"/>
            <a:ext cx="6300000" cy="720000"/>
          </a:xfrm>
          <a:prstGeom prst="roundRect">
            <a:avLst/>
          </a:prstGeom>
          <a:solidFill>
            <a:srgbClr val="DEEBF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Целесообразность создания ТОР доказана на Правительственной комисси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2921651" y="4154484"/>
            <a:ext cx="6300000" cy="720000"/>
          </a:xfrm>
          <a:prstGeom prst="roundRect">
            <a:avLst/>
          </a:prstGeom>
          <a:solidFill>
            <a:srgbClr val="DEEBF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Подписаны соглашения с инвесторами на сумму </a:t>
            </a:r>
            <a:r>
              <a:rPr lang="ru-RU" sz="1400" dirty="0" smtClean="0">
                <a:solidFill>
                  <a:schemeClr val="tx1"/>
                </a:solidFill>
              </a:rPr>
              <a:t>28,1 </a:t>
            </a:r>
            <a:r>
              <a:rPr lang="ru-RU" sz="1400" dirty="0">
                <a:solidFill>
                  <a:schemeClr val="tx1"/>
                </a:solidFill>
              </a:rPr>
              <a:t>млрд </a:t>
            </a:r>
            <a:r>
              <a:rPr lang="ru-RU" sz="1400" dirty="0" smtClean="0">
                <a:solidFill>
                  <a:schemeClr val="tx1"/>
                </a:solidFill>
              </a:rPr>
              <a:t>руб. в сферах туризма, транспорта и сельского хозяйства</a:t>
            </a:r>
            <a:endParaRPr lang="ru-RU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84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29"/>
          <p:cNvSpPr txBox="1"/>
          <p:nvPr>
            <p:custDataLst>
              <p:tags r:id="rId3"/>
            </p:custDataLst>
          </p:nvPr>
        </p:nvSpPr>
        <p:spPr>
          <a:xfrm>
            <a:off x="7445383" y="1524034"/>
            <a:ext cx="216534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>
              <a:tabLst>
                <a:tab pos="266700" algn="l"/>
              </a:tabLst>
            </a:pPr>
            <a:r>
              <a:rPr lang="ru-RU" dirty="0" smtClean="0"/>
              <a:t>транспорт и логистика</a:t>
            </a:r>
          </a:p>
          <a:p>
            <a:pPr marL="180975">
              <a:tabLst>
                <a:tab pos="266700" algn="l"/>
              </a:tabLst>
            </a:pPr>
            <a:endParaRPr lang="ru-RU" dirty="0" smtClean="0"/>
          </a:p>
          <a:p>
            <a:pPr marL="180975">
              <a:tabLst>
                <a:tab pos="266700" algn="l"/>
              </a:tabLst>
            </a:pPr>
            <a:r>
              <a:rPr lang="ru-RU" dirty="0" smtClean="0"/>
              <a:t>судоремонт</a:t>
            </a:r>
          </a:p>
          <a:p>
            <a:pPr marL="180975">
              <a:tabLst>
                <a:tab pos="266700" algn="l"/>
              </a:tabLst>
            </a:pPr>
            <a:endParaRPr lang="ru-RU" dirty="0" smtClean="0"/>
          </a:p>
          <a:p>
            <a:pPr marL="180975">
              <a:tabLst>
                <a:tab pos="266700" algn="l"/>
              </a:tabLst>
            </a:pPr>
            <a:r>
              <a:rPr lang="ru-RU" dirty="0" smtClean="0"/>
              <a:t>туризм</a:t>
            </a:r>
          </a:p>
          <a:p>
            <a:pPr marL="180975">
              <a:tabLst>
                <a:tab pos="266700" algn="l"/>
              </a:tabLst>
            </a:pPr>
            <a:endParaRPr lang="ru-RU" dirty="0" smtClean="0"/>
          </a:p>
          <a:p>
            <a:pPr marL="180975">
              <a:tabLst>
                <a:tab pos="266700" algn="l"/>
              </a:tabLst>
            </a:pPr>
            <a:r>
              <a:rPr lang="ru-RU" dirty="0" smtClean="0"/>
              <a:t>сельское хозяйство</a:t>
            </a:r>
          </a:p>
          <a:p>
            <a:endParaRPr lang="ru-RU" dirty="0" smtClean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22577" y="234491"/>
            <a:ext cx="9051651" cy="625036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В отличие от других ТОР «Камчатка» имеет многоотраслевую специализацию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3" name="Группа 23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447386" y="1103773"/>
            <a:ext cx="7636478" cy="4932976"/>
            <a:chOff x="507261" y="1004498"/>
            <a:chExt cx="8134508" cy="5260835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16" cstate="print">
              <a:lum bright="10000" contrast="-20000"/>
            </a:blip>
            <a:srcRect l="27900" t="18184" r="14866" b="7005"/>
            <a:stretch>
              <a:fillRect/>
            </a:stretch>
          </p:blipFill>
          <p:spPr bwMode="auto">
            <a:xfrm>
              <a:off x="507261" y="1004498"/>
              <a:ext cx="7155059" cy="52608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6" name="Овал 5"/>
            <p:cNvSpPr/>
            <p:nvPr/>
          </p:nvSpPr>
          <p:spPr>
            <a:xfrm>
              <a:off x="1808677" y="5571775"/>
              <a:ext cx="294377" cy="28545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7" name="Овал 6"/>
            <p:cNvSpPr/>
            <p:nvPr/>
          </p:nvSpPr>
          <p:spPr>
            <a:xfrm>
              <a:off x="2959420" y="1047430"/>
              <a:ext cx="294377" cy="28545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8" name="Овал 7"/>
            <p:cNvSpPr/>
            <p:nvPr/>
          </p:nvSpPr>
          <p:spPr>
            <a:xfrm>
              <a:off x="3940675" y="2556659"/>
              <a:ext cx="294377" cy="285454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Овал 8"/>
            <p:cNvSpPr/>
            <p:nvPr/>
          </p:nvSpPr>
          <p:spPr>
            <a:xfrm>
              <a:off x="6371504" y="5747396"/>
              <a:ext cx="294377" cy="285454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" name="Овал 9"/>
            <p:cNvSpPr/>
            <p:nvPr/>
          </p:nvSpPr>
          <p:spPr>
            <a:xfrm>
              <a:off x="2705181" y="4287227"/>
              <a:ext cx="294377" cy="285454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262120" y="1021325"/>
              <a:ext cx="2194441" cy="295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/>
                <a:t>ЗЕЛЕНОВСКИЕ ОЗЕРКИ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2102711" y="5560831"/>
              <a:ext cx="2640466" cy="295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/>
                <a:t>ПАРАТУНКА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992354" y="4256773"/>
              <a:ext cx="1561088" cy="295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/>
                <a:t>ВИТЯЗЬ-АЭРО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225633" y="2525788"/>
              <a:ext cx="2613703" cy="295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/>
                <a:t>АЭРОПОРТ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670341" y="5716492"/>
              <a:ext cx="1971428" cy="295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/>
                <a:t>ЮГ</a:t>
              </a:r>
            </a:p>
          </p:txBody>
        </p:sp>
        <p:sp>
          <p:nvSpPr>
            <p:cNvPr id="17" name="Овал 16"/>
            <p:cNvSpPr/>
            <p:nvPr/>
          </p:nvSpPr>
          <p:spPr>
            <a:xfrm>
              <a:off x="5836157" y="5036563"/>
              <a:ext cx="294377" cy="285454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117916" y="5002521"/>
              <a:ext cx="1971428" cy="295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/>
                <a:t>ПОРТ</a:t>
              </a:r>
            </a:p>
          </p:txBody>
        </p:sp>
        <p:sp>
          <p:nvSpPr>
            <p:cNvPr id="19" name="Овал 18"/>
            <p:cNvSpPr/>
            <p:nvPr/>
          </p:nvSpPr>
          <p:spPr>
            <a:xfrm>
              <a:off x="5684508" y="4135145"/>
              <a:ext cx="294377" cy="28545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5983345" y="4110132"/>
              <a:ext cx="1971428" cy="295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/>
                <a:t>ЦЕНТР</a:t>
              </a:r>
            </a:p>
          </p:txBody>
        </p:sp>
        <p:sp>
          <p:nvSpPr>
            <p:cNvPr id="21" name="Овал 20"/>
            <p:cNvSpPr/>
            <p:nvPr/>
          </p:nvSpPr>
          <p:spPr>
            <a:xfrm>
              <a:off x="4222012" y="3189808"/>
              <a:ext cx="294377" cy="28545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493792" y="3191884"/>
              <a:ext cx="1971428" cy="295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/>
                <a:t>НАГОРНЫЙ</a:t>
              </a:r>
            </a:p>
          </p:txBody>
        </p:sp>
      </p:grpSp>
      <p:sp>
        <p:nvSpPr>
          <p:cNvPr id="29" name="Овал 28"/>
          <p:cNvSpPr/>
          <p:nvPr>
            <p:custDataLst>
              <p:tags r:id="rId7"/>
            </p:custDataLst>
          </p:nvPr>
        </p:nvSpPr>
        <p:spPr>
          <a:xfrm>
            <a:off x="7362057" y="1613085"/>
            <a:ext cx="262741" cy="267664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1" name="Овал 30"/>
          <p:cNvSpPr/>
          <p:nvPr>
            <p:custDataLst>
              <p:tags r:id="rId8"/>
            </p:custDataLst>
          </p:nvPr>
        </p:nvSpPr>
        <p:spPr>
          <a:xfrm>
            <a:off x="7370523" y="2431199"/>
            <a:ext cx="262741" cy="267664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2" name="Овал 31"/>
          <p:cNvSpPr/>
          <p:nvPr>
            <p:custDataLst>
              <p:tags r:id="rId9"/>
            </p:custDataLst>
          </p:nvPr>
        </p:nvSpPr>
        <p:spPr>
          <a:xfrm>
            <a:off x="7370517" y="2994250"/>
            <a:ext cx="262741" cy="2676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3" name="Овал 32"/>
          <p:cNvSpPr/>
          <p:nvPr>
            <p:custDataLst>
              <p:tags r:id="rId10"/>
            </p:custDataLst>
          </p:nvPr>
        </p:nvSpPr>
        <p:spPr>
          <a:xfrm>
            <a:off x="7370511" y="3537193"/>
            <a:ext cx="262741" cy="267664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5" name="Овал 34"/>
          <p:cNvSpPr/>
          <p:nvPr>
            <p:custDataLst>
              <p:tags r:id="rId11"/>
            </p:custDataLst>
          </p:nvPr>
        </p:nvSpPr>
        <p:spPr>
          <a:xfrm>
            <a:off x="2417511" y="1136893"/>
            <a:ext cx="287655" cy="2676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7183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1" name="Объект 50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93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84"/>
                      <p:cNvPicPr>
                        <a:picLocks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7" name="Picture 5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8" cstate="print"/>
          <a:srcRect l="72484" r="7669" b="45928"/>
          <a:stretch>
            <a:fillRect/>
          </a:stretch>
        </p:blipFill>
        <p:spPr bwMode="auto">
          <a:xfrm>
            <a:off x="0" y="1071546"/>
            <a:ext cx="3559994" cy="542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Объект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 smtClean="0"/>
              <a:t>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9" name="Название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91608" y="262072"/>
            <a:ext cx="8695297" cy="523723"/>
          </a:xfrm>
        </p:spPr>
        <p:txBody>
          <a:bodyPr vert="horz" lIns="65298" tIns="32649" rIns="65298" bIns="32649" rtlCol="0" anchor="ctr">
            <a:normAutofit/>
          </a:bodyPr>
          <a:lstStyle/>
          <a:p>
            <a:pPr indent="714375"/>
            <a:r>
              <a:rPr lang="ru-RU" sz="2400" dirty="0" smtClean="0"/>
              <a:t>Ключевая точка роста ТОР «Камчатка» – туризм</a:t>
            </a:r>
            <a:endParaRPr lang="ru-RU" sz="2200" dirty="0" smtClean="0"/>
          </a:p>
        </p:txBody>
      </p:sp>
      <p:sp>
        <p:nvSpPr>
          <p:cNvPr id="504" name="Овал 503"/>
          <p:cNvSpPr/>
          <p:nvPr>
            <p:custDataLst>
              <p:tags r:id="rId7"/>
            </p:custDataLst>
          </p:nvPr>
        </p:nvSpPr>
        <p:spPr>
          <a:xfrm>
            <a:off x="2476483" y="2500306"/>
            <a:ext cx="309565" cy="2857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>
            <p:custDataLst>
              <p:tags r:id="rId8"/>
            </p:custDataLst>
          </p:nvPr>
        </p:nvSpPr>
        <p:spPr bwMode="auto">
          <a:xfrm>
            <a:off x="3999600" y="2511227"/>
            <a:ext cx="5508000" cy="43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ctr"/>
          <a:lstStyle/>
          <a:p>
            <a:pPr algn="ctr" defTabSz="900113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AE2C25"/>
              </a:buClr>
              <a:buSzPct val="110000"/>
            </a:pPr>
            <a:r>
              <a:rPr lang="ru-RU" b="1" dirty="0" smtClean="0">
                <a:solidFill>
                  <a:schemeClr val="tx1"/>
                </a:solidFill>
              </a:rPr>
              <a:t>Экологический туризм</a:t>
            </a:r>
          </a:p>
        </p:txBody>
      </p:sp>
      <p:sp>
        <p:nvSpPr>
          <p:cNvPr id="24" name="Прямоугольник 23"/>
          <p:cNvSpPr/>
          <p:nvPr>
            <p:custDataLst>
              <p:tags r:id="rId9"/>
            </p:custDataLst>
          </p:nvPr>
        </p:nvSpPr>
        <p:spPr bwMode="auto">
          <a:xfrm>
            <a:off x="3999600" y="4368600"/>
            <a:ext cx="5508000" cy="43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ctr"/>
          <a:lstStyle/>
          <a:p>
            <a:pPr algn="ctr" defTabSz="900113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AE2C25"/>
              </a:buClr>
              <a:buSzPct val="110000"/>
            </a:pPr>
            <a:r>
              <a:rPr lang="ru-RU" b="1" dirty="0" smtClean="0">
                <a:solidFill>
                  <a:schemeClr val="tx1"/>
                </a:solidFill>
              </a:rPr>
              <a:t>Горнолыжный туризм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0"/>
            </p:custDataLst>
          </p:nvPr>
        </p:nvSpPr>
        <p:spPr bwMode="auto">
          <a:xfrm>
            <a:off x="3999600" y="6242393"/>
            <a:ext cx="5508000" cy="43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ctr"/>
          <a:lstStyle/>
          <a:p>
            <a:pPr algn="ctr" defTabSz="900113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AE2C25"/>
              </a:buClr>
              <a:buSzPct val="110000"/>
            </a:pPr>
            <a:r>
              <a:rPr lang="ru-RU" b="1" dirty="0" smtClean="0">
                <a:solidFill>
                  <a:schemeClr val="tx1"/>
                </a:solidFill>
              </a:rPr>
              <a:t>Круизный туризм</a:t>
            </a: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26" name="Picture 18" descr="Кроноцкий заповедник проведет литературный конкурс к своему 80-летию - новости на сегодня 05.02.2014"/>
          <p:cNvPicPr>
            <a:picLocks noChangeArrowheads="1"/>
          </p:cNvPicPr>
          <p:nvPr>
            <p:custDataLst>
              <p:tags r:id="rId11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951600" y="1258883"/>
            <a:ext cx="2556000" cy="1260000"/>
          </a:xfrm>
          <a:prstGeom prst="rect">
            <a:avLst/>
          </a:prstGeom>
          <a:noFill/>
        </p:spPr>
      </p:pic>
      <p:pic>
        <p:nvPicPr>
          <p:cNvPr id="27" name="Рисунок 26" descr="serena10_666_9ffcf1800ce08d40957f01cba230946e.jpg"/>
          <p:cNvPicPr>
            <a:picLocks/>
          </p:cNvPicPr>
          <p:nvPr>
            <p:custDataLst>
              <p:tags r:id="rId12"/>
            </p:custDataLst>
          </p:nvPr>
        </p:nvPicPr>
        <p:blipFill>
          <a:blip r:embed="rId20" cstate="print"/>
          <a:srcRect l="363" t="13649" r="14303" b="12373"/>
          <a:stretch>
            <a:fillRect/>
          </a:stretch>
        </p:blipFill>
        <p:spPr>
          <a:xfrm>
            <a:off x="6953129" y="4914000"/>
            <a:ext cx="2556000" cy="1332000"/>
          </a:xfrm>
          <a:prstGeom prst="rect">
            <a:avLst/>
          </a:prstGeom>
        </p:spPr>
      </p:pic>
      <p:pic>
        <p:nvPicPr>
          <p:cNvPr id="28" name="Picture 1" descr="C:\Users\Екатерина Пикулева\Downloads\vulc_arik_11.jp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952066" y="3036683"/>
            <a:ext cx="2557942" cy="1332000"/>
          </a:xfrm>
          <a:prstGeom prst="rect">
            <a:avLst/>
          </a:prstGeom>
          <a:noFill/>
        </p:spPr>
      </p:pic>
      <p:pic>
        <p:nvPicPr>
          <p:cNvPr id="29" name="Рисунок 28" descr="img4.jpg"/>
          <p:cNvPicPr>
            <a:picLocks/>
          </p:cNvPicPr>
          <p:nvPr/>
        </p:nvPicPr>
        <p:blipFill>
          <a:blip r:embed="rId22" cstate="print"/>
          <a:srcRect t="12935" r="1810" b="27485"/>
          <a:stretch>
            <a:fillRect/>
          </a:stretch>
        </p:blipFill>
        <p:spPr>
          <a:xfrm>
            <a:off x="3999600" y="4912725"/>
            <a:ext cx="2988000" cy="1332000"/>
          </a:xfrm>
          <a:prstGeom prst="rect">
            <a:avLst/>
          </a:prstGeom>
        </p:spPr>
      </p:pic>
      <p:pic>
        <p:nvPicPr>
          <p:cNvPr id="94212" name="Picture 4" descr="Турагентство Семь Чудес"/>
          <p:cNvPicPr>
            <a:picLocks noChangeAspect="1" noChangeArrowheads="1"/>
          </p:cNvPicPr>
          <p:nvPr/>
        </p:nvPicPr>
        <p:blipFill>
          <a:blip r:embed="rId23" cstate="print"/>
          <a:srcRect t="20589" r="861" b="20491"/>
          <a:stretch>
            <a:fillRect/>
          </a:stretch>
        </p:blipFill>
        <p:spPr bwMode="auto">
          <a:xfrm>
            <a:off x="4000499" y="3039532"/>
            <a:ext cx="2988348" cy="1332000"/>
          </a:xfrm>
          <a:prstGeom prst="rect">
            <a:avLst/>
          </a:prstGeom>
          <a:noFill/>
        </p:spPr>
      </p:pic>
      <p:pic>
        <p:nvPicPr>
          <p:cNvPr id="94214" name="Picture 6" descr="Долина гейзеров на Камчатке празднует юбилей Мировые новости"/>
          <p:cNvPicPr>
            <a:picLocks noChangeArrowheads="1"/>
          </p:cNvPicPr>
          <p:nvPr/>
        </p:nvPicPr>
        <p:blipFill>
          <a:blip r:embed="rId24" cstate="print"/>
          <a:srcRect t="20914" r="2922" b="21018"/>
          <a:stretch>
            <a:fillRect/>
          </a:stretch>
        </p:blipFill>
        <p:spPr bwMode="auto">
          <a:xfrm>
            <a:off x="3999600" y="1260000"/>
            <a:ext cx="2988000" cy="126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51108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Объект 5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60" name="think-cell Slide" r:id="rId48" imgW="360" imgH="360" progId="TCLayout.ActiveDocument.1">
                  <p:embed/>
                </p:oleObj>
              </mc:Choice>
              <mc:Fallback>
                <p:oleObj name="think-cell Slide" r:id="rId48" imgW="360" imgH="360" progId="TCLayout.ActiveDocument.1">
                  <p:embed/>
                  <p:pic>
                    <p:nvPicPr>
                      <p:cNvPr id="0" name="Picture 1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>
              <a:latin typeface="Calibri"/>
              <a:sym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ru-RU" dirty="0" smtClean="0"/>
              <a:t>Текущее состояние развития туризм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5" name="Текст 3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66737" y="1379502"/>
            <a:ext cx="4248000" cy="2026585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R="0" lvl="0" indent="-239454" algn="ctr" fontAlgn="auto">
              <a:lnSpc>
                <a:spcPct val="90000"/>
              </a:lnSpc>
              <a:spcBef>
                <a:spcPts val="1047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1200" dirty="0" smtClean="0">
              <a:solidFill>
                <a:schemeClr val="bg1"/>
              </a:solidFill>
            </a:endParaRPr>
          </a:p>
        </p:txBody>
      </p:sp>
      <p:sp>
        <p:nvSpPr>
          <p:cNvPr id="6" name="Текст 5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948237" y="1278294"/>
            <a:ext cx="4248000" cy="4743916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indent="-239454" algn="ctr">
              <a:lnSpc>
                <a:spcPct val="90000"/>
              </a:lnSpc>
              <a:spcBef>
                <a:spcPts val="1047"/>
              </a:spcBef>
              <a:buFont typeface="Arial" panose="020B0604020202020204" pitchFamily="34" charset="0"/>
              <a:buChar char="•"/>
            </a:pPr>
            <a:endParaRPr lang="ru-RU" sz="1200" dirty="0" smtClean="0">
              <a:solidFill>
                <a:schemeClr val="bg1"/>
              </a:solidFill>
            </a:endParaRPr>
          </a:p>
        </p:txBody>
      </p:sp>
      <p:sp>
        <p:nvSpPr>
          <p:cNvPr id="8" name="Текст 7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66737" y="982662"/>
            <a:ext cx="4255200" cy="41693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68415" tIns="34208" rIns="68415" bIns="34208" rtlCol="0" anchor="ctr">
            <a:normAutofit/>
          </a:bodyPr>
          <a:lstStyle/>
          <a:p>
            <a:pPr algn="ctr">
              <a:buNone/>
            </a:pPr>
            <a:r>
              <a:rPr lang="ru-RU" sz="1400" dirty="0" smtClean="0">
                <a:solidFill>
                  <a:schemeClr val="bg1"/>
                </a:solidFill>
              </a:rPr>
              <a:t>Количество туристов, тыс. чел.</a:t>
            </a:r>
            <a:r>
              <a:rPr lang="ru-RU" sz="1400" baseline="30000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" name="Текст 8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4948237" y="982662"/>
            <a:ext cx="4255200" cy="41693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68415" tIns="34208" rIns="68415" bIns="34208" rtlCol="0" anchor="ctr">
            <a:normAutofit/>
          </a:bodyPr>
          <a:lstStyle/>
          <a:p>
            <a:pPr marL="239454" indent="-239454" algn="ctr" defTabSz="957816">
              <a:lnSpc>
                <a:spcPct val="90000"/>
              </a:lnSpc>
              <a:spcBef>
                <a:spcPts val="1047"/>
              </a:spcBef>
            </a:pPr>
            <a:r>
              <a:rPr lang="ru-RU" sz="1400" dirty="0" smtClean="0">
                <a:solidFill>
                  <a:schemeClr val="bg1"/>
                </a:solidFill>
              </a:rPr>
              <a:t>Ключевые барьеры развития туризма</a:t>
            </a:r>
          </a:p>
        </p:txBody>
      </p:sp>
      <p:sp>
        <p:nvSpPr>
          <p:cNvPr id="10" name="Прямоугольник 9"/>
          <p:cNvSpPr/>
          <p:nvPr>
            <p:custDataLst>
              <p:tags r:id="rId10"/>
            </p:custDataLst>
          </p:nvPr>
        </p:nvSpPr>
        <p:spPr bwMode="auto">
          <a:xfrm>
            <a:off x="4278312" y="3262312"/>
            <a:ext cx="273050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11"/>
            </p:custDataLst>
          </p:nvPr>
        </p:nvSpPr>
        <p:spPr bwMode="auto">
          <a:xfrm>
            <a:off x="3783012" y="3262312"/>
            <a:ext cx="273050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12"/>
            </p:custDataLst>
          </p:nvPr>
        </p:nvSpPr>
        <p:spPr bwMode="auto">
          <a:xfrm>
            <a:off x="3287712" y="3262312"/>
            <a:ext cx="273050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13"/>
            </p:custDataLst>
          </p:nvPr>
        </p:nvSpPr>
        <p:spPr bwMode="auto">
          <a:xfrm>
            <a:off x="2792412" y="3262312"/>
            <a:ext cx="273050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14"/>
            </p:custDataLst>
          </p:nvPr>
        </p:nvSpPr>
        <p:spPr bwMode="auto">
          <a:xfrm>
            <a:off x="2297112" y="3262312"/>
            <a:ext cx="273050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15"/>
            </p:custDataLst>
          </p:nvPr>
        </p:nvSpPr>
        <p:spPr bwMode="auto">
          <a:xfrm>
            <a:off x="1801812" y="3262312"/>
            <a:ext cx="273050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16"/>
            </p:custDataLst>
          </p:nvPr>
        </p:nvSpPr>
        <p:spPr bwMode="auto">
          <a:xfrm>
            <a:off x="1306512" y="3262312"/>
            <a:ext cx="273050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17"/>
            </p:custDataLst>
          </p:nvPr>
        </p:nvSpPr>
        <p:spPr bwMode="auto">
          <a:xfrm>
            <a:off x="811212" y="3262312"/>
            <a:ext cx="273050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8" name="Текст 4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566737" y="3995702"/>
            <a:ext cx="4248000" cy="2026585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indent="-239454" algn="ctr">
              <a:lnSpc>
                <a:spcPct val="90000"/>
              </a:lnSpc>
              <a:spcBef>
                <a:spcPts val="1047"/>
              </a:spcBef>
              <a:buFont typeface="Arial" panose="020B0604020202020204" pitchFamily="34" charset="0"/>
              <a:buChar char="•"/>
            </a:pPr>
            <a:endParaRPr lang="ru-RU" sz="1200" dirty="0" smtClean="0">
              <a:solidFill>
                <a:schemeClr val="bg1"/>
              </a:solidFill>
            </a:endParaRPr>
          </a:p>
        </p:txBody>
      </p:sp>
      <p:sp>
        <p:nvSpPr>
          <p:cNvPr id="19" name="Текст 9"/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566737" y="3589337"/>
            <a:ext cx="4255200" cy="41693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68415" tIns="34208" rIns="68415" bIns="34208" rtlCol="0" anchor="ctr">
            <a:normAutofit/>
          </a:bodyPr>
          <a:lstStyle/>
          <a:p>
            <a:pPr algn="ctr">
              <a:lnSpc>
                <a:spcPct val="110000"/>
              </a:lnSpc>
              <a:buNone/>
            </a:pPr>
            <a:r>
              <a:rPr lang="ru-RU" sz="1400" dirty="0" smtClean="0">
                <a:solidFill>
                  <a:schemeClr val="bg1"/>
                </a:solidFill>
              </a:rPr>
              <a:t>Объем туристских и гостиничных услуг, млн руб.</a:t>
            </a:r>
            <a:r>
              <a:rPr lang="ru-RU" sz="1400" baseline="30000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0" name="Прямоугольник 19"/>
          <p:cNvSpPr/>
          <p:nvPr>
            <p:custDataLst>
              <p:tags r:id="rId20"/>
            </p:custDataLst>
          </p:nvPr>
        </p:nvSpPr>
        <p:spPr bwMode="auto">
          <a:xfrm>
            <a:off x="4275137" y="5842000"/>
            <a:ext cx="273050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21"/>
            </p:custDataLst>
          </p:nvPr>
        </p:nvSpPr>
        <p:spPr bwMode="auto">
          <a:xfrm>
            <a:off x="3784600" y="5842000"/>
            <a:ext cx="273050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22"/>
            </p:custDataLst>
          </p:nvPr>
        </p:nvSpPr>
        <p:spPr bwMode="auto">
          <a:xfrm>
            <a:off x="3294062" y="5842000"/>
            <a:ext cx="273050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23"/>
            </p:custDataLst>
          </p:nvPr>
        </p:nvSpPr>
        <p:spPr bwMode="auto">
          <a:xfrm>
            <a:off x="2803525" y="5842000"/>
            <a:ext cx="273050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24"/>
            </p:custDataLst>
          </p:nvPr>
        </p:nvSpPr>
        <p:spPr bwMode="auto">
          <a:xfrm>
            <a:off x="2312987" y="5842000"/>
            <a:ext cx="273050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25"/>
            </p:custDataLst>
          </p:nvPr>
        </p:nvSpPr>
        <p:spPr bwMode="auto">
          <a:xfrm>
            <a:off x="1817687" y="5842000"/>
            <a:ext cx="273050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26"/>
            </p:custDataLst>
          </p:nvPr>
        </p:nvSpPr>
        <p:spPr bwMode="auto">
          <a:xfrm>
            <a:off x="1790700" y="4686300"/>
            <a:ext cx="327025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27"/>
            </p:custDataLst>
          </p:nvPr>
        </p:nvSpPr>
        <p:spPr bwMode="auto">
          <a:xfrm>
            <a:off x="1327150" y="5842000"/>
            <a:ext cx="273050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28"/>
            </p:custDataLst>
          </p:nvPr>
        </p:nvSpPr>
        <p:spPr bwMode="auto">
          <a:xfrm>
            <a:off x="836612" y="5842000"/>
            <a:ext cx="273050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53" name="Текст 6"/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209550" y="6470650"/>
            <a:ext cx="9359900" cy="323850"/>
          </a:xfrm>
          <a:prstGeom prst="rect">
            <a:avLst/>
          </a:prstGeom>
        </p:spPr>
        <p:txBody>
          <a:bodyPr vert="horz" lIns="68415" tIns="34208" rIns="68415" bIns="34208" rtlCol="0">
            <a:normAutofit/>
          </a:bodyPr>
          <a:lstStyle/>
          <a:p>
            <a:pPr marL="228600" lvl="0" indent="-228600" defTabSz="957816">
              <a:lnSpc>
                <a:spcPct val="90000"/>
              </a:lnSpc>
            </a:pPr>
            <a:r>
              <a:rPr lang="ru-RU" sz="900" dirty="0" smtClean="0"/>
              <a:t>Примечание: 1 – с учетом круизного туризма. 2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–</a:t>
            </a:r>
            <a:r>
              <a:rPr kumimoji="0" lang="ru-RU" sz="9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объем услуг указан в ценах 2014 г.</a:t>
            </a:r>
          </a:p>
          <a:p>
            <a:pPr marL="228600" marR="0" lvl="0" indent="-228600" algn="l" defTabSz="957816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Источники: Росстат, Ростуризм, Агентство по туризму Камчатского края, Концепция создания ТРК «Паратунка», итоги интервью с экспертами, аналитика АНО «НИСИПП»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4" name="Прямоугольник 53"/>
          <p:cNvSpPr/>
          <p:nvPr>
            <p:custDataLst>
              <p:tags r:id="rId30"/>
            </p:custDataLst>
          </p:nvPr>
        </p:nvSpPr>
        <p:spPr>
          <a:xfrm>
            <a:off x="4953001" y="1502505"/>
            <a:ext cx="4267200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ts val="600"/>
              </a:spcBef>
              <a:buClr>
                <a:schemeClr val="tx2"/>
              </a:buClr>
              <a:defRPr/>
            </a:pP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Транспортная инфраструктура:</a:t>
            </a:r>
          </a:p>
          <a:p>
            <a:pPr defTabSz="91440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ru-RU" sz="1400" dirty="0" smtClean="0">
                <a:latin typeface="Calibri" pitchFamily="34" charset="0"/>
                <a:cs typeface="Calibri" pitchFamily="34" charset="0"/>
              </a:rPr>
              <a:t> низкая пропускная способность аэропорта</a:t>
            </a:r>
          </a:p>
          <a:p>
            <a:pPr defTabSz="91440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ru-RU" sz="1400" dirty="0" smtClean="0">
                <a:latin typeface="Calibri" pitchFamily="34" charset="0"/>
                <a:cs typeface="Calibri" pitchFamily="34" charset="0"/>
              </a:rPr>
              <a:t> отсутствие портовой инфраструктуры для приема крупных круизных судов</a:t>
            </a:r>
          </a:p>
          <a:p>
            <a:pPr defTabSz="914400">
              <a:spcBef>
                <a:spcPts val="600"/>
              </a:spcBef>
              <a:buClr>
                <a:schemeClr val="tx2"/>
              </a:buClr>
              <a:defRPr/>
            </a:pPr>
            <a:endParaRPr lang="ru-RU" sz="1400" i="1" dirty="0" smtClean="0">
              <a:latin typeface="Calibri" pitchFamily="34" charset="0"/>
              <a:cs typeface="Calibri" pitchFamily="34" charset="0"/>
            </a:endParaRPr>
          </a:p>
          <a:p>
            <a:pPr defTabSz="914400">
              <a:spcBef>
                <a:spcPts val="600"/>
              </a:spcBef>
              <a:buClr>
                <a:schemeClr val="tx2"/>
              </a:buClr>
              <a:defRPr/>
            </a:pPr>
            <a:endParaRPr lang="ru-RU" sz="1400" i="1" dirty="0" smtClean="0">
              <a:latin typeface="Calibri" pitchFamily="34" charset="0"/>
              <a:cs typeface="Calibri" pitchFamily="34" charset="0"/>
            </a:endParaRPr>
          </a:p>
          <a:p>
            <a:pPr defTabSz="914400">
              <a:spcBef>
                <a:spcPts val="600"/>
              </a:spcBef>
              <a:buClr>
                <a:schemeClr val="tx2"/>
              </a:buClr>
              <a:defRPr/>
            </a:pP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Туристическая инфраструктура:</a:t>
            </a:r>
          </a:p>
          <a:p>
            <a:pPr defTabSz="91440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ru-RU" sz="1400" dirty="0" smtClean="0">
                <a:latin typeface="Calibri" pitchFamily="34" charset="0"/>
                <a:cs typeface="Calibri" pitchFamily="34" charset="0"/>
              </a:rPr>
              <a:t> недостаточное количество гостиниц и низкое качество сервиса</a:t>
            </a:r>
          </a:p>
          <a:p>
            <a:pPr defTabSz="91440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ru-RU" sz="1400" dirty="0" smtClean="0">
                <a:latin typeface="Calibri" pitchFamily="34" charset="0"/>
                <a:cs typeface="Calibri" pitchFamily="34" charset="0"/>
              </a:rPr>
              <a:t> отсутствие необходимой инфраструктуры </a:t>
            </a:r>
            <a:r>
              <a:rPr lang="ru-RU" sz="1400" dirty="0" err="1" smtClean="0">
                <a:latin typeface="Calibri" pitchFamily="34" charset="0"/>
                <a:cs typeface="Calibri" pitchFamily="34" charset="0"/>
              </a:rPr>
              <a:t>турмаршрутов</a:t>
            </a:r>
            <a:endParaRPr lang="ru-RU" sz="1400" dirty="0" smtClean="0">
              <a:latin typeface="Calibri" pitchFamily="34" charset="0"/>
              <a:cs typeface="Calibri" pitchFamily="34" charset="0"/>
            </a:endParaRPr>
          </a:p>
          <a:p>
            <a:pPr defTabSz="914400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ru-RU" sz="1400" dirty="0" smtClean="0">
                <a:latin typeface="Calibri" pitchFamily="34" charset="0"/>
                <a:cs typeface="Calibri" pitchFamily="34" charset="0"/>
              </a:rPr>
              <a:t> недостаточный ассортимент туров и низкий уровень сервиса для иностранцев</a:t>
            </a:r>
          </a:p>
        </p:txBody>
      </p:sp>
      <p:graphicFrame>
        <p:nvGraphicFramePr>
          <p:cNvPr id="60" name="Объект 59"/>
          <p:cNvGraphicFramePr>
            <a:graphicFrameLocks noChangeAspect="1"/>
          </p:cNvGraphicFramePr>
          <p:nvPr>
            <p:custDataLst>
              <p:tags r:id="rId31"/>
            </p:custDataLst>
          </p:nvPr>
        </p:nvGraphicFramePr>
        <p:xfrm>
          <a:off x="646112" y="1541462"/>
          <a:ext cx="4046159" cy="18668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61" name="Диаграмма" r:id="rId50" imgW="4046159" imgH="1866888" progId="MSGraph.Chart.8">
                  <p:embed followColorScheme="full"/>
                </p:oleObj>
              </mc:Choice>
              <mc:Fallback>
                <p:oleObj name="Диаграмма" r:id="rId50" imgW="4046159" imgH="1866888" progId="MSGraph.Chart.8">
                  <p:embed followColorScheme="full"/>
                  <p:pic>
                    <p:nvPicPr>
                      <p:cNvPr id="0" name="Picture 1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6112" y="1541462"/>
                        <a:ext cx="4046159" cy="18668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6" name="Прямая соединительная линия 55"/>
          <p:cNvCxnSpPr/>
          <p:nvPr>
            <p:custDataLst>
              <p:tags r:id="rId32"/>
            </p:custDataLst>
          </p:nvPr>
        </p:nvCxnSpPr>
        <p:spPr bwMode="gray">
          <a:xfrm>
            <a:off x="4440237" y="1643062"/>
            <a:ext cx="0" cy="152400"/>
          </a:xfrm>
          <a:prstGeom prst="line">
            <a:avLst/>
          </a:prstGeom>
          <a:ln w="12700">
            <a:solidFill>
              <a:srgbClr val="9BC62E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>
            <p:custDataLst>
              <p:tags r:id="rId33"/>
            </p:custDataLst>
          </p:nvPr>
        </p:nvCxnSpPr>
        <p:spPr bwMode="gray">
          <a:xfrm>
            <a:off x="995362" y="1643062"/>
            <a:ext cx="3444875" cy="0"/>
          </a:xfrm>
          <a:prstGeom prst="line">
            <a:avLst/>
          </a:prstGeom>
          <a:ln w="12700">
            <a:solidFill>
              <a:srgbClr val="9BC62E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>
            <p:custDataLst>
              <p:tags r:id="rId34"/>
            </p:custDataLst>
          </p:nvPr>
        </p:nvCxnSpPr>
        <p:spPr bwMode="gray">
          <a:xfrm flipV="1">
            <a:off x="995362" y="1643062"/>
            <a:ext cx="0" cy="503238"/>
          </a:xfrm>
          <a:prstGeom prst="line">
            <a:avLst/>
          </a:prstGeom>
          <a:ln w="12700">
            <a:solidFill>
              <a:srgbClr val="9BC62E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Овал 41"/>
          <p:cNvSpPr/>
          <p:nvPr>
            <p:custDataLst>
              <p:tags r:id="rId35"/>
            </p:custDataLst>
          </p:nvPr>
        </p:nvSpPr>
        <p:spPr bwMode="auto">
          <a:xfrm>
            <a:off x="2516187" y="1546225"/>
            <a:ext cx="404812" cy="193675"/>
          </a:xfrm>
          <a:prstGeom prst="ellipse">
            <a:avLst/>
          </a:prstGeom>
          <a:solidFill>
            <a:srgbClr val="9BC62E"/>
          </a:solidFill>
          <a:ln w="9525">
            <a:solidFill>
              <a:srgbClr val="9BC62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1A32C82-9856-40D8-BDD6-3535D3CBC412}" type="datetime'''+''''''''''''''''5''''''''''''''''9''''''''''''''''''%'">
              <a:rPr lang="en-US" sz="1000" b="1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+59%</a:t>
            </a:fld>
            <a:endParaRPr lang="ru-RU" sz="10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graphicFrame>
        <p:nvGraphicFramePr>
          <p:cNvPr id="69" name="Объект 68"/>
          <p:cNvGraphicFramePr>
            <a:graphicFrameLocks noChangeAspect="1"/>
          </p:cNvGraphicFramePr>
          <p:nvPr>
            <p:custDataLst>
              <p:tags r:id="rId36"/>
            </p:custDataLst>
          </p:nvPr>
        </p:nvGraphicFramePr>
        <p:xfrm>
          <a:off x="747712" y="4235450"/>
          <a:ext cx="3947183" cy="16763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62" name="Диаграмма" r:id="rId52" imgW="3947183" imgH="1676376" progId="MSGraph.Chart.8">
                  <p:embed followColorScheme="full"/>
                </p:oleObj>
              </mc:Choice>
              <mc:Fallback>
                <p:oleObj name="Диаграмма" r:id="rId52" imgW="3947183" imgH="1676376" progId="MSGraph.Chart.8">
                  <p:embed followColorScheme="full"/>
                  <p:pic>
                    <p:nvPicPr>
                      <p:cNvPr id="0" name="Picture 1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47712" y="4235450"/>
                        <a:ext cx="3947183" cy="167637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8" name="Прямая соединительная линия 57"/>
          <p:cNvCxnSpPr/>
          <p:nvPr>
            <p:custDataLst>
              <p:tags r:id="rId37"/>
            </p:custDataLst>
          </p:nvPr>
        </p:nvCxnSpPr>
        <p:spPr bwMode="gray">
          <a:xfrm>
            <a:off x="998537" y="4298950"/>
            <a:ext cx="3436938" cy="0"/>
          </a:xfrm>
          <a:prstGeom prst="line">
            <a:avLst/>
          </a:prstGeom>
          <a:ln w="12700">
            <a:solidFill>
              <a:srgbClr val="9BC62E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>
            <p:custDataLst>
              <p:tags r:id="rId38"/>
            </p:custDataLst>
          </p:nvPr>
        </p:nvCxnSpPr>
        <p:spPr bwMode="gray">
          <a:xfrm flipV="1">
            <a:off x="998537" y="4298950"/>
            <a:ext cx="0" cy="495300"/>
          </a:xfrm>
          <a:prstGeom prst="line">
            <a:avLst/>
          </a:prstGeom>
          <a:ln w="12700">
            <a:solidFill>
              <a:srgbClr val="9BC62E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>
            <p:custDataLst>
              <p:tags r:id="rId39"/>
            </p:custDataLst>
          </p:nvPr>
        </p:nvCxnSpPr>
        <p:spPr bwMode="gray">
          <a:xfrm>
            <a:off x="4435475" y="4298950"/>
            <a:ext cx="0" cy="198437"/>
          </a:xfrm>
          <a:prstGeom prst="line">
            <a:avLst/>
          </a:prstGeom>
          <a:ln w="12700">
            <a:solidFill>
              <a:srgbClr val="9BC62E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Прямоугольник 74"/>
          <p:cNvSpPr/>
          <p:nvPr>
            <p:custDataLst>
              <p:tags r:id="rId40"/>
            </p:custDataLst>
          </p:nvPr>
        </p:nvSpPr>
        <p:spPr bwMode="auto">
          <a:xfrm>
            <a:off x="608012" y="4456112"/>
            <a:ext cx="28892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Calibri"/>
                <a:sym typeface="Calibri"/>
              </a:rPr>
              <a:t>1 500</a:t>
            </a:r>
            <a:endParaRPr lang="ru-RU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4" name="Прямоугольник 73"/>
          <p:cNvSpPr/>
          <p:nvPr>
            <p:custDataLst>
              <p:tags r:id="rId41"/>
            </p:custDataLst>
          </p:nvPr>
        </p:nvSpPr>
        <p:spPr bwMode="auto">
          <a:xfrm>
            <a:off x="608012" y="4783137"/>
            <a:ext cx="28892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Calibri"/>
                <a:sym typeface="Calibri"/>
              </a:rPr>
              <a:t>1 000</a:t>
            </a:r>
            <a:endParaRPr lang="ru-RU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3" name="Прямоугольник 72"/>
          <p:cNvSpPr/>
          <p:nvPr>
            <p:custDataLst>
              <p:tags r:id="rId42"/>
            </p:custDataLst>
          </p:nvPr>
        </p:nvSpPr>
        <p:spPr bwMode="auto">
          <a:xfrm>
            <a:off x="701675" y="5111750"/>
            <a:ext cx="195262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599B3CA-3184-44B8-88DD-16DA1A619E61}" type="datetime'5''''''''''0''''''''''''''''''0'''''''''''''''''">
              <a:rPr lang="en-US" sz="10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00</a:t>
            </a:fld>
            <a:endParaRPr lang="ru-RU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2" name="Прямоугольник 71"/>
          <p:cNvSpPr/>
          <p:nvPr>
            <p:custDataLst>
              <p:tags r:id="rId43"/>
            </p:custDataLst>
          </p:nvPr>
        </p:nvSpPr>
        <p:spPr bwMode="auto">
          <a:xfrm>
            <a:off x="831850" y="5438775"/>
            <a:ext cx="650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981AC15-24EF-492E-976C-F32EEE4FEA5E}" type="datetime'''''''''''''''''''''''''''0'''''''''''''''''''''''">
              <a:rPr lang="en-US" sz="10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ru-RU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6" name="Овал 45"/>
          <p:cNvSpPr/>
          <p:nvPr>
            <p:custDataLst>
              <p:tags r:id="rId44"/>
            </p:custDataLst>
          </p:nvPr>
        </p:nvSpPr>
        <p:spPr bwMode="auto">
          <a:xfrm>
            <a:off x="2514600" y="4202112"/>
            <a:ext cx="404812" cy="193675"/>
          </a:xfrm>
          <a:prstGeom prst="ellipse">
            <a:avLst/>
          </a:prstGeom>
          <a:solidFill>
            <a:srgbClr val="9BC62E"/>
          </a:solidFill>
          <a:ln w="9525">
            <a:solidFill>
              <a:srgbClr val="9BC62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4335CA2-D0EA-4CB0-A0CE-33CB12440159}" type="datetime'''''''+''''''''''''''''''''6''''''''''5''''''''''%'''''''''''">
              <a:rPr lang="en-US" sz="1000" b="1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+65%</a:t>
            </a:fld>
            <a:endParaRPr lang="ru-RU" sz="10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 useBgFill="1">
        <p:nvSpPr>
          <p:cNvPr id="78" name="Прямоугольник 77"/>
          <p:cNvSpPr/>
          <p:nvPr>
            <p:custDataLst>
              <p:tags r:id="rId45"/>
            </p:custDataLst>
          </p:nvPr>
        </p:nvSpPr>
        <p:spPr bwMode="auto">
          <a:xfrm>
            <a:off x="2171700" y="4840287"/>
            <a:ext cx="230187" cy="15240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28A81F5-03EE-4DCD-BD70-DC55FAC35AA7}" type="datetime'''''6''''''''''''''''''''''''''''''''''''''''8''''7'''''">
              <a:rPr lang="en-US" sz="10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87</a:t>
            </a:fld>
            <a:endParaRPr lang="ru-RU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20692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1" name="Объект 50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76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Picture 67"/>
                      <p:cNvPicPr>
                        <a:picLocks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7" name="Picture 5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9" cstate="print"/>
          <a:srcRect l="72484" r="7669" b="45928"/>
          <a:stretch>
            <a:fillRect/>
          </a:stretch>
        </p:blipFill>
        <p:spPr bwMode="auto">
          <a:xfrm>
            <a:off x="0" y="1071546"/>
            <a:ext cx="3559994" cy="542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Объект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 smtClean="0"/>
              <a:t>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8244328" y="6599781"/>
            <a:ext cx="1626089" cy="250624"/>
          </a:xfrm>
        </p:spPr>
        <p:txBody>
          <a:bodyPr/>
          <a:lstStyle/>
          <a:p>
            <a:fld id="{B4D9BBBD-F0FB-4A84-8F1D-95982A81857C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9" name="Название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91608" y="262072"/>
            <a:ext cx="8695297" cy="523723"/>
          </a:xfrm>
        </p:spPr>
        <p:txBody>
          <a:bodyPr vert="horz" lIns="65298" tIns="32649" rIns="65298" bIns="32649" rtlCol="0" anchor="ctr">
            <a:normAutofit fontScale="90000"/>
          </a:bodyPr>
          <a:lstStyle/>
          <a:p>
            <a:pPr indent="714375"/>
            <a:r>
              <a:rPr lang="ru-RU" sz="2400" dirty="0" smtClean="0"/>
              <a:t>Потенциальный поток туристов по направлениям к </a:t>
            </a:r>
            <a:r>
              <a:rPr lang="en-US" sz="2400" dirty="0" smtClean="0"/>
              <a:t>2025</a:t>
            </a:r>
            <a:r>
              <a:rPr lang="ru-RU" sz="2400" dirty="0" smtClean="0"/>
              <a:t> г.</a:t>
            </a:r>
            <a:endParaRPr lang="ru-RU" sz="2200" dirty="0" smtClean="0"/>
          </a:p>
        </p:txBody>
      </p:sp>
      <p:sp>
        <p:nvSpPr>
          <p:cNvPr id="504" name="Овал 503"/>
          <p:cNvSpPr/>
          <p:nvPr>
            <p:custDataLst>
              <p:tags r:id="rId7"/>
            </p:custDataLst>
          </p:nvPr>
        </p:nvSpPr>
        <p:spPr>
          <a:xfrm>
            <a:off x="2476483" y="2500306"/>
            <a:ext cx="309565" cy="28575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>
            <p:custDataLst>
              <p:tags r:id="rId8"/>
            </p:custDataLst>
          </p:nvPr>
        </p:nvSpPr>
        <p:spPr bwMode="auto">
          <a:xfrm>
            <a:off x="3996000" y="2071907"/>
            <a:ext cx="5493600" cy="43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ctr"/>
          <a:lstStyle/>
          <a:p>
            <a:pPr algn="ctr" defTabSz="900113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AE2C25"/>
              </a:buClr>
              <a:buSzPct val="110000"/>
            </a:pPr>
            <a:r>
              <a:rPr lang="ru-RU" b="1" dirty="0" smtClean="0">
                <a:solidFill>
                  <a:schemeClr val="tx1"/>
                </a:solidFill>
              </a:rPr>
              <a:t>Экологический туризм – 240 тыс. чел.</a:t>
            </a:r>
          </a:p>
        </p:txBody>
      </p:sp>
      <p:sp>
        <p:nvSpPr>
          <p:cNvPr id="24" name="Прямоугольник 23"/>
          <p:cNvSpPr/>
          <p:nvPr>
            <p:custDataLst>
              <p:tags r:id="rId9"/>
            </p:custDataLst>
          </p:nvPr>
        </p:nvSpPr>
        <p:spPr bwMode="auto">
          <a:xfrm>
            <a:off x="3996000" y="3509909"/>
            <a:ext cx="5493600" cy="43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ctr"/>
          <a:lstStyle/>
          <a:p>
            <a:pPr algn="ctr" defTabSz="900113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AE2C25"/>
              </a:buClr>
              <a:buSzPct val="110000"/>
            </a:pPr>
            <a:r>
              <a:rPr lang="ru-RU" b="1" dirty="0" smtClean="0">
                <a:solidFill>
                  <a:schemeClr val="tx1"/>
                </a:solidFill>
              </a:rPr>
              <a:t>Горнолыжный туризм – 225 тыс. чел.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0"/>
            </p:custDataLst>
          </p:nvPr>
        </p:nvSpPr>
        <p:spPr bwMode="auto">
          <a:xfrm>
            <a:off x="3996000" y="4944790"/>
            <a:ext cx="5493600" cy="43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ctr"/>
          <a:lstStyle/>
          <a:p>
            <a:pPr algn="ctr" defTabSz="900113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AE2C25"/>
              </a:buClr>
              <a:buSzPct val="110000"/>
            </a:pPr>
            <a:r>
              <a:rPr lang="ru-RU" b="1" dirty="0" smtClean="0">
                <a:solidFill>
                  <a:schemeClr val="tx1"/>
                </a:solidFill>
              </a:rPr>
              <a:t>Круизный туризм – 300 тыс. чел.</a:t>
            </a: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26" name="Picture 18" descr="Кроноцкий заповедник проведет литературный конкурс к своему 80-летию - новости на сегодня 05.02.2014"/>
          <p:cNvPicPr>
            <a:picLocks noChangeArrowheads="1"/>
          </p:cNvPicPr>
          <p:nvPr>
            <p:custDataLst>
              <p:tags r:id="rId11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6935117" y="1197888"/>
            <a:ext cx="2552400" cy="892800"/>
          </a:xfrm>
          <a:prstGeom prst="rect">
            <a:avLst/>
          </a:prstGeom>
          <a:noFill/>
        </p:spPr>
      </p:pic>
      <p:pic>
        <p:nvPicPr>
          <p:cNvPr id="27" name="Рисунок 26" descr="serena10_666_9ffcf1800ce08d40957f01cba230946e.jpg"/>
          <p:cNvPicPr>
            <a:picLocks/>
          </p:cNvPicPr>
          <p:nvPr>
            <p:custDataLst>
              <p:tags r:id="rId12"/>
            </p:custDataLst>
          </p:nvPr>
        </p:nvPicPr>
        <p:blipFill>
          <a:blip r:embed="rId21" cstate="print"/>
          <a:srcRect l="363" t="13649" r="14303" b="12373"/>
          <a:stretch>
            <a:fillRect/>
          </a:stretch>
        </p:blipFill>
        <p:spPr>
          <a:xfrm>
            <a:off x="6933600" y="3948288"/>
            <a:ext cx="2556000" cy="999042"/>
          </a:xfrm>
          <a:prstGeom prst="rect">
            <a:avLst/>
          </a:prstGeom>
        </p:spPr>
      </p:pic>
      <p:pic>
        <p:nvPicPr>
          <p:cNvPr id="28" name="Picture 1" descr="C:\Users\Екатерина Пикулева\Downloads\vulc_arik_11.jpg"/>
          <p:cNvPicPr>
            <a:picLocks noChangeArrowheads="1"/>
          </p:cNvPicPr>
          <p:nvPr>
            <p:custDataLst>
              <p:tags r:id="rId13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6933016" y="2508288"/>
            <a:ext cx="2556000" cy="1008000"/>
          </a:xfrm>
          <a:prstGeom prst="rect">
            <a:avLst/>
          </a:prstGeom>
          <a:noFill/>
        </p:spPr>
      </p:pic>
      <p:pic>
        <p:nvPicPr>
          <p:cNvPr id="29" name="Рисунок 28" descr="img4.jpg"/>
          <p:cNvPicPr>
            <a:picLocks noChangeAspect="1"/>
          </p:cNvPicPr>
          <p:nvPr/>
        </p:nvPicPr>
        <p:blipFill>
          <a:blip r:embed="rId23" cstate="print"/>
          <a:srcRect t="12935" r="1810" b="27485"/>
          <a:stretch>
            <a:fillRect/>
          </a:stretch>
        </p:blipFill>
        <p:spPr>
          <a:xfrm>
            <a:off x="3996266" y="3948754"/>
            <a:ext cx="2946401" cy="998822"/>
          </a:xfrm>
          <a:prstGeom prst="rect">
            <a:avLst/>
          </a:prstGeom>
        </p:spPr>
      </p:pic>
      <p:pic>
        <p:nvPicPr>
          <p:cNvPr id="94212" name="Picture 4" descr="Турагентство Семь Чудес"/>
          <p:cNvPicPr>
            <a:picLocks noChangeArrowheads="1"/>
          </p:cNvPicPr>
          <p:nvPr/>
        </p:nvPicPr>
        <p:blipFill>
          <a:blip r:embed="rId24" cstate="print"/>
          <a:srcRect t="20589" r="861" b="20491"/>
          <a:stretch>
            <a:fillRect/>
          </a:stretch>
        </p:blipFill>
        <p:spPr bwMode="auto">
          <a:xfrm>
            <a:off x="3996000" y="2509332"/>
            <a:ext cx="2944800" cy="1006599"/>
          </a:xfrm>
          <a:prstGeom prst="rect">
            <a:avLst/>
          </a:prstGeom>
          <a:noFill/>
        </p:spPr>
      </p:pic>
      <p:pic>
        <p:nvPicPr>
          <p:cNvPr id="94214" name="Picture 6" descr="Долина гейзеров на Камчатке празднует юбилей Мировые новости"/>
          <p:cNvPicPr>
            <a:picLocks noChangeArrowheads="1"/>
          </p:cNvPicPr>
          <p:nvPr/>
        </p:nvPicPr>
        <p:blipFill>
          <a:blip r:embed="rId25" cstate="print"/>
          <a:srcRect t="20914" r="2922" b="21018"/>
          <a:stretch>
            <a:fillRect/>
          </a:stretch>
        </p:blipFill>
        <p:spPr bwMode="auto">
          <a:xfrm>
            <a:off x="3995619" y="1197116"/>
            <a:ext cx="2944800" cy="892800"/>
          </a:xfrm>
          <a:prstGeom prst="rect">
            <a:avLst/>
          </a:prstGeom>
          <a:noFill/>
        </p:spPr>
      </p:pic>
      <p:sp>
        <p:nvSpPr>
          <p:cNvPr id="17" name="Прямоугольник 16"/>
          <p:cNvSpPr/>
          <p:nvPr>
            <p:custDataLst>
              <p:tags r:id="rId14"/>
            </p:custDataLst>
          </p:nvPr>
        </p:nvSpPr>
        <p:spPr bwMode="auto">
          <a:xfrm>
            <a:off x="3996000" y="6331764"/>
            <a:ext cx="5493600" cy="43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72000" rIns="36000" bIns="72000" rtlCol="0" anchor="ctr"/>
          <a:lstStyle/>
          <a:p>
            <a:pPr algn="ctr" defTabSz="900113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AE2C25"/>
              </a:buClr>
              <a:buSzPct val="110000"/>
            </a:pPr>
            <a:r>
              <a:rPr lang="ru-RU" b="1" dirty="0" smtClean="0">
                <a:solidFill>
                  <a:schemeClr val="tx1"/>
                </a:solidFill>
              </a:rPr>
              <a:t>Прочие виды туризма – 55 тыс. чел.</a:t>
            </a: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133126" name="Picture 6" descr="Платная рыбалка на Камчатке в сентябре и октябре. Рыболовный тур на реку Радуга."/>
          <p:cNvPicPr>
            <a:picLocks noChangeArrowheads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16" b="18034"/>
          <a:stretch/>
        </p:blipFill>
        <p:spPr bwMode="auto">
          <a:xfrm>
            <a:off x="6933600" y="5390838"/>
            <a:ext cx="2556000" cy="97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30" name="Picture 10" descr="Охота на Камчатке, охота в Приморье, охота в Татарстане, сроки охоты на копытных, открытие охоты на копытных, охота на пернатую дичь"/>
          <p:cNvPicPr>
            <a:picLocks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127"/>
          <a:stretch/>
        </p:blipFill>
        <p:spPr bwMode="auto">
          <a:xfrm>
            <a:off x="3996000" y="5390838"/>
            <a:ext cx="2944800" cy="97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996266" y="816620"/>
            <a:ext cx="54933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spc="75" dirty="0" smtClean="0">
                <a:solidFill>
                  <a:schemeClr val="accent5">
                    <a:lumMod val="50000"/>
                  </a:schemeClr>
                </a:solidFill>
                <a:cs typeface="Segoe UI" pitchFamily="34" charset="0"/>
              </a:rPr>
              <a:t>Всего – 820 </a:t>
            </a:r>
            <a:r>
              <a:rPr lang="ru-RU" b="1" spc="75" dirty="0">
                <a:solidFill>
                  <a:schemeClr val="accent5">
                    <a:lumMod val="50000"/>
                  </a:schemeClr>
                </a:solidFill>
                <a:cs typeface="Segoe UI" pitchFamily="34" charset="0"/>
              </a:rPr>
              <a:t>тыс. турист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1886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44" name="think-cell Slide" r:id="rId62" imgW="360" imgH="360" progId="TCLayout.ActiveDocument.1">
                  <p:embed/>
                </p:oleObj>
              </mc:Choice>
              <mc:Fallback>
                <p:oleObj name="think-cell Slide" r:id="rId62" imgW="360" imgH="360" progId="TCLayout.ActiveDocument.1">
                  <p:embed/>
                  <p:pic>
                    <p:nvPicPr>
                      <p:cNvPr id="0" name="Picture 847"/>
                      <p:cNvPicPr>
                        <a:picLocks noChangeArrowheads="1"/>
                      </p:cNvPicPr>
                      <p:nvPr/>
                    </p:nvPicPr>
                    <p:blipFill>
                      <a:blip r:embed="rId6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0" name="Прямоугольник 33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100" b="1">
              <a:latin typeface="Calibri"/>
              <a:sym typeface="Calibri"/>
            </a:endParaRPr>
          </a:p>
        </p:txBody>
      </p:sp>
      <p:grpSp>
        <p:nvGrpSpPr>
          <p:cNvPr id="3" name="Группа 1475"/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159307" y="1635650"/>
            <a:ext cx="7572790" cy="4024180"/>
            <a:chOff x="263320" y="1214429"/>
            <a:chExt cx="8737790" cy="5030251"/>
          </a:xfrm>
        </p:grpSpPr>
        <p:sp>
          <p:nvSpPr>
            <p:cNvPr id="1477" name="Freeform 6"/>
            <p:cNvSpPr>
              <a:spLocks noChangeAspect="1"/>
            </p:cNvSpPr>
            <p:nvPr/>
          </p:nvSpPr>
          <p:spPr bwMode="auto">
            <a:xfrm>
              <a:off x="305518" y="3534637"/>
              <a:ext cx="210988" cy="234295"/>
            </a:xfrm>
            <a:custGeom>
              <a:avLst/>
              <a:gdLst/>
              <a:ahLst/>
              <a:cxnLst>
                <a:cxn ang="0">
                  <a:pos x="357" y="22"/>
                </a:cxn>
                <a:cxn ang="0">
                  <a:pos x="359" y="0"/>
                </a:cxn>
                <a:cxn ang="0">
                  <a:pos x="328" y="0"/>
                </a:cxn>
                <a:cxn ang="0">
                  <a:pos x="210" y="0"/>
                </a:cxn>
                <a:cxn ang="0">
                  <a:pos x="193" y="27"/>
                </a:cxn>
                <a:cxn ang="0">
                  <a:pos x="138" y="20"/>
                </a:cxn>
                <a:cxn ang="0">
                  <a:pos x="131" y="79"/>
                </a:cxn>
                <a:cxn ang="0">
                  <a:pos x="111" y="110"/>
                </a:cxn>
                <a:cxn ang="0">
                  <a:pos x="70" y="127"/>
                </a:cxn>
                <a:cxn ang="0">
                  <a:pos x="52" y="145"/>
                </a:cxn>
                <a:cxn ang="0">
                  <a:pos x="55" y="213"/>
                </a:cxn>
                <a:cxn ang="0">
                  <a:pos x="28" y="221"/>
                </a:cxn>
                <a:cxn ang="0">
                  <a:pos x="35" y="252"/>
                </a:cxn>
                <a:cxn ang="0">
                  <a:pos x="15" y="268"/>
                </a:cxn>
                <a:cxn ang="0">
                  <a:pos x="0" y="316"/>
                </a:cxn>
                <a:cxn ang="0">
                  <a:pos x="4" y="379"/>
                </a:cxn>
                <a:cxn ang="0">
                  <a:pos x="20" y="386"/>
                </a:cxn>
                <a:cxn ang="0">
                  <a:pos x="87" y="395"/>
                </a:cxn>
                <a:cxn ang="0">
                  <a:pos x="127" y="395"/>
                </a:cxn>
                <a:cxn ang="0">
                  <a:pos x="131" y="327"/>
                </a:cxn>
                <a:cxn ang="0">
                  <a:pos x="142" y="289"/>
                </a:cxn>
                <a:cxn ang="0">
                  <a:pos x="170" y="265"/>
                </a:cxn>
                <a:cxn ang="0">
                  <a:pos x="210" y="276"/>
                </a:cxn>
                <a:cxn ang="0">
                  <a:pos x="210" y="123"/>
                </a:cxn>
                <a:cxn ang="0">
                  <a:pos x="320" y="114"/>
                </a:cxn>
                <a:cxn ang="0">
                  <a:pos x="339" y="86"/>
                </a:cxn>
                <a:cxn ang="0">
                  <a:pos x="357" y="22"/>
                </a:cxn>
              </a:cxnLst>
              <a:rect l="0" t="0" r="r" b="b"/>
              <a:pathLst>
                <a:path w="359" h="395">
                  <a:moveTo>
                    <a:pt x="357" y="22"/>
                  </a:moveTo>
                  <a:lnTo>
                    <a:pt x="359" y="0"/>
                  </a:lnTo>
                  <a:lnTo>
                    <a:pt x="328" y="0"/>
                  </a:lnTo>
                  <a:lnTo>
                    <a:pt x="210" y="0"/>
                  </a:lnTo>
                  <a:lnTo>
                    <a:pt x="193" y="27"/>
                  </a:lnTo>
                  <a:lnTo>
                    <a:pt x="138" y="20"/>
                  </a:lnTo>
                  <a:lnTo>
                    <a:pt x="131" y="79"/>
                  </a:lnTo>
                  <a:lnTo>
                    <a:pt x="111" y="110"/>
                  </a:lnTo>
                  <a:lnTo>
                    <a:pt x="70" y="127"/>
                  </a:lnTo>
                  <a:lnTo>
                    <a:pt x="52" y="145"/>
                  </a:lnTo>
                  <a:lnTo>
                    <a:pt x="55" y="213"/>
                  </a:lnTo>
                  <a:lnTo>
                    <a:pt x="28" y="221"/>
                  </a:lnTo>
                  <a:lnTo>
                    <a:pt x="35" y="252"/>
                  </a:lnTo>
                  <a:lnTo>
                    <a:pt x="15" y="268"/>
                  </a:lnTo>
                  <a:lnTo>
                    <a:pt x="0" y="316"/>
                  </a:lnTo>
                  <a:lnTo>
                    <a:pt x="4" y="379"/>
                  </a:lnTo>
                  <a:lnTo>
                    <a:pt x="20" y="386"/>
                  </a:lnTo>
                  <a:lnTo>
                    <a:pt x="87" y="395"/>
                  </a:lnTo>
                  <a:lnTo>
                    <a:pt x="127" y="395"/>
                  </a:lnTo>
                  <a:lnTo>
                    <a:pt x="131" y="327"/>
                  </a:lnTo>
                  <a:lnTo>
                    <a:pt x="142" y="289"/>
                  </a:lnTo>
                  <a:lnTo>
                    <a:pt x="170" y="265"/>
                  </a:lnTo>
                  <a:lnTo>
                    <a:pt x="210" y="276"/>
                  </a:lnTo>
                  <a:lnTo>
                    <a:pt x="210" y="123"/>
                  </a:lnTo>
                  <a:lnTo>
                    <a:pt x="320" y="114"/>
                  </a:lnTo>
                  <a:lnTo>
                    <a:pt x="339" y="86"/>
                  </a:lnTo>
                  <a:lnTo>
                    <a:pt x="357" y="2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78" name="Freeform 7"/>
            <p:cNvSpPr>
              <a:spLocks noChangeAspect="1"/>
            </p:cNvSpPr>
            <p:nvPr/>
          </p:nvSpPr>
          <p:spPr bwMode="auto">
            <a:xfrm>
              <a:off x="6907053" y="3960301"/>
              <a:ext cx="50988" cy="37274"/>
            </a:xfrm>
            <a:custGeom>
              <a:avLst/>
              <a:gdLst/>
              <a:ahLst/>
              <a:cxnLst>
                <a:cxn ang="0">
                  <a:pos x="88" y="62"/>
                </a:cxn>
                <a:cxn ang="0">
                  <a:pos x="85" y="3"/>
                </a:cxn>
                <a:cxn ang="0">
                  <a:pos x="33" y="0"/>
                </a:cxn>
                <a:cxn ang="0">
                  <a:pos x="0" y="15"/>
                </a:cxn>
                <a:cxn ang="0">
                  <a:pos x="88" y="62"/>
                </a:cxn>
              </a:cxnLst>
              <a:rect l="0" t="0" r="r" b="b"/>
              <a:pathLst>
                <a:path w="88" h="62">
                  <a:moveTo>
                    <a:pt x="88" y="62"/>
                  </a:moveTo>
                  <a:lnTo>
                    <a:pt x="85" y="3"/>
                  </a:lnTo>
                  <a:lnTo>
                    <a:pt x="33" y="0"/>
                  </a:lnTo>
                  <a:lnTo>
                    <a:pt x="0" y="15"/>
                  </a:lnTo>
                  <a:lnTo>
                    <a:pt x="88" y="6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79" name="Freeform 8"/>
            <p:cNvSpPr>
              <a:spLocks noChangeAspect="1"/>
            </p:cNvSpPr>
            <p:nvPr/>
          </p:nvSpPr>
          <p:spPr bwMode="auto">
            <a:xfrm>
              <a:off x="7321997" y="3772153"/>
              <a:ext cx="77363" cy="74548"/>
            </a:xfrm>
            <a:custGeom>
              <a:avLst/>
              <a:gdLst/>
              <a:ahLst/>
              <a:cxnLst>
                <a:cxn ang="0">
                  <a:pos x="98" y="4"/>
                </a:cxn>
                <a:cxn ang="0">
                  <a:pos x="79" y="43"/>
                </a:cxn>
                <a:cxn ang="0">
                  <a:pos x="98" y="66"/>
                </a:cxn>
                <a:cxn ang="0">
                  <a:pos x="71" y="83"/>
                </a:cxn>
                <a:cxn ang="0">
                  <a:pos x="0" y="83"/>
                </a:cxn>
                <a:cxn ang="0">
                  <a:pos x="11" y="118"/>
                </a:cxn>
                <a:cxn ang="0">
                  <a:pos x="63" y="122"/>
                </a:cxn>
                <a:cxn ang="0">
                  <a:pos x="114" y="125"/>
                </a:cxn>
                <a:cxn ang="0">
                  <a:pos x="130" y="90"/>
                </a:cxn>
                <a:cxn ang="0">
                  <a:pos x="130" y="24"/>
                </a:cxn>
                <a:cxn ang="0">
                  <a:pos x="130" y="0"/>
                </a:cxn>
                <a:cxn ang="0">
                  <a:pos x="98" y="4"/>
                </a:cxn>
              </a:cxnLst>
              <a:rect l="0" t="0" r="r" b="b"/>
              <a:pathLst>
                <a:path w="130" h="125">
                  <a:moveTo>
                    <a:pt x="98" y="4"/>
                  </a:moveTo>
                  <a:lnTo>
                    <a:pt x="79" y="43"/>
                  </a:lnTo>
                  <a:lnTo>
                    <a:pt x="98" y="66"/>
                  </a:lnTo>
                  <a:lnTo>
                    <a:pt x="71" y="83"/>
                  </a:lnTo>
                  <a:lnTo>
                    <a:pt x="0" y="83"/>
                  </a:lnTo>
                  <a:lnTo>
                    <a:pt x="11" y="118"/>
                  </a:lnTo>
                  <a:lnTo>
                    <a:pt x="63" y="122"/>
                  </a:lnTo>
                  <a:lnTo>
                    <a:pt x="114" y="125"/>
                  </a:lnTo>
                  <a:lnTo>
                    <a:pt x="130" y="90"/>
                  </a:lnTo>
                  <a:lnTo>
                    <a:pt x="130" y="24"/>
                  </a:lnTo>
                  <a:lnTo>
                    <a:pt x="130" y="0"/>
                  </a:lnTo>
                  <a:lnTo>
                    <a:pt x="98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80" name="Freeform 9"/>
            <p:cNvSpPr>
              <a:spLocks noChangeAspect="1"/>
            </p:cNvSpPr>
            <p:nvPr/>
          </p:nvSpPr>
          <p:spPr bwMode="auto">
            <a:xfrm>
              <a:off x="738043" y="4040502"/>
              <a:ext cx="87911" cy="195246"/>
            </a:xfrm>
            <a:custGeom>
              <a:avLst/>
              <a:gdLst/>
              <a:ahLst/>
              <a:cxnLst>
                <a:cxn ang="0">
                  <a:pos x="0" y="116"/>
                </a:cxn>
                <a:cxn ang="0">
                  <a:pos x="20" y="147"/>
                </a:cxn>
                <a:cxn ang="0">
                  <a:pos x="31" y="210"/>
                </a:cxn>
                <a:cxn ang="0">
                  <a:pos x="36" y="269"/>
                </a:cxn>
                <a:cxn ang="0">
                  <a:pos x="51" y="328"/>
                </a:cxn>
                <a:cxn ang="0">
                  <a:pos x="110" y="300"/>
                </a:cxn>
                <a:cxn ang="0">
                  <a:pos x="99" y="197"/>
                </a:cxn>
                <a:cxn ang="0">
                  <a:pos x="127" y="162"/>
                </a:cxn>
                <a:cxn ang="0">
                  <a:pos x="150" y="59"/>
                </a:cxn>
                <a:cxn ang="0">
                  <a:pos x="143" y="0"/>
                </a:cxn>
                <a:cxn ang="0">
                  <a:pos x="99" y="4"/>
                </a:cxn>
                <a:cxn ang="0">
                  <a:pos x="86" y="52"/>
                </a:cxn>
                <a:cxn ang="0">
                  <a:pos x="36" y="68"/>
                </a:cxn>
                <a:cxn ang="0">
                  <a:pos x="0" y="116"/>
                </a:cxn>
              </a:cxnLst>
              <a:rect l="0" t="0" r="r" b="b"/>
              <a:pathLst>
                <a:path w="150" h="328">
                  <a:moveTo>
                    <a:pt x="0" y="116"/>
                  </a:moveTo>
                  <a:lnTo>
                    <a:pt x="20" y="147"/>
                  </a:lnTo>
                  <a:lnTo>
                    <a:pt x="31" y="210"/>
                  </a:lnTo>
                  <a:lnTo>
                    <a:pt x="36" y="269"/>
                  </a:lnTo>
                  <a:lnTo>
                    <a:pt x="51" y="328"/>
                  </a:lnTo>
                  <a:lnTo>
                    <a:pt x="110" y="300"/>
                  </a:lnTo>
                  <a:lnTo>
                    <a:pt x="99" y="197"/>
                  </a:lnTo>
                  <a:lnTo>
                    <a:pt x="127" y="162"/>
                  </a:lnTo>
                  <a:lnTo>
                    <a:pt x="150" y="59"/>
                  </a:lnTo>
                  <a:lnTo>
                    <a:pt x="143" y="0"/>
                  </a:lnTo>
                  <a:lnTo>
                    <a:pt x="99" y="4"/>
                  </a:lnTo>
                  <a:lnTo>
                    <a:pt x="86" y="52"/>
                  </a:lnTo>
                  <a:lnTo>
                    <a:pt x="36" y="68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81" name="Freeform 10"/>
            <p:cNvSpPr>
              <a:spLocks noChangeAspect="1"/>
            </p:cNvSpPr>
            <p:nvPr/>
          </p:nvSpPr>
          <p:spPr bwMode="auto">
            <a:xfrm>
              <a:off x="1038702" y="4940410"/>
              <a:ext cx="260219" cy="395817"/>
            </a:xfrm>
            <a:custGeom>
              <a:avLst/>
              <a:gdLst/>
              <a:ahLst/>
              <a:cxnLst>
                <a:cxn ang="0">
                  <a:pos x="3" y="18"/>
                </a:cxn>
                <a:cxn ang="0">
                  <a:pos x="48" y="0"/>
                </a:cxn>
                <a:cxn ang="0">
                  <a:pos x="96" y="23"/>
                </a:cxn>
                <a:cxn ang="0">
                  <a:pos x="176" y="31"/>
                </a:cxn>
                <a:cxn ang="0">
                  <a:pos x="293" y="27"/>
                </a:cxn>
                <a:cxn ang="0">
                  <a:pos x="309" y="52"/>
                </a:cxn>
                <a:cxn ang="0">
                  <a:pos x="406" y="65"/>
                </a:cxn>
                <a:cxn ang="0">
                  <a:pos x="444" y="71"/>
                </a:cxn>
                <a:cxn ang="0">
                  <a:pos x="420" y="113"/>
                </a:cxn>
                <a:cxn ang="0">
                  <a:pos x="417" y="275"/>
                </a:cxn>
                <a:cxn ang="0">
                  <a:pos x="395" y="292"/>
                </a:cxn>
                <a:cxn ang="0">
                  <a:pos x="371" y="301"/>
                </a:cxn>
                <a:cxn ang="0">
                  <a:pos x="374" y="465"/>
                </a:cxn>
                <a:cxn ang="0">
                  <a:pos x="362" y="643"/>
                </a:cxn>
                <a:cxn ang="0">
                  <a:pos x="334" y="671"/>
                </a:cxn>
                <a:cxn ang="0">
                  <a:pos x="275" y="665"/>
                </a:cxn>
                <a:cxn ang="0">
                  <a:pos x="254" y="627"/>
                </a:cxn>
                <a:cxn ang="0">
                  <a:pos x="244" y="641"/>
                </a:cxn>
                <a:cxn ang="0">
                  <a:pos x="210" y="645"/>
                </a:cxn>
                <a:cxn ang="0">
                  <a:pos x="197" y="604"/>
                </a:cxn>
                <a:cxn ang="0">
                  <a:pos x="174" y="577"/>
                </a:cxn>
                <a:cxn ang="0">
                  <a:pos x="142" y="571"/>
                </a:cxn>
                <a:cxn ang="0">
                  <a:pos x="145" y="508"/>
                </a:cxn>
                <a:cxn ang="0">
                  <a:pos x="131" y="440"/>
                </a:cxn>
                <a:cxn ang="0">
                  <a:pos x="128" y="391"/>
                </a:cxn>
                <a:cxn ang="0">
                  <a:pos x="125" y="328"/>
                </a:cxn>
                <a:cxn ang="0">
                  <a:pos x="108" y="282"/>
                </a:cxn>
                <a:cxn ang="0">
                  <a:pos x="93" y="249"/>
                </a:cxn>
                <a:cxn ang="0">
                  <a:pos x="79" y="215"/>
                </a:cxn>
                <a:cxn ang="0">
                  <a:pos x="49" y="157"/>
                </a:cxn>
                <a:cxn ang="0">
                  <a:pos x="35" y="129"/>
                </a:cxn>
                <a:cxn ang="0">
                  <a:pos x="0" y="81"/>
                </a:cxn>
                <a:cxn ang="0">
                  <a:pos x="3" y="18"/>
                </a:cxn>
              </a:cxnLst>
              <a:rect l="0" t="0" r="r" b="b"/>
              <a:pathLst>
                <a:path w="444" h="671">
                  <a:moveTo>
                    <a:pt x="3" y="18"/>
                  </a:moveTo>
                  <a:lnTo>
                    <a:pt x="48" y="0"/>
                  </a:lnTo>
                  <a:lnTo>
                    <a:pt x="96" y="23"/>
                  </a:lnTo>
                  <a:lnTo>
                    <a:pt x="176" y="31"/>
                  </a:lnTo>
                  <a:lnTo>
                    <a:pt x="293" y="27"/>
                  </a:lnTo>
                  <a:lnTo>
                    <a:pt x="309" y="52"/>
                  </a:lnTo>
                  <a:lnTo>
                    <a:pt x="406" y="65"/>
                  </a:lnTo>
                  <a:lnTo>
                    <a:pt x="444" y="71"/>
                  </a:lnTo>
                  <a:lnTo>
                    <a:pt x="420" y="113"/>
                  </a:lnTo>
                  <a:lnTo>
                    <a:pt x="417" y="275"/>
                  </a:lnTo>
                  <a:lnTo>
                    <a:pt x="395" y="292"/>
                  </a:lnTo>
                  <a:lnTo>
                    <a:pt x="371" y="301"/>
                  </a:lnTo>
                  <a:lnTo>
                    <a:pt x="374" y="465"/>
                  </a:lnTo>
                  <a:lnTo>
                    <a:pt x="362" y="643"/>
                  </a:lnTo>
                  <a:lnTo>
                    <a:pt x="334" y="671"/>
                  </a:lnTo>
                  <a:lnTo>
                    <a:pt x="275" y="665"/>
                  </a:lnTo>
                  <a:lnTo>
                    <a:pt x="254" y="627"/>
                  </a:lnTo>
                  <a:lnTo>
                    <a:pt x="244" y="641"/>
                  </a:lnTo>
                  <a:lnTo>
                    <a:pt x="210" y="645"/>
                  </a:lnTo>
                  <a:lnTo>
                    <a:pt x="197" y="604"/>
                  </a:lnTo>
                  <a:lnTo>
                    <a:pt x="174" y="577"/>
                  </a:lnTo>
                  <a:lnTo>
                    <a:pt x="142" y="571"/>
                  </a:lnTo>
                  <a:lnTo>
                    <a:pt x="145" y="508"/>
                  </a:lnTo>
                  <a:lnTo>
                    <a:pt x="131" y="440"/>
                  </a:lnTo>
                  <a:lnTo>
                    <a:pt x="128" y="391"/>
                  </a:lnTo>
                  <a:lnTo>
                    <a:pt x="125" y="328"/>
                  </a:lnTo>
                  <a:lnTo>
                    <a:pt x="108" y="282"/>
                  </a:lnTo>
                  <a:lnTo>
                    <a:pt x="93" y="249"/>
                  </a:lnTo>
                  <a:lnTo>
                    <a:pt x="79" y="215"/>
                  </a:lnTo>
                  <a:lnTo>
                    <a:pt x="49" y="157"/>
                  </a:lnTo>
                  <a:lnTo>
                    <a:pt x="35" y="129"/>
                  </a:lnTo>
                  <a:lnTo>
                    <a:pt x="0" y="81"/>
                  </a:lnTo>
                  <a:lnTo>
                    <a:pt x="3" y="1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82" name="Freeform 11"/>
            <p:cNvSpPr>
              <a:spLocks noChangeAspect="1"/>
            </p:cNvSpPr>
            <p:nvPr/>
          </p:nvSpPr>
          <p:spPr bwMode="auto">
            <a:xfrm>
              <a:off x="4774951" y="4459393"/>
              <a:ext cx="52747" cy="763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3" y="64"/>
                </a:cxn>
                <a:cxn ang="0">
                  <a:pos x="72" y="127"/>
                </a:cxn>
                <a:cxn ang="0">
                  <a:pos x="88" y="48"/>
                </a:cxn>
                <a:cxn ang="0">
                  <a:pos x="0" y="0"/>
                </a:cxn>
              </a:cxnLst>
              <a:rect l="0" t="0" r="r" b="b"/>
              <a:pathLst>
                <a:path w="88" h="127">
                  <a:moveTo>
                    <a:pt x="0" y="0"/>
                  </a:moveTo>
                  <a:lnTo>
                    <a:pt x="33" y="64"/>
                  </a:lnTo>
                  <a:lnTo>
                    <a:pt x="72" y="127"/>
                  </a:lnTo>
                  <a:lnTo>
                    <a:pt x="88" y="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83" name="Freeform 12"/>
            <p:cNvSpPr>
              <a:spLocks noChangeAspect="1"/>
            </p:cNvSpPr>
            <p:nvPr/>
          </p:nvSpPr>
          <p:spPr bwMode="auto">
            <a:xfrm>
              <a:off x="6237165" y="3365688"/>
              <a:ext cx="761316" cy="580414"/>
            </a:xfrm>
            <a:custGeom>
              <a:avLst/>
              <a:gdLst/>
              <a:ahLst/>
              <a:cxnLst>
                <a:cxn ang="0">
                  <a:pos x="774" y="375"/>
                </a:cxn>
                <a:cxn ang="0">
                  <a:pos x="723" y="292"/>
                </a:cxn>
                <a:cxn ang="0">
                  <a:pos x="683" y="189"/>
                </a:cxn>
                <a:cxn ang="0">
                  <a:pos x="620" y="217"/>
                </a:cxn>
                <a:cxn ang="0">
                  <a:pos x="548" y="142"/>
                </a:cxn>
                <a:cxn ang="0">
                  <a:pos x="517" y="90"/>
                </a:cxn>
                <a:cxn ang="0">
                  <a:pos x="465" y="35"/>
                </a:cxn>
                <a:cxn ang="0">
                  <a:pos x="394" y="62"/>
                </a:cxn>
                <a:cxn ang="0">
                  <a:pos x="320" y="90"/>
                </a:cxn>
                <a:cxn ang="0">
                  <a:pos x="197" y="95"/>
                </a:cxn>
                <a:cxn ang="0">
                  <a:pos x="110" y="31"/>
                </a:cxn>
                <a:cxn ang="0">
                  <a:pos x="0" y="0"/>
                </a:cxn>
                <a:cxn ang="0">
                  <a:pos x="51" y="165"/>
                </a:cxn>
                <a:cxn ang="0">
                  <a:pos x="79" y="272"/>
                </a:cxn>
                <a:cxn ang="0">
                  <a:pos x="129" y="348"/>
                </a:cxn>
                <a:cxn ang="0">
                  <a:pos x="189" y="462"/>
                </a:cxn>
                <a:cxn ang="0">
                  <a:pos x="311" y="557"/>
                </a:cxn>
                <a:cxn ang="0">
                  <a:pos x="248" y="407"/>
                </a:cxn>
                <a:cxn ang="0">
                  <a:pos x="162" y="261"/>
                </a:cxn>
                <a:cxn ang="0">
                  <a:pos x="98" y="142"/>
                </a:cxn>
                <a:cxn ang="0">
                  <a:pos x="129" y="86"/>
                </a:cxn>
                <a:cxn ang="0">
                  <a:pos x="201" y="154"/>
                </a:cxn>
                <a:cxn ang="0">
                  <a:pos x="245" y="276"/>
                </a:cxn>
                <a:cxn ang="0">
                  <a:pos x="307" y="351"/>
                </a:cxn>
                <a:cxn ang="0">
                  <a:pos x="347" y="415"/>
                </a:cxn>
                <a:cxn ang="0">
                  <a:pos x="406" y="498"/>
                </a:cxn>
                <a:cxn ang="0">
                  <a:pos x="442" y="541"/>
                </a:cxn>
                <a:cxn ang="0">
                  <a:pos x="465" y="651"/>
                </a:cxn>
                <a:cxn ang="0">
                  <a:pos x="493" y="727"/>
                </a:cxn>
                <a:cxn ang="0">
                  <a:pos x="869" y="929"/>
                </a:cxn>
                <a:cxn ang="0">
                  <a:pos x="948" y="916"/>
                </a:cxn>
                <a:cxn ang="0">
                  <a:pos x="1033" y="982"/>
                </a:cxn>
                <a:cxn ang="0">
                  <a:pos x="1093" y="914"/>
                </a:cxn>
                <a:cxn ang="0">
                  <a:pos x="1171" y="827"/>
                </a:cxn>
                <a:cxn ang="0">
                  <a:pos x="1250" y="787"/>
                </a:cxn>
                <a:cxn ang="0">
                  <a:pos x="1279" y="688"/>
                </a:cxn>
                <a:cxn ang="0">
                  <a:pos x="1288" y="629"/>
                </a:cxn>
                <a:cxn ang="0">
                  <a:pos x="1145" y="656"/>
                </a:cxn>
                <a:cxn ang="0">
                  <a:pos x="1027" y="771"/>
                </a:cxn>
                <a:cxn ang="0">
                  <a:pos x="852" y="723"/>
                </a:cxn>
                <a:cxn ang="0">
                  <a:pos x="806" y="502"/>
                </a:cxn>
                <a:cxn ang="0">
                  <a:pos x="837" y="375"/>
                </a:cxn>
              </a:cxnLst>
              <a:rect l="0" t="0" r="r" b="b"/>
              <a:pathLst>
                <a:path w="1299" h="982">
                  <a:moveTo>
                    <a:pt x="837" y="375"/>
                  </a:moveTo>
                  <a:lnTo>
                    <a:pt x="774" y="375"/>
                  </a:lnTo>
                  <a:lnTo>
                    <a:pt x="762" y="312"/>
                  </a:lnTo>
                  <a:lnTo>
                    <a:pt x="723" y="292"/>
                  </a:lnTo>
                  <a:lnTo>
                    <a:pt x="710" y="224"/>
                  </a:lnTo>
                  <a:lnTo>
                    <a:pt x="683" y="189"/>
                  </a:lnTo>
                  <a:lnTo>
                    <a:pt x="635" y="154"/>
                  </a:lnTo>
                  <a:lnTo>
                    <a:pt x="620" y="217"/>
                  </a:lnTo>
                  <a:lnTo>
                    <a:pt x="572" y="217"/>
                  </a:lnTo>
                  <a:lnTo>
                    <a:pt x="548" y="142"/>
                  </a:lnTo>
                  <a:lnTo>
                    <a:pt x="521" y="134"/>
                  </a:lnTo>
                  <a:lnTo>
                    <a:pt x="517" y="90"/>
                  </a:lnTo>
                  <a:lnTo>
                    <a:pt x="482" y="83"/>
                  </a:lnTo>
                  <a:lnTo>
                    <a:pt x="465" y="35"/>
                  </a:lnTo>
                  <a:lnTo>
                    <a:pt x="434" y="59"/>
                  </a:lnTo>
                  <a:lnTo>
                    <a:pt x="394" y="62"/>
                  </a:lnTo>
                  <a:lnTo>
                    <a:pt x="386" y="90"/>
                  </a:lnTo>
                  <a:lnTo>
                    <a:pt x="320" y="90"/>
                  </a:lnTo>
                  <a:lnTo>
                    <a:pt x="268" y="110"/>
                  </a:lnTo>
                  <a:lnTo>
                    <a:pt x="197" y="95"/>
                  </a:lnTo>
                  <a:lnTo>
                    <a:pt x="149" y="47"/>
                  </a:lnTo>
                  <a:lnTo>
                    <a:pt x="110" y="31"/>
                  </a:lnTo>
                  <a:lnTo>
                    <a:pt x="98" y="3"/>
                  </a:lnTo>
                  <a:lnTo>
                    <a:pt x="0" y="0"/>
                  </a:lnTo>
                  <a:lnTo>
                    <a:pt x="7" y="114"/>
                  </a:lnTo>
                  <a:lnTo>
                    <a:pt x="51" y="165"/>
                  </a:lnTo>
                  <a:lnTo>
                    <a:pt x="90" y="229"/>
                  </a:lnTo>
                  <a:lnTo>
                    <a:pt x="79" y="272"/>
                  </a:lnTo>
                  <a:lnTo>
                    <a:pt x="55" y="289"/>
                  </a:lnTo>
                  <a:lnTo>
                    <a:pt x="129" y="348"/>
                  </a:lnTo>
                  <a:lnTo>
                    <a:pt x="180" y="388"/>
                  </a:lnTo>
                  <a:lnTo>
                    <a:pt x="189" y="462"/>
                  </a:lnTo>
                  <a:lnTo>
                    <a:pt x="276" y="557"/>
                  </a:lnTo>
                  <a:lnTo>
                    <a:pt x="311" y="557"/>
                  </a:lnTo>
                  <a:lnTo>
                    <a:pt x="287" y="486"/>
                  </a:lnTo>
                  <a:lnTo>
                    <a:pt x="248" y="407"/>
                  </a:lnTo>
                  <a:lnTo>
                    <a:pt x="217" y="327"/>
                  </a:lnTo>
                  <a:lnTo>
                    <a:pt x="162" y="261"/>
                  </a:lnTo>
                  <a:lnTo>
                    <a:pt x="125" y="197"/>
                  </a:lnTo>
                  <a:lnTo>
                    <a:pt x="98" y="142"/>
                  </a:lnTo>
                  <a:lnTo>
                    <a:pt x="98" y="68"/>
                  </a:lnTo>
                  <a:lnTo>
                    <a:pt x="129" y="86"/>
                  </a:lnTo>
                  <a:lnTo>
                    <a:pt x="165" y="127"/>
                  </a:lnTo>
                  <a:lnTo>
                    <a:pt x="201" y="154"/>
                  </a:lnTo>
                  <a:lnTo>
                    <a:pt x="208" y="241"/>
                  </a:lnTo>
                  <a:lnTo>
                    <a:pt x="245" y="276"/>
                  </a:lnTo>
                  <a:lnTo>
                    <a:pt x="280" y="336"/>
                  </a:lnTo>
                  <a:lnTo>
                    <a:pt x="307" y="351"/>
                  </a:lnTo>
                  <a:lnTo>
                    <a:pt x="304" y="399"/>
                  </a:lnTo>
                  <a:lnTo>
                    <a:pt x="347" y="415"/>
                  </a:lnTo>
                  <a:lnTo>
                    <a:pt x="351" y="471"/>
                  </a:lnTo>
                  <a:lnTo>
                    <a:pt x="406" y="498"/>
                  </a:lnTo>
                  <a:lnTo>
                    <a:pt x="406" y="537"/>
                  </a:lnTo>
                  <a:lnTo>
                    <a:pt x="442" y="541"/>
                  </a:lnTo>
                  <a:lnTo>
                    <a:pt x="445" y="600"/>
                  </a:lnTo>
                  <a:lnTo>
                    <a:pt x="465" y="651"/>
                  </a:lnTo>
                  <a:lnTo>
                    <a:pt x="449" y="699"/>
                  </a:lnTo>
                  <a:lnTo>
                    <a:pt x="493" y="727"/>
                  </a:lnTo>
                  <a:lnTo>
                    <a:pt x="742" y="889"/>
                  </a:lnTo>
                  <a:lnTo>
                    <a:pt x="869" y="929"/>
                  </a:lnTo>
                  <a:lnTo>
                    <a:pt x="912" y="901"/>
                  </a:lnTo>
                  <a:lnTo>
                    <a:pt x="948" y="916"/>
                  </a:lnTo>
                  <a:lnTo>
                    <a:pt x="999" y="936"/>
                  </a:lnTo>
                  <a:lnTo>
                    <a:pt x="1033" y="982"/>
                  </a:lnTo>
                  <a:lnTo>
                    <a:pt x="1053" y="926"/>
                  </a:lnTo>
                  <a:lnTo>
                    <a:pt x="1093" y="914"/>
                  </a:lnTo>
                  <a:lnTo>
                    <a:pt x="1101" y="859"/>
                  </a:lnTo>
                  <a:lnTo>
                    <a:pt x="1171" y="827"/>
                  </a:lnTo>
                  <a:lnTo>
                    <a:pt x="1195" y="820"/>
                  </a:lnTo>
                  <a:lnTo>
                    <a:pt x="1250" y="787"/>
                  </a:lnTo>
                  <a:lnTo>
                    <a:pt x="1284" y="747"/>
                  </a:lnTo>
                  <a:lnTo>
                    <a:pt x="1279" y="688"/>
                  </a:lnTo>
                  <a:lnTo>
                    <a:pt x="1299" y="675"/>
                  </a:lnTo>
                  <a:lnTo>
                    <a:pt x="1288" y="629"/>
                  </a:lnTo>
                  <a:lnTo>
                    <a:pt x="1189" y="620"/>
                  </a:lnTo>
                  <a:lnTo>
                    <a:pt x="1145" y="656"/>
                  </a:lnTo>
                  <a:lnTo>
                    <a:pt x="1098" y="751"/>
                  </a:lnTo>
                  <a:lnTo>
                    <a:pt x="1027" y="771"/>
                  </a:lnTo>
                  <a:lnTo>
                    <a:pt x="928" y="774"/>
                  </a:lnTo>
                  <a:lnTo>
                    <a:pt x="852" y="723"/>
                  </a:lnTo>
                  <a:lnTo>
                    <a:pt x="830" y="592"/>
                  </a:lnTo>
                  <a:lnTo>
                    <a:pt x="806" y="502"/>
                  </a:lnTo>
                  <a:lnTo>
                    <a:pt x="825" y="434"/>
                  </a:lnTo>
                  <a:lnTo>
                    <a:pt x="837" y="37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84" name="Freeform 13"/>
            <p:cNvSpPr>
              <a:spLocks noChangeAspect="1"/>
            </p:cNvSpPr>
            <p:nvPr/>
          </p:nvSpPr>
          <p:spPr bwMode="auto">
            <a:xfrm>
              <a:off x="6907053" y="3905275"/>
              <a:ext cx="179340" cy="92298"/>
            </a:xfrm>
            <a:custGeom>
              <a:avLst/>
              <a:gdLst/>
              <a:ahLst/>
              <a:cxnLst>
                <a:cxn ang="0">
                  <a:pos x="48" y="24"/>
                </a:cxn>
                <a:cxn ang="0">
                  <a:pos x="41" y="63"/>
                </a:cxn>
                <a:cxn ang="0">
                  <a:pos x="9" y="63"/>
                </a:cxn>
                <a:cxn ang="0">
                  <a:pos x="0" y="107"/>
                </a:cxn>
                <a:cxn ang="0">
                  <a:pos x="33" y="92"/>
                </a:cxn>
                <a:cxn ang="0">
                  <a:pos x="85" y="95"/>
                </a:cxn>
                <a:cxn ang="0">
                  <a:pos x="88" y="154"/>
                </a:cxn>
                <a:cxn ang="0">
                  <a:pos x="132" y="129"/>
                </a:cxn>
                <a:cxn ang="0">
                  <a:pos x="191" y="125"/>
                </a:cxn>
                <a:cxn ang="0">
                  <a:pos x="208" y="78"/>
                </a:cxn>
                <a:cxn ang="0">
                  <a:pos x="279" y="81"/>
                </a:cxn>
                <a:cxn ang="0">
                  <a:pos x="307" y="46"/>
                </a:cxn>
                <a:cxn ang="0">
                  <a:pos x="259" y="30"/>
                </a:cxn>
                <a:cxn ang="0">
                  <a:pos x="231" y="2"/>
                </a:cxn>
                <a:cxn ang="0">
                  <a:pos x="156" y="2"/>
                </a:cxn>
                <a:cxn ang="0">
                  <a:pos x="129" y="26"/>
                </a:cxn>
                <a:cxn ang="0">
                  <a:pos x="107" y="0"/>
                </a:cxn>
                <a:cxn ang="0">
                  <a:pos x="76" y="20"/>
                </a:cxn>
                <a:cxn ang="0">
                  <a:pos x="48" y="24"/>
                </a:cxn>
              </a:cxnLst>
              <a:rect l="0" t="0" r="r" b="b"/>
              <a:pathLst>
                <a:path w="307" h="154">
                  <a:moveTo>
                    <a:pt x="48" y="24"/>
                  </a:moveTo>
                  <a:lnTo>
                    <a:pt x="41" y="63"/>
                  </a:lnTo>
                  <a:lnTo>
                    <a:pt x="9" y="63"/>
                  </a:lnTo>
                  <a:lnTo>
                    <a:pt x="0" y="107"/>
                  </a:lnTo>
                  <a:lnTo>
                    <a:pt x="33" y="92"/>
                  </a:lnTo>
                  <a:lnTo>
                    <a:pt x="85" y="95"/>
                  </a:lnTo>
                  <a:lnTo>
                    <a:pt x="88" y="154"/>
                  </a:lnTo>
                  <a:lnTo>
                    <a:pt x="132" y="129"/>
                  </a:lnTo>
                  <a:lnTo>
                    <a:pt x="191" y="125"/>
                  </a:lnTo>
                  <a:lnTo>
                    <a:pt x="208" y="78"/>
                  </a:lnTo>
                  <a:lnTo>
                    <a:pt x="279" y="81"/>
                  </a:lnTo>
                  <a:lnTo>
                    <a:pt x="307" y="46"/>
                  </a:lnTo>
                  <a:lnTo>
                    <a:pt x="259" y="30"/>
                  </a:lnTo>
                  <a:lnTo>
                    <a:pt x="231" y="2"/>
                  </a:lnTo>
                  <a:lnTo>
                    <a:pt x="156" y="2"/>
                  </a:lnTo>
                  <a:lnTo>
                    <a:pt x="129" y="26"/>
                  </a:lnTo>
                  <a:lnTo>
                    <a:pt x="107" y="0"/>
                  </a:lnTo>
                  <a:lnTo>
                    <a:pt x="76" y="20"/>
                  </a:lnTo>
                  <a:lnTo>
                    <a:pt x="48" y="2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85" name="Freeform 14"/>
            <p:cNvSpPr>
              <a:spLocks noChangeAspect="1"/>
            </p:cNvSpPr>
            <p:nvPr/>
          </p:nvSpPr>
          <p:spPr bwMode="auto">
            <a:xfrm>
              <a:off x="6907053" y="3905275"/>
              <a:ext cx="179340" cy="92298"/>
            </a:xfrm>
            <a:custGeom>
              <a:avLst/>
              <a:gdLst/>
              <a:ahLst/>
              <a:cxnLst>
                <a:cxn ang="0">
                  <a:pos x="48" y="24"/>
                </a:cxn>
                <a:cxn ang="0">
                  <a:pos x="41" y="63"/>
                </a:cxn>
                <a:cxn ang="0">
                  <a:pos x="9" y="63"/>
                </a:cxn>
                <a:cxn ang="0">
                  <a:pos x="0" y="107"/>
                </a:cxn>
                <a:cxn ang="0">
                  <a:pos x="33" y="92"/>
                </a:cxn>
                <a:cxn ang="0">
                  <a:pos x="85" y="95"/>
                </a:cxn>
                <a:cxn ang="0">
                  <a:pos x="88" y="154"/>
                </a:cxn>
                <a:cxn ang="0">
                  <a:pos x="132" y="129"/>
                </a:cxn>
                <a:cxn ang="0">
                  <a:pos x="191" y="125"/>
                </a:cxn>
                <a:cxn ang="0">
                  <a:pos x="208" y="78"/>
                </a:cxn>
                <a:cxn ang="0">
                  <a:pos x="279" y="81"/>
                </a:cxn>
                <a:cxn ang="0">
                  <a:pos x="307" y="46"/>
                </a:cxn>
                <a:cxn ang="0">
                  <a:pos x="259" y="30"/>
                </a:cxn>
                <a:cxn ang="0">
                  <a:pos x="231" y="2"/>
                </a:cxn>
                <a:cxn ang="0">
                  <a:pos x="156" y="2"/>
                </a:cxn>
                <a:cxn ang="0">
                  <a:pos x="129" y="26"/>
                </a:cxn>
                <a:cxn ang="0">
                  <a:pos x="107" y="0"/>
                </a:cxn>
                <a:cxn ang="0">
                  <a:pos x="76" y="20"/>
                </a:cxn>
                <a:cxn ang="0">
                  <a:pos x="48" y="24"/>
                </a:cxn>
              </a:cxnLst>
              <a:rect l="0" t="0" r="r" b="b"/>
              <a:pathLst>
                <a:path w="307" h="154">
                  <a:moveTo>
                    <a:pt x="48" y="24"/>
                  </a:moveTo>
                  <a:lnTo>
                    <a:pt x="41" y="63"/>
                  </a:lnTo>
                  <a:lnTo>
                    <a:pt x="9" y="63"/>
                  </a:lnTo>
                  <a:lnTo>
                    <a:pt x="0" y="107"/>
                  </a:lnTo>
                  <a:lnTo>
                    <a:pt x="33" y="92"/>
                  </a:lnTo>
                  <a:lnTo>
                    <a:pt x="85" y="95"/>
                  </a:lnTo>
                  <a:lnTo>
                    <a:pt x="88" y="154"/>
                  </a:lnTo>
                  <a:lnTo>
                    <a:pt x="132" y="129"/>
                  </a:lnTo>
                  <a:lnTo>
                    <a:pt x="191" y="125"/>
                  </a:lnTo>
                  <a:lnTo>
                    <a:pt x="208" y="78"/>
                  </a:lnTo>
                  <a:lnTo>
                    <a:pt x="279" y="81"/>
                  </a:lnTo>
                  <a:lnTo>
                    <a:pt x="307" y="46"/>
                  </a:lnTo>
                  <a:lnTo>
                    <a:pt x="259" y="30"/>
                  </a:lnTo>
                  <a:lnTo>
                    <a:pt x="231" y="2"/>
                  </a:lnTo>
                  <a:lnTo>
                    <a:pt x="156" y="2"/>
                  </a:lnTo>
                  <a:lnTo>
                    <a:pt x="129" y="26"/>
                  </a:lnTo>
                  <a:lnTo>
                    <a:pt x="107" y="0"/>
                  </a:lnTo>
                  <a:lnTo>
                    <a:pt x="76" y="20"/>
                  </a:lnTo>
                  <a:lnTo>
                    <a:pt x="48" y="24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86" name="Freeform 15"/>
            <p:cNvSpPr>
              <a:spLocks noChangeAspect="1"/>
            </p:cNvSpPr>
            <p:nvPr/>
          </p:nvSpPr>
          <p:spPr bwMode="auto">
            <a:xfrm>
              <a:off x="6958042" y="3951426"/>
              <a:ext cx="121318" cy="117148"/>
            </a:xfrm>
            <a:custGeom>
              <a:avLst/>
              <a:gdLst/>
              <a:ahLst/>
              <a:cxnLst>
                <a:cxn ang="0">
                  <a:pos x="191" y="3"/>
                </a:cxn>
                <a:cxn ang="0">
                  <a:pos x="120" y="0"/>
                </a:cxn>
                <a:cxn ang="0">
                  <a:pos x="103" y="47"/>
                </a:cxn>
                <a:cxn ang="0">
                  <a:pos x="44" y="51"/>
                </a:cxn>
                <a:cxn ang="0">
                  <a:pos x="0" y="76"/>
                </a:cxn>
                <a:cxn ang="0">
                  <a:pos x="25" y="99"/>
                </a:cxn>
                <a:cxn ang="0">
                  <a:pos x="48" y="158"/>
                </a:cxn>
                <a:cxn ang="0">
                  <a:pos x="81" y="193"/>
                </a:cxn>
                <a:cxn ang="0">
                  <a:pos x="179" y="197"/>
                </a:cxn>
                <a:cxn ang="0">
                  <a:pos x="191" y="59"/>
                </a:cxn>
                <a:cxn ang="0">
                  <a:pos x="206" y="24"/>
                </a:cxn>
                <a:cxn ang="0">
                  <a:pos x="191" y="3"/>
                </a:cxn>
              </a:cxnLst>
              <a:rect l="0" t="0" r="r" b="b"/>
              <a:pathLst>
                <a:path w="206" h="197">
                  <a:moveTo>
                    <a:pt x="191" y="3"/>
                  </a:moveTo>
                  <a:lnTo>
                    <a:pt x="120" y="0"/>
                  </a:lnTo>
                  <a:lnTo>
                    <a:pt x="103" y="47"/>
                  </a:lnTo>
                  <a:lnTo>
                    <a:pt x="44" y="51"/>
                  </a:lnTo>
                  <a:lnTo>
                    <a:pt x="0" y="76"/>
                  </a:lnTo>
                  <a:lnTo>
                    <a:pt x="25" y="99"/>
                  </a:lnTo>
                  <a:lnTo>
                    <a:pt x="48" y="158"/>
                  </a:lnTo>
                  <a:lnTo>
                    <a:pt x="81" y="193"/>
                  </a:lnTo>
                  <a:lnTo>
                    <a:pt x="179" y="197"/>
                  </a:lnTo>
                  <a:lnTo>
                    <a:pt x="191" y="59"/>
                  </a:lnTo>
                  <a:lnTo>
                    <a:pt x="206" y="24"/>
                  </a:lnTo>
                  <a:lnTo>
                    <a:pt x="191" y="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87" name="Freeform 16"/>
            <p:cNvSpPr>
              <a:spLocks noChangeAspect="1"/>
            </p:cNvSpPr>
            <p:nvPr/>
          </p:nvSpPr>
          <p:spPr bwMode="auto">
            <a:xfrm>
              <a:off x="7606830" y="6173682"/>
              <a:ext cx="75603" cy="70998"/>
            </a:xfrm>
            <a:custGeom>
              <a:avLst/>
              <a:gdLst/>
              <a:ahLst/>
              <a:cxnLst>
                <a:cxn ang="0">
                  <a:pos x="0" y="101"/>
                </a:cxn>
                <a:cxn ang="0">
                  <a:pos x="31" y="0"/>
                </a:cxn>
                <a:cxn ang="0">
                  <a:pos x="39" y="2"/>
                </a:cxn>
                <a:cxn ang="0">
                  <a:pos x="71" y="38"/>
                </a:cxn>
                <a:cxn ang="0">
                  <a:pos x="130" y="85"/>
                </a:cxn>
                <a:cxn ang="0">
                  <a:pos x="63" y="81"/>
                </a:cxn>
                <a:cxn ang="0">
                  <a:pos x="47" y="121"/>
                </a:cxn>
                <a:cxn ang="0">
                  <a:pos x="0" y="101"/>
                </a:cxn>
              </a:cxnLst>
              <a:rect l="0" t="0" r="r" b="b"/>
              <a:pathLst>
                <a:path w="130" h="121">
                  <a:moveTo>
                    <a:pt x="0" y="101"/>
                  </a:moveTo>
                  <a:lnTo>
                    <a:pt x="31" y="0"/>
                  </a:lnTo>
                  <a:lnTo>
                    <a:pt x="39" y="2"/>
                  </a:lnTo>
                  <a:lnTo>
                    <a:pt x="71" y="38"/>
                  </a:lnTo>
                  <a:lnTo>
                    <a:pt x="130" y="85"/>
                  </a:lnTo>
                  <a:lnTo>
                    <a:pt x="63" y="81"/>
                  </a:lnTo>
                  <a:lnTo>
                    <a:pt x="47" y="121"/>
                  </a:lnTo>
                  <a:lnTo>
                    <a:pt x="0" y="10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88" name="Freeform 17"/>
            <p:cNvSpPr>
              <a:spLocks noChangeAspect="1"/>
            </p:cNvSpPr>
            <p:nvPr/>
          </p:nvSpPr>
          <p:spPr bwMode="auto">
            <a:xfrm>
              <a:off x="7439798" y="5085628"/>
              <a:ext cx="448350" cy="1031254"/>
            </a:xfrm>
            <a:custGeom>
              <a:avLst/>
              <a:gdLst/>
              <a:ahLst/>
              <a:cxnLst>
                <a:cxn ang="0">
                  <a:pos x="169" y="0"/>
                </a:cxn>
                <a:cxn ang="0">
                  <a:pos x="267" y="55"/>
                </a:cxn>
                <a:cxn ang="0">
                  <a:pos x="349" y="43"/>
                </a:cxn>
                <a:cxn ang="0">
                  <a:pos x="406" y="83"/>
                </a:cxn>
                <a:cxn ang="0">
                  <a:pos x="460" y="119"/>
                </a:cxn>
                <a:cxn ang="0">
                  <a:pos x="539" y="157"/>
                </a:cxn>
                <a:cxn ang="0">
                  <a:pos x="567" y="182"/>
                </a:cxn>
                <a:cxn ang="0">
                  <a:pos x="539" y="291"/>
                </a:cxn>
                <a:cxn ang="0">
                  <a:pos x="686" y="270"/>
                </a:cxn>
                <a:cxn ang="0">
                  <a:pos x="735" y="214"/>
                </a:cxn>
                <a:cxn ang="0">
                  <a:pos x="765" y="263"/>
                </a:cxn>
                <a:cxn ang="0">
                  <a:pos x="734" y="304"/>
                </a:cxn>
                <a:cxn ang="0">
                  <a:pos x="687" y="345"/>
                </a:cxn>
                <a:cxn ang="0">
                  <a:pos x="638" y="407"/>
                </a:cxn>
                <a:cxn ang="0">
                  <a:pos x="594" y="474"/>
                </a:cxn>
                <a:cxn ang="0">
                  <a:pos x="562" y="566"/>
                </a:cxn>
                <a:cxn ang="0">
                  <a:pos x="580" y="693"/>
                </a:cxn>
                <a:cxn ang="0">
                  <a:pos x="597" y="710"/>
                </a:cxn>
                <a:cxn ang="0">
                  <a:pos x="646" y="725"/>
                </a:cxn>
                <a:cxn ang="0">
                  <a:pos x="672" y="800"/>
                </a:cxn>
                <a:cxn ang="0">
                  <a:pos x="638" y="879"/>
                </a:cxn>
                <a:cxn ang="0">
                  <a:pos x="589" y="914"/>
                </a:cxn>
                <a:cxn ang="0">
                  <a:pos x="479" y="934"/>
                </a:cxn>
                <a:cxn ang="0">
                  <a:pos x="437" y="954"/>
                </a:cxn>
                <a:cxn ang="0">
                  <a:pos x="449" y="1062"/>
                </a:cxn>
                <a:cxn ang="0">
                  <a:pos x="331" y="1041"/>
                </a:cxn>
                <a:cxn ang="0">
                  <a:pos x="356" y="1116"/>
                </a:cxn>
                <a:cxn ang="0">
                  <a:pos x="377" y="1183"/>
                </a:cxn>
                <a:cxn ang="0">
                  <a:pos x="339" y="1231"/>
                </a:cxn>
                <a:cxn ang="0">
                  <a:pos x="294" y="1302"/>
                </a:cxn>
                <a:cxn ang="0">
                  <a:pos x="259" y="1336"/>
                </a:cxn>
                <a:cxn ang="0">
                  <a:pos x="318" y="1430"/>
                </a:cxn>
                <a:cxn ang="0">
                  <a:pos x="321" y="1488"/>
                </a:cxn>
                <a:cxn ang="0">
                  <a:pos x="277" y="1535"/>
                </a:cxn>
                <a:cxn ang="0">
                  <a:pos x="245" y="1619"/>
                </a:cxn>
                <a:cxn ang="0">
                  <a:pos x="224" y="1678"/>
                </a:cxn>
                <a:cxn ang="0">
                  <a:pos x="81" y="1743"/>
                </a:cxn>
                <a:cxn ang="0">
                  <a:pos x="32" y="1655"/>
                </a:cxn>
                <a:cxn ang="0">
                  <a:pos x="49" y="1507"/>
                </a:cxn>
                <a:cxn ang="0">
                  <a:pos x="59" y="1278"/>
                </a:cxn>
                <a:cxn ang="0">
                  <a:pos x="38" y="1148"/>
                </a:cxn>
                <a:cxn ang="0">
                  <a:pos x="5" y="1021"/>
                </a:cxn>
                <a:cxn ang="0">
                  <a:pos x="43" y="941"/>
                </a:cxn>
                <a:cxn ang="0">
                  <a:pos x="34" y="796"/>
                </a:cxn>
                <a:cxn ang="0">
                  <a:pos x="34" y="741"/>
                </a:cxn>
                <a:cxn ang="0">
                  <a:pos x="59" y="666"/>
                </a:cxn>
                <a:cxn ang="0">
                  <a:pos x="34" y="603"/>
                </a:cxn>
                <a:cxn ang="0">
                  <a:pos x="52" y="507"/>
                </a:cxn>
                <a:cxn ang="0">
                  <a:pos x="36" y="391"/>
                </a:cxn>
                <a:cxn ang="0">
                  <a:pos x="59" y="318"/>
                </a:cxn>
                <a:cxn ang="0">
                  <a:pos x="103" y="255"/>
                </a:cxn>
                <a:cxn ang="0">
                  <a:pos x="105" y="187"/>
                </a:cxn>
                <a:cxn ang="0">
                  <a:pos x="136" y="118"/>
                </a:cxn>
              </a:cxnLst>
              <a:rect l="0" t="0" r="r" b="b"/>
              <a:pathLst>
                <a:path w="766" h="1743">
                  <a:moveTo>
                    <a:pt x="140" y="59"/>
                  </a:moveTo>
                  <a:lnTo>
                    <a:pt x="169" y="0"/>
                  </a:lnTo>
                  <a:lnTo>
                    <a:pt x="211" y="35"/>
                  </a:lnTo>
                  <a:lnTo>
                    <a:pt x="267" y="55"/>
                  </a:lnTo>
                  <a:lnTo>
                    <a:pt x="322" y="11"/>
                  </a:lnTo>
                  <a:lnTo>
                    <a:pt x="349" y="43"/>
                  </a:lnTo>
                  <a:lnTo>
                    <a:pt x="393" y="63"/>
                  </a:lnTo>
                  <a:lnTo>
                    <a:pt x="406" y="83"/>
                  </a:lnTo>
                  <a:lnTo>
                    <a:pt x="435" y="94"/>
                  </a:lnTo>
                  <a:lnTo>
                    <a:pt x="460" y="119"/>
                  </a:lnTo>
                  <a:lnTo>
                    <a:pt x="474" y="148"/>
                  </a:lnTo>
                  <a:lnTo>
                    <a:pt x="539" y="157"/>
                  </a:lnTo>
                  <a:lnTo>
                    <a:pt x="552" y="167"/>
                  </a:lnTo>
                  <a:lnTo>
                    <a:pt x="567" y="182"/>
                  </a:lnTo>
                  <a:lnTo>
                    <a:pt x="549" y="249"/>
                  </a:lnTo>
                  <a:lnTo>
                    <a:pt x="539" y="291"/>
                  </a:lnTo>
                  <a:lnTo>
                    <a:pt x="682" y="294"/>
                  </a:lnTo>
                  <a:lnTo>
                    <a:pt x="686" y="270"/>
                  </a:lnTo>
                  <a:lnTo>
                    <a:pt x="714" y="251"/>
                  </a:lnTo>
                  <a:lnTo>
                    <a:pt x="735" y="214"/>
                  </a:lnTo>
                  <a:lnTo>
                    <a:pt x="741" y="263"/>
                  </a:lnTo>
                  <a:lnTo>
                    <a:pt x="765" y="263"/>
                  </a:lnTo>
                  <a:lnTo>
                    <a:pt x="766" y="300"/>
                  </a:lnTo>
                  <a:lnTo>
                    <a:pt x="734" y="304"/>
                  </a:lnTo>
                  <a:lnTo>
                    <a:pt x="710" y="335"/>
                  </a:lnTo>
                  <a:lnTo>
                    <a:pt x="687" y="345"/>
                  </a:lnTo>
                  <a:lnTo>
                    <a:pt x="665" y="379"/>
                  </a:lnTo>
                  <a:lnTo>
                    <a:pt x="638" y="407"/>
                  </a:lnTo>
                  <a:lnTo>
                    <a:pt x="618" y="441"/>
                  </a:lnTo>
                  <a:lnTo>
                    <a:pt x="594" y="474"/>
                  </a:lnTo>
                  <a:lnTo>
                    <a:pt x="569" y="517"/>
                  </a:lnTo>
                  <a:lnTo>
                    <a:pt x="562" y="566"/>
                  </a:lnTo>
                  <a:lnTo>
                    <a:pt x="567" y="641"/>
                  </a:lnTo>
                  <a:lnTo>
                    <a:pt x="580" y="693"/>
                  </a:lnTo>
                  <a:lnTo>
                    <a:pt x="601" y="687"/>
                  </a:lnTo>
                  <a:lnTo>
                    <a:pt x="597" y="710"/>
                  </a:lnTo>
                  <a:lnTo>
                    <a:pt x="621" y="718"/>
                  </a:lnTo>
                  <a:lnTo>
                    <a:pt x="646" y="725"/>
                  </a:lnTo>
                  <a:lnTo>
                    <a:pt x="648" y="790"/>
                  </a:lnTo>
                  <a:lnTo>
                    <a:pt x="672" y="800"/>
                  </a:lnTo>
                  <a:lnTo>
                    <a:pt x="666" y="862"/>
                  </a:lnTo>
                  <a:lnTo>
                    <a:pt x="638" y="879"/>
                  </a:lnTo>
                  <a:lnTo>
                    <a:pt x="601" y="883"/>
                  </a:lnTo>
                  <a:lnTo>
                    <a:pt x="589" y="914"/>
                  </a:lnTo>
                  <a:lnTo>
                    <a:pt x="563" y="918"/>
                  </a:lnTo>
                  <a:lnTo>
                    <a:pt x="479" y="934"/>
                  </a:lnTo>
                  <a:lnTo>
                    <a:pt x="451" y="938"/>
                  </a:lnTo>
                  <a:lnTo>
                    <a:pt x="437" y="954"/>
                  </a:lnTo>
                  <a:lnTo>
                    <a:pt x="446" y="1003"/>
                  </a:lnTo>
                  <a:lnTo>
                    <a:pt x="449" y="1062"/>
                  </a:lnTo>
                  <a:lnTo>
                    <a:pt x="401" y="1080"/>
                  </a:lnTo>
                  <a:lnTo>
                    <a:pt x="331" y="1041"/>
                  </a:lnTo>
                  <a:lnTo>
                    <a:pt x="321" y="1093"/>
                  </a:lnTo>
                  <a:lnTo>
                    <a:pt x="356" y="1116"/>
                  </a:lnTo>
                  <a:lnTo>
                    <a:pt x="367" y="1145"/>
                  </a:lnTo>
                  <a:lnTo>
                    <a:pt x="377" y="1183"/>
                  </a:lnTo>
                  <a:lnTo>
                    <a:pt x="358" y="1207"/>
                  </a:lnTo>
                  <a:lnTo>
                    <a:pt x="339" y="1231"/>
                  </a:lnTo>
                  <a:lnTo>
                    <a:pt x="322" y="1290"/>
                  </a:lnTo>
                  <a:lnTo>
                    <a:pt x="294" y="1302"/>
                  </a:lnTo>
                  <a:lnTo>
                    <a:pt x="289" y="1326"/>
                  </a:lnTo>
                  <a:lnTo>
                    <a:pt x="259" y="1336"/>
                  </a:lnTo>
                  <a:lnTo>
                    <a:pt x="249" y="1399"/>
                  </a:lnTo>
                  <a:lnTo>
                    <a:pt x="318" y="1430"/>
                  </a:lnTo>
                  <a:lnTo>
                    <a:pt x="322" y="1460"/>
                  </a:lnTo>
                  <a:lnTo>
                    <a:pt x="321" y="1488"/>
                  </a:lnTo>
                  <a:lnTo>
                    <a:pt x="294" y="1507"/>
                  </a:lnTo>
                  <a:lnTo>
                    <a:pt x="277" y="1535"/>
                  </a:lnTo>
                  <a:lnTo>
                    <a:pt x="279" y="1610"/>
                  </a:lnTo>
                  <a:lnTo>
                    <a:pt x="245" y="1619"/>
                  </a:lnTo>
                  <a:lnTo>
                    <a:pt x="221" y="1636"/>
                  </a:lnTo>
                  <a:lnTo>
                    <a:pt x="224" y="1678"/>
                  </a:lnTo>
                  <a:lnTo>
                    <a:pt x="219" y="1737"/>
                  </a:lnTo>
                  <a:lnTo>
                    <a:pt x="81" y="1743"/>
                  </a:lnTo>
                  <a:lnTo>
                    <a:pt x="71" y="1678"/>
                  </a:lnTo>
                  <a:lnTo>
                    <a:pt x="32" y="1655"/>
                  </a:lnTo>
                  <a:lnTo>
                    <a:pt x="24" y="1516"/>
                  </a:lnTo>
                  <a:lnTo>
                    <a:pt x="49" y="1507"/>
                  </a:lnTo>
                  <a:lnTo>
                    <a:pt x="57" y="1468"/>
                  </a:lnTo>
                  <a:lnTo>
                    <a:pt x="59" y="1278"/>
                  </a:lnTo>
                  <a:lnTo>
                    <a:pt x="39" y="1224"/>
                  </a:lnTo>
                  <a:lnTo>
                    <a:pt x="38" y="1148"/>
                  </a:lnTo>
                  <a:lnTo>
                    <a:pt x="26" y="1065"/>
                  </a:lnTo>
                  <a:lnTo>
                    <a:pt x="5" y="1021"/>
                  </a:lnTo>
                  <a:lnTo>
                    <a:pt x="10" y="983"/>
                  </a:lnTo>
                  <a:lnTo>
                    <a:pt x="43" y="941"/>
                  </a:lnTo>
                  <a:lnTo>
                    <a:pt x="0" y="848"/>
                  </a:lnTo>
                  <a:lnTo>
                    <a:pt x="34" y="796"/>
                  </a:lnTo>
                  <a:lnTo>
                    <a:pt x="53" y="765"/>
                  </a:lnTo>
                  <a:lnTo>
                    <a:pt x="34" y="741"/>
                  </a:lnTo>
                  <a:lnTo>
                    <a:pt x="34" y="672"/>
                  </a:lnTo>
                  <a:lnTo>
                    <a:pt x="59" y="666"/>
                  </a:lnTo>
                  <a:lnTo>
                    <a:pt x="56" y="610"/>
                  </a:lnTo>
                  <a:lnTo>
                    <a:pt x="34" y="603"/>
                  </a:lnTo>
                  <a:lnTo>
                    <a:pt x="29" y="525"/>
                  </a:lnTo>
                  <a:lnTo>
                    <a:pt x="52" y="507"/>
                  </a:lnTo>
                  <a:lnTo>
                    <a:pt x="48" y="470"/>
                  </a:lnTo>
                  <a:lnTo>
                    <a:pt x="36" y="391"/>
                  </a:lnTo>
                  <a:lnTo>
                    <a:pt x="53" y="362"/>
                  </a:lnTo>
                  <a:lnTo>
                    <a:pt x="59" y="318"/>
                  </a:lnTo>
                  <a:lnTo>
                    <a:pt x="87" y="296"/>
                  </a:lnTo>
                  <a:lnTo>
                    <a:pt x="103" y="255"/>
                  </a:lnTo>
                  <a:lnTo>
                    <a:pt x="80" y="221"/>
                  </a:lnTo>
                  <a:lnTo>
                    <a:pt x="105" y="187"/>
                  </a:lnTo>
                  <a:lnTo>
                    <a:pt x="107" y="128"/>
                  </a:lnTo>
                  <a:lnTo>
                    <a:pt x="136" y="118"/>
                  </a:lnTo>
                  <a:lnTo>
                    <a:pt x="140" y="5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89" name="Freeform 18"/>
            <p:cNvSpPr>
              <a:spLocks noChangeAspect="1"/>
            </p:cNvSpPr>
            <p:nvPr/>
          </p:nvSpPr>
          <p:spPr bwMode="auto">
            <a:xfrm>
              <a:off x="7627929" y="4995105"/>
              <a:ext cx="242636" cy="264469"/>
            </a:xfrm>
            <a:custGeom>
              <a:avLst/>
              <a:gdLst/>
              <a:ahLst/>
              <a:cxnLst>
                <a:cxn ang="0">
                  <a:pos x="71" y="217"/>
                </a:cxn>
                <a:cxn ang="0">
                  <a:pos x="84" y="237"/>
                </a:cxn>
                <a:cxn ang="0">
                  <a:pos x="113" y="248"/>
                </a:cxn>
                <a:cxn ang="0">
                  <a:pos x="138" y="273"/>
                </a:cxn>
                <a:cxn ang="0">
                  <a:pos x="152" y="302"/>
                </a:cxn>
                <a:cxn ang="0">
                  <a:pos x="217" y="311"/>
                </a:cxn>
                <a:cxn ang="0">
                  <a:pos x="230" y="321"/>
                </a:cxn>
                <a:cxn ang="0">
                  <a:pos x="245" y="336"/>
                </a:cxn>
                <a:cxn ang="0">
                  <a:pos x="227" y="403"/>
                </a:cxn>
                <a:cxn ang="0">
                  <a:pos x="217" y="445"/>
                </a:cxn>
                <a:cxn ang="0">
                  <a:pos x="360" y="448"/>
                </a:cxn>
                <a:cxn ang="0">
                  <a:pos x="364" y="424"/>
                </a:cxn>
                <a:cxn ang="0">
                  <a:pos x="392" y="405"/>
                </a:cxn>
                <a:cxn ang="0">
                  <a:pos x="413" y="368"/>
                </a:cxn>
                <a:cxn ang="0">
                  <a:pos x="407" y="358"/>
                </a:cxn>
                <a:cxn ang="0">
                  <a:pos x="398" y="238"/>
                </a:cxn>
                <a:cxn ang="0">
                  <a:pos x="358" y="234"/>
                </a:cxn>
                <a:cxn ang="0">
                  <a:pos x="354" y="182"/>
                </a:cxn>
                <a:cxn ang="0">
                  <a:pos x="310" y="179"/>
                </a:cxn>
                <a:cxn ang="0">
                  <a:pos x="286" y="169"/>
                </a:cxn>
                <a:cxn ang="0">
                  <a:pos x="275" y="145"/>
                </a:cxn>
                <a:cxn ang="0">
                  <a:pos x="233" y="138"/>
                </a:cxn>
                <a:cxn ang="0">
                  <a:pos x="230" y="99"/>
                </a:cxn>
                <a:cxn ang="0">
                  <a:pos x="198" y="86"/>
                </a:cxn>
                <a:cxn ang="0">
                  <a:pos x="194" y="52"/>
                </a:cxn>
                <a:cxn ang="0">
                  <a:pos x="174" y="20"/>
                </a:cxn>
                <a:cxn ang="0">
                  <a:pos x="119" y="0"/>
                </a:cxn>
                <a:cxn ang="0">
                  <a:pos x="83" y="27"/>
                </a:cxn>
                <a:cxn ang="0">
                  <a:pos x="31" y="47"/>
                </a:cxn>
                <a:cxn ang="0">
                  <a:pos x="16" y="86"/>
                </a:cxn>
                <a:cxn ang="0">
                  <a:pos x="0" y="165"/>
                </a:cxn>
                <a:cxn ang="0">
                  <a:pos x="27" y="197"/>
                </a:cxn>
                <a:cxn ang="0">
                  <a:pos x="71" y="217"/>
                </a:cxn>
              </a:cxnLst>
              <a:rect l="0" t="0" r="r" b="b"/>
              <a:pathLst>
                <a:path w="413" h="448">
                  <a:moveTo>
                    <a:pt x="71" y="217"/>
                  </a:moveTo>
                  <a:lnTo>
                    <a:pt x="84" y="237"/>
                  </a:lnTo>
                  <a:lnTo>
                    <a:pt x="113" y="248"/>
                  </a:lnTo>
                  <a:lnTo>
                    <a:pt x="138" y="273"/>
                  </a:lnTo>
                  <a:lnTo>
                    <a:pt x="152" y="302"/>
                  </a:lnTo>
                  <a:lnTo>
                    <a:pt x="217" y="311"/>
                  </a:lnTo>
                  <a:lnTo>
                    <a:pt x="230" y="321"/>
                  </a:lnTo>
                  <a:lnTo>
                    <a:pt x="245" y="336"/>
                  </a:lnTo>
                  <a:lnTo>
                    <a:pt x="227" y="403"/>
                  </a:lnTo>
                  <a:lnTo>
                    <a:pt x="217" y="445"/>
                  </a:lnTo>
                  <a:lnTo>
                    <a:pt x="360" y="448"/>
                  </a:lnTo>
                  <a:lnTo>
                    <a:pt x="364" y="424"/>
                  </a:lnTo>
                  <a:lnTo>
                    <a:pt x="392" y="405"/>
                  </a:lnTo>
                  <a:lnTo>
                    <a:pt x="413" y="368"/>
                  </a:lnTo>
                  <a:lnTo>
                    <a:pt x="407" y="358"/>
                  </a:lnTo>
                  <a:lnTo>
                    <a:pt x="398" y="238"/>
                  </a:lnTo>
                  <a:lnTo>
                    <a:pt x="358" y="234"/>
                  </a:lnTo>
                  <a:lnTo>
                    <a:pt x="354" y="182"/>
                  </a:lnTo>
                  <a:lnTo>
                    <a:pt x="310" y="179"/>
                  </a:lnTo>
                  <a:lnTo>
                    <a:pt x="286" y="169"/>
                  </a:lnTo>
                  <a:lnTo>
                    <a:pt x="275" y="145"/>
                  </a:lnTo>
                  <a:lnTo>
                    <a:pt x="233" y="138"/>
                  </a:lnTo>
                  <a:lnTo>
                    <a:pt x="230" y="99"/>
                  </a:lnTo>
                  <a:lnTo>
                    <a:pt x="198" y="86"/>
                  </a:lnTo>
                  <a:lnTo>
                    <a:pt x="194" y="52"/>
                  </a:lnTo>
                  <a:lnTo>
                    <a:pt x="174" y="20"/>
                  </a:lnTo>
                  <a:lnTo>
                    <a:pt x="119" y="0"/>
                  </a:lnTo>
                  <a:lnTo>
                    <a:pt x="83" y="27"/>
                  </a:lnTo>
                  <a:lnTo>
                    <a:pt x="31" y="47"/>
                  </a:lnTo>
                  <a:lnTo>
                    <a:pt x="16" y="86"/>
                  </a:lnTo>
                  <a:lnTo>
                    <a:pt x="0" y="165"/>
                  </a:lnTo>
                  <a:lnTo>
                    <a:pt x="27" y="197"/>
                  </a:lnTo>
                  <a:lnTo>
                    <a:pt x="71" y="21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90" name="Freeform 19"/>
            <p:cNvSpPr>
              <a:spLocks noChangeAspect="1"/>
            </p:cNvSpPr>
            <p:nvPr/>
          </p:nvSpPr>
          <p:spPr bwMode="auto">
            <a:xfrm>
              <a:off x="7218261" y="3821853"/>
              <a:ext cx="61539" cy="31949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64" y="0"/>
                </a:cxn>
                <a:cxn ang="0">
                  <a:pos x="106" y="20"/>
                </a:cxn>
                <a:cxn ang="0">
                  <a:pos x="91" y="51"/>
                </a:cxn>
                <a:cxn ang="0">
                  <a:pos x="35" y="55"/>
                </a:cxn>
                <a:cxn ang="0">
                  <a:pos x="0" y="31"/>
                </a:cxn>
                <a:cxn ang="0">
                  <a:pos x="23" y="0"/>
                </a:cxn>
              </a:cxnLst>
              <a:rect l="0" t="0" r="r" b="b"/>
              <a:pathLst>
                <a:path w="106" h="55">
                  <a:moveTo>
                    <a:pt x="23" y="0"/>
                  </a:moveTo>
                  <a:lnTo>
                    <a:pt x="64" y="0"/>
                  </a:lnTo>
                  <a:lnTo>
                    <a:pt x="106" y="20"/>
                  </a:lnTo>
                  <a:lnTo>
                    <a:pt x="91" y="51"/>
                  </a:lnTo>
                  <a:lnTo>
                    <a:pt x="35" y="55"/>
                  </a:lnTo>
                  <a:lnTo>
                    <a:pt x="0" y="31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91" name="Freeform 20"/>
            <p:cNvSpPr>
              <a:spLocks noChangeAspect="1"/>
            </p:cNvSpPr>
            <p:nvPr/>
          </p:nvSpPr>
          <p:spPr bwMode="auto">
            <a:xfrm>
              <a:off x="7388810" y="3772153"/>
              <a:ext cx="103736" cy="74548"/>
            </a:xfrm>
            <a:custGeom>
              <a:avLst/>
              <a:gdLst/>
              <a:ahLst/>
              <a:cxnLst>
                <a:cxn ang="0">
                  <a:pos x="0" y="125"/>
                </a:cxn>
                <a:cxn ang="0">
                  <a:pos x="16" y="90"/>
                </a:cxn>
                <a:cxn ang="0">
                  <a:pos x="16" y="24"/>
                </a:cxn>
                <a:cxn ang="0">
                  <a:pos x="16" y="0"/>
                </a:cxn>
                <a:cxn ang="0">
                  <a:pos x="58" y="7"/>
                </a:cxn>
                <a:cxn ang="0">
                  <a:pos x="73" y="27"/>
                </a:cxn>
                <a:cxn ang="0">
                  <a:pos x="93" y="35"/>
                </a:cxn>
                <a:cxn ang="0">
                  <a:pos x="113" y="35"/>
                </a:cxn>
                <a:cxn ang="0">
                  <a:pos x="121" y="65"/>
                </a:cxn>
                <a:cxn ang="0">
                  <a:pos x="144" y="76"/>
                </a:cxn>
                <a:cxn ang="0">
                  <a:pos x="176" y="98"/>
                </a:cxn>
                <a:cxn ang="0">
                  <a:pos x="165" y="118"/>
                </a:cxn>
                <a:cxn ang="0">
                  <a:pos x="123" y="120"/>
                </a:cxn>
                <a:cxn ang="0">
                  <a:pos x="58" y="118"/>
                </a:cxn>
                <a:cxn ang="0">
                  <a:pos x="0" y="125"/>
                </a:cxn>
              </a:cxnLst>
              <a:rect l="0" t="0" r="r" b="b"/>
              <a:pathLst>
                <a:path w="176" h="125">
                  <a:moveTo>
                    <a:pt x="0" y="125"/>
                  </a:moveTo>
                  <a:lnTo>
                    <a:pt x="16" y="90"/>
                  </a:lnTo>
                  <a:lnTo>
                    <a:pt x="16" y="24"/>
                  </a:lnTo>
                  <a:lnTo>
                    <a:pt x="16" y="0"/>
                  </a:lnTo>
                  <a:lnTo>
                    <a:pt x="58" y="7"/>
                  </a:lnTo>
                  <a:lnTo>
                    <a:pt x="73" y="27"/>
                  </a:lnTo>
                  <a:lnTo>
                    <a:pt x="93" y="35"/>
                  </a:lnTo>
                  <a:lnTo>
                    <a:pt x="113" y="35"/>
                  </a:lnTo>
                  <a:lnTo>
                    <a:pt x="121" y="65"/>
                  </a:lnTo>
                  <a:lnTo>
                    <a:pt x="144" y="76"/>
                  </a:lnTo>
                  <a:lnTo>
                    <a:pt x="176" y="98"/>
                  </a:lnTo>
                  <a:lnTo>
                    <a:pt x="165" y="118"/>
                  </a:lnTo>
                  <a:lnTo>
                    <a:pt x="123" y="120"/>
                  </a:lnTo>
                  <a:lnTo>
                    <a:pt x="58" y="118"/>
                  </a:lnTo>
                  <a:lnTo>
                    <a:pt x="0" y="12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92" name="Freeform 21"/>
            <p:cNvSpPr>
              <a:spLocks noChangeAspect="1"/>
            </p:cNvSpPr>
            <p:nvPr/>
          </p:nvSpPr>
          <p:spPr bwMode="auto">
            <a:xfrm>
              <a:off x="7511885" y="3823628"/>
              <a:ext cx="42198" cy="28399"/>
            </a:xfrm>
            <a:custGeom>
              <a:avLst/>
              <a:gdLst/>
              <a:ahLst/>
              <a:cxnLst>
                <a:cxn ang="0">
                  <a:pos x="25" y="4"/>
                </a:cxn>
                <a:cxn ang="0">
                  <a:pos x="0" y="22"/>
                </a:cxn>
                <a:cxn ang="0">
                  <a:pos x="17" y="36"/>
                </a:cxn>
                <a:cxn ang="0">
                  <a:pos x="45" y="48"/>
                </a:cxn>
                <a:cxn ang="0">
                  <a:pos x="71" y="34"/>
                </a:cxn>
                <a:cxn ang="0">
                  <a:pos x="69" y="0"/>
                </a:cxn>
                <a:cxn ang="0">
                  <a:pos x="25" y="4"/>
                </a:cxn>
              </a:cxnLst>
              <a:rect l="0" t="0" r="r" b="b"/>
              <a:pathLst>
                <a:path w="71" h="48">
                  <a:moveTo>
                    <a:pt x="25" y="4"/>
                  </a:moveTo>
                  <a:lnTo>
                    <a:pt x="0" y="22"/>
                  </a:lnTo>
                  <a:lnTo>
                    <a:pt x="17" y="36"/>
                  </a:lnTo>
                  <a:lnTo>
                    <a:pt x="45" y="48"/>
                  </a:lnTo>
                  <a:lnTo>
                    <a:pt x="71" y="34"/>
                  </a:lnTo>
                  <a:lnTo>
                    <a:pt x="69" y="0"/>
                  </a:lnTo>
                  <a:lnTo>
                    <a:pt x="25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93" name="Freeform 22"/>
            <p:cNvSpPr>
              <a:spLocks noChangeAspect="1"/>
            </p:cNvSpPr>
            <p:nvPr/>
          </p:nvSpPr>
          <p:spPr bwMode="auto">
            <a:xfrm>
              <a:off x="263320" y="3907380"/>
              <a:ext cx="179340" cy="157972"/>
            </a:xfrm>
            <a:custGeom>
              <a:avLst/>
              <a:gdLst/>
              <a:ahLst/>
              <a:cxnLst>
                <a:cxn ang="0">
                  <a:pos x="54" y="209"/>
                </a:cxn>
                <a:cxn ang="0">
                  <a:pos x="56" y="244"/>
                </a:cxn>
                <a:cxn ang="0">
                  <a:pos x="94" y="244"/>
                </a:cxn>
                <a:cxn ang="0">
                  <a:pos x="113" y="265"/>
                </a:cxn>
                <a:cxn ang="0">
                  <a:pos x="137" y="233"/>
                </a:cxn>
                <a:cxn ang="0">
                  <a:pos x="192" y="214"/>
                </a:cxn>
                <a:cxn ang="0">
                  <a:pos x="256" y="225"/>
                </a:cxn>
                <a:cxn ang="0">
                  <a:pos x="307" y="225"/>
                </a:cxn>
                <a:cxn ang="0">
                  <a:pos x="284" y="174"/>
                </a:cxn>
                <a:cxn ang="0">
                  <a:pos x="256" y="154"/>
                </a:cxn>
                <a:cxn ang="0">
                  <a:pos x="248" y="115"/>
                </a:cxn>
                <a:cxn ang="0">
                  <a:pos x="216" y="91"/>
                </a:cxn>
                <a:cxn ang="0">
                  <a:pos x="181" y="39"/>
                </a:cxn>
                <a:cxn ang="0">
                  <a:pos x="150" y="28"/>
                </a:cxn>
                <a:cxn ang="0">
                  <a:pos x="130" y="0"/>
                </a:cxn>
                <a:cxn ang="0">
                  <a:pos x="89" y="8"/>
                </a:cxn>
                <a:cxn ang="0">
                  <a:pos x="32" y="73"/>
                </a:cxn>
                <a:cxn ang="0">
                  <a:pos x="0" y="89"/>
                </a:cxn>
                <a:cxn ang="0">
                  <a:pos x="35" y="101"/>
                </a:cxn>
                <a:cxn ang="0">
                  <a:pos x="67" y="141"/>
                </a:cxn>
                <a:cxn ang="0">
                  <a:pos x="86" y="159"/>
                </a:cxn>
                <a:cxn ang="0">
                  <a:pos x="59" y="176"/>
                </a:cxn>
                <a:cxn ang="0">
                  <a:pos x="54" y="209"/>
                </a:cxn>
              </a:cxnLst>
              <a:rect l="0" t="0" r="r" b="b"/>
              <a:pathLst>
                <a:path w="307" h="265">
                  <a:moveTo>
                    <a:pt x="54" y="209"/>
                  </a:moveTo>
                  <a:lnTo>
                    <a:pt x="56" y="244"/>
                  </a:lnTo>
                  <a:lnTo>
                    <a:pt x="94" y="244"/>
                  </a:lnTo>
                  <a:lnTo>
                    <a:pt x="113" y="265"/>
                  </a:lnTo>
                  <a:lnTo>
                    <a:pt x="137" y="233"/>
                  </a:lnTo>
                  <a:lnTo>
                    <a:pt x="192" y="214"/>
                  </a:lnTo>
                  <a:lnTo>
                    <a:pt x="256" y="225"/>
                  </a:lnTo>
                  <a:lnTo>
                    <a:pt x="307" y="225"/>
                  </a:lnTo>
                  <a:lnTo>
                    <a:pt x="284" y="174"/>
                  </a:lnTo>
                  <a:lnTo>
                    <a:pt x="256" y="154"/>
                  </a:lnTo>
                  <a:lnTo>
                    <a:pt x="248" y="115"/>
                  </a:lnTo>
                  <a:lnTo>
                    <a:pt x="216" y="91"/>
                  </a:lnTo>
                  <a:lnTo>
                    <a:pt x="181" y="39"/>
                  </a:lnTo>
                  <a:lnTo>
                    <a:pt x="150" y="28"/>
                  </a:lnTo>
                  <a:lnTo>
                    <a:pt x="130" y="0"/>
                  </a:lnTo>
                  <a:lnTo>
                    <a:pt x="89" y="8"/>
                  </a:lnTo>
                  <a:lnTo>
                    <a:pt x="32" y="73"/>
                  </a:lnTo>
                  <a:lnTo>
                    <a:pt x="0" y="89"/>
                  </a:lnTo>
                  <a:lnTo>
                    <a:pt x="35" y="101"/>
                  </a:lnTo>
                  <a:lnTo>
                    <a:pt x="67" y="141"/>
                  </a:lnTo>
                  <a:lnTo>
                    <a:pt x="86" y="159"/>
                  </a:lnTo>
                  <a:lnTo>
                    <a:pt x="59" y="176"/>
                  </a:lnTo>
                  <a:lnTo>
                    <a:pt x="54" y="20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94" name="Freeform 23"/>
            <p:cNvSpPr>
              <a:spLocks noChangeAspect="1"/>
            </p:cNvSpPr>
            <p:nvPr/>
          </p:nvSpPr>
          <p:spPr bwMode="auto">
            <a:xfrm>
              <a:off x="263320" y="3907380"/>
              <a:ext cx="179340" cy="157972"/>
            </a:xfrm>
            <a:custGeom>
              <a:avLst/>
              <a:gdLst/>
              <a:ahLst/>
              <a:cxnLst>
                <a:cxn ang="0">
                  <a:pos x="54" y="209"/>
                </a:cxn>
                <a:cxn ang="0">
                  <a:pos x="56" y="244"/>
                </a:cxn>
                <a:cxn ang="0">
                  <a:pos x="94" y="244"/>
                </a:cxn>
                <a:cxn ang="0">
                  <a:pos x="113" y="265"/>
                </a:cxn>
                <a:cxn ang="0">
                  <a:pos x="137" y="233"/>
                </a:cxn>
                <a:cxn ang="0">
                  <a:pos x="192" y="214"/>
                </a:cxn>
                <a:cxn ang="0">
                  <a:pos x="256" y="225"/>
                </a:cxn>
                <a:cxn ang="0">
                  <a:pos x="307" y="225"/>
                </a:cxn>
                <a:cxn ang="0">
                  <a:pos x="284" y="174"/>
                </a:cxn>
                <a:cxn ang="0">
                  <a:pos x="256" y="154"/>
                </a:cxn>
                <a:cxn ang="0">
                  <a:pos x="248" y="115"/>
                </a:cxn>
                <a:cxn ang="0">
                  <a:pos x="216" y="91"/>
                </a:cxn>
                <a:cxn ang="0">
                  <a:pos x="181" y="39"/>
                </a:cxn>
                <a:cxn ang="0">
                  <a:pos x="150" y="28"/>
                </a:cxn>
                <a:cxn ang="0">
                  <a:pos x="130" y="0"/>
                </a:cxn>
                <a:cxn ang="0">
                  <a:pos x="89" y="8"/>
                </a:cxn>
                <a:cxn ang="0">
                  <a:pos x="32" y="73"/>
                </a:cxn>
                <a:cxn ang="0">
                  <a:pos x="0" y="89"/>
                </a:cxn>
                <a:cxn ang="0">
                  <a:pos x="35" y="101"/>
                </a:cxn>
                <a:cxn ang="0">
                  <a:pos x="67" y="141"/>
                </a:cxn>
                <a:cxn ang="0">
                  <a:pos x="86" y="159"/>
                </a:cxn>
                <a:cxn ang="0">
                  <a:pos x="59" y="176"/>
                </a:cxn>
                <a:cxn ang="0">
                  <a:pos x="54" y="209"/>
                </a:cxn>
              </a:cxnLst>
              <a:rect l="0" t="0" r="r" b="b"/>
              <a:pathLst>
                <a:path w="307" h="265">
                  <a:moveTo>
                    <a:pt x="54" y="209"/>
                  </a:moveTo>
                  <a:lnTo>
                    <a:pt x="56" y="244"/>
                  </a:lnTo>
                  <a:lnTo>
                    <a:pt x="94" y="244"/>
                  </a:lnTo>
                  <a:lnTo>
                    <a:pt x="113" y="265"/>
                  </a:lnTo>
                  <a:lnTo>
                    <a:pt x="137" y="233"/>
                  </a:lnTo>
                  <a:lnTo>
                    <a:pt x="192" y="214"/>
                  </a:lnTo>
                  <a:lnTo>
                    <a:pt x="256" y="225"/>
                  </a:lnTo>
                  <a:lnTo>
                    <a:pt x="307" y="225"/>
                  </a:lnTo>
                  <a:lnTo>
                    <a:pt x="284" y="174"/>
                  </a:lnTo>
                  <a:lnTo>
                    <a:pt x="256" y="154"/>
                  </a:lnTo>
                  <a:lnTo>
                    <a:pt x="248" y="115"/>
                  </a:lnTo>
                  <a:lnTo>
                    <a:pt x="216" y="91"/>
                  </a:lnTo>
                  <a:lnTo>
                    <a:pt x="181" y="39"/>
                  </a:lnTo>
                  <a:lnTo>
                    <a:pt x="150" y="28"/>
                  </a:lnTo>
                  <a:lnTo>
                    <a:pt x="130" y="0"/>
                  </a:lnTo>
                  <a:lnTo>
                    <a:pt x="89" y="8"/>
                  </a:lnTo>
                  <a:lnTo>
                    <a:pt x="32" y="73"/>
                  </a:lnTo>
                  <a:lnTo>
                    <a:pt x="0" y="89"/>
                  </a:lnTo>
                  <a:lnTo>
                    <a:pt x="35" y="101"/>
                  </a:lnTo>
                  <a:lnTo>
                    <a:pt x="67" y="141"/>
                  </a:lnTo>
                  <a:lnTo>
                    <a:pt x="86" y="159"/>
                  </a:lnTo>
                  <a:lnTo>
                    <a:pt x="59" y="176"/>
                  </a:lnTo>
                  <a:lnTo>
                    <a:pt x="54" y="209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95" name="Freeform 24"/>
            <p:cNvSpPr>
              <a:spLocks noChangeAspect="1"/>
            </p:cNvSpPr>
            <p:nvPr/>
          </p:nvSpPr>
          <p:spPr bwMode="auto">
            <a:xfrm>
              <a:off x="4534073" y="4503769"/>
              <a:ext cx="218020" cy="228970"/>
            </a:xfrm>
            <a:custGeom>
              <a:avLst/>
              <a:gdLst/>
              <a:ahLst/>
              <a:cxnLst>
                <a:cxn ang="0">
                  <a:pos x="55" y="234"/>
                </a:cxn>
                <a:cxn ang="0">
                  <a:pos x="0" y="0"/>
                </a:cxn>
                <a:cxn ang="0">
                  <a:pos x="49" y="19"/>
                </a:cxn>
                <a:cxn ang="0">
                  <a:pos x="124" y="15"/>
                </a:cxn>
                <a:cxn ang="0">
                  <a:pos x="124" y="78"/>
                </a:cxn>
                <a:cxn ang="0">
                  <a:pos x="171" y="95"/>
                </a:cxn>
                <a:cxn ang="0">
                  <a:pos x="183" y="126"/>
                </a:cxn>
                <a:cxn ang="0">
                  <a:pos x="222" y="161"/>
                </a:cxn>
                <a:cxn ang="0">
                  <a:pos x="246" y="185"/>
                </a:cxn>
                <a:cxn ang="0">
                  <a:pos x="238" y="240"/>
                </a:cxn>
                <a:cxn ang="0">
                  <a:pos x="274" y="295"/>
                </a:cxn>
                <a:cxn ang="0">
                  <a:pos x="338" y="316"/>
                </a:cxn>
                <a:cxn ang="0">
                  <a:pos x="373" y="375"/>
                </a:cxn>
                <a:cxn ang="0">
                  <a:pos x="373" y="375"/>
                </a:cxn>
                <a:cxn ang="0">
                  <a:pos x="363" y="378"/>
                </a:cxn>
                <a:cxn ang="0">
                  <a:pos x="341" y="383"/>
                </a:cxn>
                <a:cxn ang="0">
                  <a:pos x="329" y="387"/>
                </a:cxn>
                <a:cxn ang="0">
                  <a:pos x="318" y="388"/>
                </a:cxn>
                <a:cxn ang="0">
                  <a:pos x="307" y="388"/>
                </a:cxn>
                <a:cxn ang="0">
                  <a:pos x="304" y="388"/>
                </a:cxn>
                <a:cxn ang="0">
                  <a:pos x="301" y="387"/>
                </a:cxn>
                <a:cxn ang="0">
                  <a:pos x="301" y="387"/>
                </a:cxn>
                <a:cxn ang="0">
                  <a:pos x="295" y="383"/>
                </a:cxn>
                <a:cxn ang="0">
                  <a:pos x="285" y="381"/>
                </a:cxn>
                <a:cxn ang="0">
                  <a:pos x="261" y="373"/>
                </a:cxn>
                <a:cxn ang="0">
                  <a:pos x="231" y="367"/>
                </a:cxn>
                <a:cxn ang="0">
                  <a:pos x="171" y="304"/>
                </a:cxn>
                <a:cxn ang="0">
                  <a:pos x="128" y="244"/>
                </a:cxn>
                <a:cxn ang="0">
                  <a:pos x="55" y="234"/>
                </a:cxn>
              </a:cxnLst>
              <a:rect l="0" t="0" r="r" b="b"/>
              <a:pathLst>
                <a:path w="373" h="388">
                  <a:moveTo>
                    <a:pt x="55" y="234"/>
                  </a:moveTo>
                  <a:lnTo>
                    <a:pt x="0" y="0"/>
                  </a:lnTo>
                  <a:lnTo>
                    <a:pt x="49" y="19"/>
                  </a:lnTo>
                  <a:lnTo>
                    <a:pt x="124" y="15"/>
                  </a:lnTo>
                  <a:lnTo>
                    <a:pt x="124" y="78"/>
                  </a:lnTo>
                  <a:lnTo>
                    <a:pt x="171" y="95"/>
                  </a:lnTo>
                  <a:lnTo>
                    <a:pt x="183" y="126"/>
                  </a:lnTo>
                  <a:lnTo>
                    <a:pt x="222" y="161"/>
                  </a:lnTo>
                  <a:lnTo>
                    <a:pt x="246" y="185"/>
                  </a:lnTo>
                  <a:lnTo>
                    <a:pt x="238" y="240"/>
                  </a:lnTo>
                  <a:lnTo>
                    <a:pt x="274" y="295"/>
                  </a:lnTo>
                  <a:lnTo>
                    <a:pt x="338" y="316"/>
                  </a:lnTo>
                  <a:lnTo>
                    <a:pt x="373" y="375"/>
                  </a:lnTo>
                  <a:lnTo>
                    <a:pt x="373" y="375"/>
                  </a:lnTo>
                  <a:lnTo>
                    <a:pt x="363" y="378"/>
                  </a:lnTo>
                  <a:lnTo>
                    <a:pt x="341" y="383"/>
                  </a:lnTo>
                  <a:lnTo>
                    <a:pt x="329" y="387"/>
                  </a:lnTo>
                  <a:lnTo>
                    <a:pt x="318" y="388"/>
                  </a:lnTo>
                  <a:lnTo>
                    <a:pt x="307" y="388"/>
                  </a:lnTo>
                  <a:lnTo>
                    <a:pt x="304" y="388"/>
                  </a:lnTo>
                  <a:lnTo>
                    <a:pt x="301" y="387"/>
                  </a:lnTo>
                  <a:lnTo>
                    <a:pt x="301" y="387"/>
                  </a:lnTo>
                  <a:lnTo>
                    <a:pt x="295" y="383"/>
                  </a:lnTo>
                  <a:lnTo>
                    <a:pt x="285" y="381"/>
                  </a:lnTo>
                  <a:lnTo>
                    <a:pt x="261" y="373"/>
                  </a:lnTo>
                  <a:lnTo>
                    <a:pt x="231" y="367"/>
                  </a:lnTo>
                  <a:lnTo>
                    <a:pt x="171" y="304"/>
                  </a:lnTo>
                  <a:lnTo>
                    <a:pt x="128" y="244"/>
                  </a:lnTo>
                  <a:lnTo>
                    <a:pt x="55" y="23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96" name="Freeform 25"/>
            <p:cNvSpPr>
              <a:spLocks noChangeAspect="1"/>
            </p:cNvSpPr>
            <p:nvPr/>
          </p:nvSpPr>
          <p:spPr bwMode="auto">
            <a:xfrm>
              <a:off x="4711654" y="4542817"/>
              <a:ext cx="75603" cy="58574"/>
            </a:xfrm>
            <a:custGeom>
              <a:avLst/>
              <a:gdLst/>
              <a:ahLst/>
              <a:cxnLst>
                <a:cxn ang="0">
                  <a:pos x="9" y="51"/>
                </a:cxn>
                <a:cxn ang="0">
                  <a:pos x="0" y="87"/>
                </a:cxn>
                <a:cxn ang="0">
                  <a:pos x="51" y="98"/>
                </a:cxn>
                <a:cxn ang="0">
                  <a:pos x="103" y="70"/>
                </a:cxn>
                <a:cxn ang="0">
                  <a:pos x="127" y="35"/>
                </a:cxn>
                <a:cxn ang="0">
                  <a:pos x="123" y="0"/>
                </a:cxn>
                <a:cxn ang="0">
                  <a:pos x="83" y="4"/>
                </a:cxn>
                <a:cxn ang="0">
                  <a:pos x="75" y="35"/>
                </a:cxn>
                <a:cxn ang="0">
                  <a:pos x="9" y="51"/>
                </a:cxn>
              </a:cxnLst>
              <a:rect l="0" t="0" r="r" b="b"/>
              <a:pathLst>
                <a:path w="127" h="98">
                  <a:moveTo>
                    <a:pt x="9" y="51"/>
                  </a:moveTo>
                  <a:lnTo>
                    <a:pt x="0" y="87"/>
                  </a:lnTo>
                  <a:lnTo>
                    <a:pt x="51" y="98"/>
                  </a:lnTo>
                  <a:lnTo>
                    <a:pt x="103" y="70"/>
                  </a:lnTo>
                  <a:lnTo>
                    <a:pt x="127" y="35"/>
                  </a:lnTo>
                  <a:lnTo>
                    <a:pt x="123" y="0"/>
                  </a:lnTo>
                  <a:lnTo>
                    <a:pt x="83" y="4"/>
                  </a:lnTo>
                  <a:lnTo>
                    <a:pt x="75" y="35"/>
                  </a:lnTo>
                  <a:lnTo>
                    <a:pt x="9" y="5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97" name="Freeform 26"/>
            <p:cNvSpPr>
              <a:spLocks noChangeAspect="1"/>
            </p:cNvSpPr>
            <p:nvPr/>
          </p:nvSpPr>
          <p:spPr bwMode="auto">
            <a:xfrm>
              <a:off x="4834731" y="4564118"/>
              <a:ext cx="38681" cy="26624"/>
            </a:xfrm>
            <a:custGeom>
              <a:avLst/>
              <a:gdLst/>
              <a:ahLst/>
              <a:cxnLst>
                <a:cxn ang="0">
                  <a:pos x="34" y="45"/>
                </a:cxn>
                <a:cxn ang="0">
                  <a:pos x="34" y="45"/>
                </a:cxn>
                <a:cxn ang="0">
                  <a:pos x="40" y="44"/>
                </a:cxn>
                <a:cxn ang="0">
                  <a:pos x="46" y="43"/>
                </a:cxn>
                <a:cxn ang="0">
                  <a:pos x="51" y="42"/>
                </a:cxn>
                <a:cxn ang="0">
                  <a:pos x="56" y="38"/>
                </a:cxn>
                <a:cxn ang="0">
                  <a:pos x="61" y="35"/>
                </a:cxn>
                <a:cxn ang="0">
                  <a:pos x="64" y="31"/>
                </a:cxn>
                <a:cxn ang="0">
                  <a:pos x="66" y="26"/>
                </a:cxn>
                <a:cxn ang="0">
                  <a:pos x="66" y="23"/>
                </a:cxn>
                <a:cxn ang="0">
                  <a:pos x="66" y="23"/>
                </a:cxn>
                <a:cxn ang="0">
                  <a:pos x="66" y="18"/>
                </a:cxn>
                <a:cxn ang="0">
                  <a:pos x="64" y="14"/>
                </a:cxn>
                <a:cxn ang="0">
                  <a:pos x="61" y="10"/>
                </a:cxn>
                <a:cxn ang="0">
                  <a:pos x="56" y="6"/>
                </a:cxn>
                <a:cxn ang="0">
                  <a:pos x="51" y="4"/>
                </a:cxn>
                <a:cxn ang="0">
                  <a:pos x="46" y="1"/>
                </a:cxn>
                <a:cxn ang="0">
                  <a:pos x="40" y="0"/>
                </a:cxn>
                <a:cxn ang="0">
                  <a:pos x="34" y="0"/>
                </a:cxn>
                <a:cxn ang="0">
                  <a:pos x="34" y="0"/>
                </a:cxn>
                <a:cxn ang="0">
                  <a:pos x="26" y="0"/>
                </a:cxn>
                <a:cxn ang="0">
                  <a:pos x="20" y="1"/>
                </a:cxn>
                <a:cxn ang="0">
                  <a:pos x="15" y="4"/>
                </a:cxn>
                <a:cxn ang="0">
                  <a:pos x="10" y="6"/>
                </a:cxn>
                <a:cxn ang="0">
                  <a:pos x="5" y="10"/>
                </a:cxn>
                <a:cxn ang="0">
                  <a:pos x="2" y="14"/>
                </a:cxn>
                <a:cxn ang="0">
                  <a:pos x="0" y="18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26"/>
                </a:cxn>
                <a:cxn ang="0">
                  <a:pos x="2" y="31"/>
                </a:cxn>
                <a:cxn ang="0">
                  <a:pos x="5" y="35"/>
                </a:cxn>
                <a:cxn ang="0">
                  <a:pos x="10" y="38"/>
                </a:cxn>
                <a:cxn ang="0">
                  <a:pos x="15" y="42"/>
                </a:cxn>
                <a:cxn ang="0">
                  <a:pos x="20" y="43"/>
                </a:cxn>
                <a:cxn ang="0">
                  <a:pos x="26" y="44"/>
                </a:cxn>
                <a:cxn ang="0">
                  <a:pos x="34" y="45"/>
                </a:cxn>
                <a:cxn ang="0">
                  <a:pos x="34" y="45"/>
                </a:cxn>
              </a:cxnLst>
              <a:rect l="0" t="0" r="r" b="b"/>
              <a:pathLst>
                <a:path w="66" h="45">
                  <a:moveTo>
                    <a:pt x="34" y="45"/>
                  </a:moveTo>
                  <a:lnTo>
                    <a:pt x="34" y="45"/>
                  </a:lnTo>
                  <a:lnTo>
                    <a:pt x="40" y="44"/>
                  </a:lnTo>
                  <a:lnTo>
                    <a:pt x="46" y="43"/>
                  </a:lnTo>
                  <a:lnTo>
                    <a:pt x="51" y="42"/>
                  </a:lnTo>
                  <a:lnTo>
                    <a:pt x="56" y="38"/>
                  </a:lnTo>
                  <a:lnTo>
                    <a:pt x="61" y="35"/>
                  </a:lnTo>
                  <a:lnTo>
                    <a:pt x="64" y="31"/>
                  </a:lnTo>
                  <a:lnTo>
                    <a:pt x="66" y="26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18"/>
                  </a:lnTo>
                  <a:lnTo>
                    <a:pt x="64" y="14"/>
                  </a:lnTo>
                  <a:lnTo>
                    <a:pt x="61" y="10"/>
                  </a:lnTo>
                  <a:lnTo>
                    <a:pt x="56" y="6"/>
                  </a:lnTo>
                  <a:lnTo>
                    <a:pt x="51" y="4"/>
                  </a:lnTo>
                  <a:lnTo>
                    <a:pt x="46" y="1"/>
                  </a:lnTo>
                  <a:lnTo>
                    <a:pt x="40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0" y="1"/>
                  </a:lnTo>
                  <a:lnTo>
                    <a:pt x="15" y="4"/>
                  </a:lnTo>
                  <a:lnTo>
                    <a:pt x="10" y="6"/>
                  </a:lnTo>
                  <a:lnTo>
                    <a:pt x="5" y="10"/>
                  </a:lnTo>
                  <a:lnTo>
                    <a:pt x="2" y="14"/>
                  </a:lnTo>
                  <a:lnTo>
                    <a:pt x="0" y="18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2" y="31"/>
                  </a:lnTo>
                  <a:lnTo>
                    <a:pt x="5" y="35"/>
                  </a:lnTo>
                  <a:lnTo>
                    <a:pt x="10" y="38"/>
                  </a:lnTo>
                  <a:lnTo>
                    <a:pt x="15" y="42"/>
                  </a:lnTo>
                  <a:lnTo>
                    <a:pt x="20" y="43"/>
                  </a:lnTo>
                  <a:lnTo>
                    <a:pt x="26" y="44"/>
                  </a:lnTo>
                  <a:lnTo>
                    <a:pt x="34" y="45"/>
                  </a:lnTo>
                  <a:lnTo>
                    <a:pt x="34" y="4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98" name="Freeform 27"/>
            <p:cNvSpPr>
              <a:spLocks noChangeAspect="1"/>
            </p:cNvSpPr>
            <p:nvPr/>
          </p:nvSpPr>
          <p:spPr bwMode="auto">
            <a:xfrm>
              <a:off x="927933" y="3232893"/>
              <a:ext cx="101978" cy="198796"/>
            </a:xfrm>
            <a:custGeom>
              <a:avLst/>
              <a:gdLst/>
              <a:ahLst/>
              <a:cxnLst>
                <a:cxn ang="0">
                  <a:pos x="99" y="335"/>
                </a:cxn>
                <a:cxn ang="0">
                  <a:pos x="71" y="334"/>
                </a:cxn>
                <a:cxn ang="0">
                  <a:pos x="60" y="284"/>
                </a:cxn>
                <a:cxn ang="0">
                  <a:pos x="20" y="267"/>
                </a:cxn>
                <a:cxn ang="0">
                  <a:pos x="0" y="216"/>
                </a:cxn>
                <a:cxn ang="0">
                  <a:pos x="12" y="168"/>
                </a:cxn>
                <a:cxn ang="0">
                  <a:pos x="55" y="153"/>
                </a:cxn>
                <a:cxn ang="0">
                  <a:pos x="32" y="117"/>
                </a:cxn>
                <a:cxn ang="0">
                  <a:pos x="40" y="82"/>
                </a:cxn>
                <a:cxn ang="0">
                  <a:pos x="60" y="82"/>
                </a:cxn>
                <a:cxn ang="0">
                  <a:pos x="51" y="23"/>
                </a:cxn>
                <a:cxn ang="0">
                  <a:pos x="81" y="1"/>
                </a:cxn>
                <a:cxn ang="0">
                  <a:pos x="105" y="0"/>
                </a:cxn>
                <a:cxn ang="0">
                  <a:pos x="128" y="15"/>
                </a:cxn>
                <a:cxn ang="0">
                  <a:pos x="165" y="31"/>
                </a:cxn>
                <a:cxn ang="0">
                  <a:pos x="153" y="66"/>
                </a:cxn>
                <a:cxn ang="0">
                  <a:pos x="170" y="94"/>
                </a:cxn>
                <a:cxn ang="0">
                  <a:pos x="165" y="151"/>
                </a:cxn>
                <a:cxn ang="0">
                  <a:pos x="133" y="159"/>
                </a:cxn>
                <a:cxn ang="0">
                  <a:pos x="129" y="203"/>
                </a:cxn>
                <a:cxn ang="0">
                  <a:pos x="157" y="213"/>
                </a:cxn>
                <a:cxn ang="0">
                  <a:pos x="174" y="235"/>
                </a:cxn>
                <a:cxn ang="0">
                  <a:pos x="167" y="308"/>
                </a:cxn>
                <a:cxn ang="0">
                  <a:pos x="143" y="314"/>
                </a:cxn>
                <a:cxn ang="0">
                  <a:pos x="99" y="335"/>
                </a:cxn>
              </a:cxnLst>
              <a:rect l="0" t="0" r="r" b="b"/>
              <a:pathLst>
                <a:path w="174" h="335">
                  <a:moveTo>
                    <a:pt x="99" y="335"/>
                  </a:moveTo>
                  <a:lnTo>
                    <a:pt x="71" y="334"/>
                  </a:lnTo>
                  <a:lnTo>
                    <a:pt x="60" y="284"/>
                  </a:lnTo>
                  <a:lnTo>
                    <a:pt x="20" y="267"/>
                  </a:lnTo>
                  <a:lnTo>
                    <a:pt x="0" y="216"/>
                  </a:lnTo>
                  <a:lnTo>
                    <a:pt x="12" y="168"/>
                  </a:lnTo>
                  <a:lnTo>
                    <a:pt x="55" y="153"/>
                  </a:lnTo>
                  <a:lnTo>
                    <a:pt x="32" y="117"/>
                  </a:lnTo>
                  <a:lnTo>
                    <a:pt x="40" y="82"/>
                  </a:lnTo>
                  <a:lnTo>
                    <a:pt x="60" y="82"/>
                  </a:lnTo>
                  <a:lnTo>
                    <a:pt x="51" y="23"/>
                  </a:lnTo>
                  <a:lnTo>
                    <a:pt x="81" y="1"/>
                  </a:lnTo>
                  <a:lnTo>
                    <a:pt x="105" y="0"/>
                  </a:lnTo>
                  <a:lnTo>
                    <a:pt x="128" y="15"/>
                  </a:lnTo>
                  <a:lnTo>
                    <a:pt x="165" y="31"/>
                  </a:lnTo>
                  <a:lnTo>
                    <a:pt x="153" y="66"/>
                  </a:lnTo>
                  <a:lnTo>
                    <a:pt x="170" y="94"/>
                  </a:lnTo>
                  <a:lnTo>
                    <a:pt x="165" y="151"/>
                  </a:lnTo>
                  <a:lnTo>
                    <a:pt x="133" y="159"/>
                  </a:lnTo>
                  <a:lnTo>
                    <a:pt x="129" y="203"/>
                  </a:lnTo>
                  <a:lnTo>
                    <a:pt x="157" y="213"/>
                  </a:lnTo>
                  <a:lnTo>
                    <a:pt x="174" y="235"/>
                  </a:lnTo>
                  <a:lnTo>
                    <a:pt x="167" y="308"/>
                  </a:lnTo>
                  <a:lnTo>
                    <a:pt x="143" y="314"/>
                  </a:lnTo>
                  <a:lnTo>
                    <a:pt x="99" y="33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99" name="Freeform 28"/>
            <p:cNvSpPr>
              <a:spLocks noChangeAspect="1"/>
            </p:cNvSpPr>
            <p:nvPr/>
          </p:nvSpPr>
          <p:spPr bwMode="auto">
            <a:xfrm>
              <a:off x="2830342" y="3474288"/>
              <a:ext cx="225054" cy="1189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1" y="2"/>
                </a:cxn>
                <a:cxn ang="0">
                  <a:pos x="90" y="41"/>
                </a:cxn>
                <a:cxn ang="0">
                  <a:pos x="138" y="64"/>
                </a:cxn>
                <a:cxn ang="0">
                  <a:pos x="153" y="31"/>
                </a:cxn>
                <a:cxn ang="0">
                  <a:pos x="158" y="83"/>
                </a:cxn>
                <a:cxn ang="0">
                  <a:pos x="193" y="103"/>
                </a:cxn>
                <a:cxn ang="0">
                  <a:pos x="238" y="127"/>
                </a:cxn>
                <a:cxn ang="0">
                  <a:pos x="340" y="134"/>
                </a:cxn>
                <a:cxn ang="0">
                  <a:pos x="383" y="150"/>
                </a:cxn>
                <a:cxn ang="0">
                  <a:pos x="359" y="197"/>
                </a:cxn>
                <a:cxn ang="0">
                  <a:pos x="315" y="197"/>
                </a:cxn>
                <a:cxn ang="0">
                  <a:pos x="265" y="202"/>
                </a:cxn>
                <a:cxn ang="0">
                  <a:pos x="224" y="178"/>
                </a:cxn>
                <a:cxn ang="0">
                  <a:pos x="169" y="166"/>
                </a:cxn>
                <a:cxn ang="0">
                  <a:pos x="98" y="138"/>
                </a:cxn>
                <a:cxn ang="0">
                  <a:pos x="42" y="123"/>
                </a:cxn>
                <a:cxn ang="0">
                  <a:pos x="7" y="79"/>
                </a:cxn>
                <a:cxn ang="0">
                  <a:pos x="0" y="0"/>
                </a:cxn>
              </a:cxnLst>
              <a:rect l="0" t="0" r="r" b="b"/>
              <a:pathLst>
                <a:path w="383" h="202">
                  <a:moveTo>
                    <a:pt x="0" y="0"/>
                  </a:moveTo>
                  <a:lnTo>
                    <a:pt x="51" y="2"/>
                  </a:lnTo>
                  <a:lnTo>
                    <a:pt x="90" y="41"/>
                  </a:lnTo>
                  <a:lnTo>
                    <a:pt x="138" y="64"/>
                  </a:lnTo>
                  <a:lnTo>
                    <a:pt x="153" y="31"/>
                  </a:lnTo>
                  <a:lnTo>
                    <a:pt x="158" y="83"/>
                  </a:lnTo>
                  <a:lnTo>
                    <a:pt x="193" y="103"/>
                  </a:lnTo>
                  <a:lnTo>
                    <a:pt x="238" y="127"/>
                  </a:lnTo>
                  <a:lnTo>
                    <a:pt x="340" y="134"/>
                  </a:lnTo>
                  <a:lnTo>
                    <a:pt x="383" y="150"/>
                  </a:lnTo>
                  <a:lnTo>
                    <a:pt x="359" y="197"/>
                  </a:lnTo>
                  <a:lnTo>
                    <a:pt x="315" y="197"/>
                  </a:lnTo>
                  <a:lnTo>
                    <a:pt x="265" y="202"/>
                  </a:lnTo>
                  <a:lnTo>
                    <a:pt x="224" y="178"/>
                  </a:lnTo>
                  <a:lnTo>
                    <a:pt x="169" y="166"/>
                  </a:lnTo>
                  <a:lnTo>
                    <a:pt x="98" y="138"/>
                  </a:lnTo>
                  <a:lnTo>
                    <a:pt x="42" y="123"/>
                  </a:lnTo>
                  <a:lnTo>
                    <a:pt x="7" y="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00" name="Freeform 29"/>
            <p:cNvSpPr>
              <a:spLocks noChangeAspect="1"/>
            </p:cNvSpPr>
            <p:nvPr/>
          </p:nvSpPr>
          <p:spPr bwMode="auto">
            <a:xfrm>
              <a:off x="2830342" y="3474288"/>
              <a:ext cx="225054" cy="11892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1" y="2"/>
                </a:cxn>
                <a:cxn ang="0">
                  <a:pos x="90" y="41"/>
                </a:cxn>
                <a:cxn ang="0">
                  <a:pos x="138" y="64"/>
                </a:cxn>
                <a:cxn ang="0">
                  <a:pos x="153" y="31"/>
                </a:cxn>
                <a:cxn ang="0">
                  <a:pos x="158" y="83"/>
                </a:cxn>
                <a:cxn ang="0">
                  <a:pos x="193" y="103"/>
                </a:cxn>
                <a:cxn ang="0">
                  <a:pos x="238" y="127"/>
                </a:cxn>
                <a:cxn ang="0">
                  <a:pos x="340" y="134"/>
                </a:cxn>
                <a:cxn ang="0">
                  <a:pos x="383" y="150"/>
                </a:cxn>
                <a:cxn ang="0">
                  <a:pos x="359" y="197"/>
                </a:cxn>
                <a:cxn ang="0">
                  <a:pos x="315" y="197"/>
                </a:cxn>
                <a:cxn ang="0">
                  <a:pos x="265" y="202"/>
                </a:cxn>
                <a:cxn ang="0">
                  <a:pos x="224" y="178"/>
                </a:cxn>
                <a:cxn ang="0">
                  <a:pos x="169" y="166"/>
                </a:cxn>
                <a:cxn ang="0">
                  <a:pos x="98" y="138"/>
                </a:cxn>
                <a:cxn ang="0">
                  <a:pos x="42" y="123"/>
                </a:cxn>
                <a:cxn ang="0">
                  <a:pos x="7" y="79"/>
                </a:cxn>
                <a:cxn ang="0">
                  <a:pos x="0" y="0"/>
                </a:cxn>
              </a:cxnLst>
              <a:rect l="0" t="0" r="r" b="b"/>
              <a:pathLst>
                <a:path w="383" h="202">
                  <a:moveTo>
                    <a:pt x="0" y="0"/>
                  </a:moveTo>
                  <a:lnTo>
                    <a:pt x="51" y="2"/>
                  </a:lnTo>
                  <a:lnTo>
                    <a:pt x="90" y="41"/>
                  </a:lnTo>
                  <a:lnTo>
                    <a:pt x="138" y="64"/>
                  </a:lnTo>
                  <a:lnTo>
                    <a:pt x="153" y="31"/>
                  </a:lnTo>
                  <a:lnTo>
                    <a:pt x="158" y="83"/>
                  </a:lnTo>
                  <a:lnTo>
                    <a:pt x="193" y="103"/>
                  </a:lnTo>
                  <a:lnTo>
                    <a:pt x="238" y="127"/>
                  </a:lnTo>
                  <a:lnTo>
                    <a:pt x="340" y="134"/>
                  </a:lnTo>
                  <a:lnTo>
                    <a:pt x="383" y="150"/>
                  </a:lnTo>
                  <a:lnTo>
                    <a:pt x="359" y="197"/>
                  </a:lnTo>
                  <a:lnTo>
                    <a:pt x="315" y="197"/>
                  </a:lnTo>
                  <a:lnTo>
                    <a:pt x="265" y="202"/>
                  </a:lnTo>
                  <a:lnTo>
                    <a:pt x="224" y="178"/>
                  </a:lnTo>
                  <a:lnTo>
                    <a:pt x="169" y="166"/>
                  </a:lnTo>
                  <a:lnTo>
                    <a:pt x="98" y="138"/>
                  </a:lnTo>
                  <a:lnTo>
                    <a:pt x="42" y="123"/>
                  </a:lnTo>
                  <a:lnTo>
                    <a:pt x="7" y="79"/>
                  </a:lnTo>
                  <a:lnTo>
                    <a:pt x="0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01" name="Freeform 30"/>
            <p:cNvSpPr>
              <a:spLocks noChangeAspect="1"/>
            </p:cNvSpPr>
            <p:nvPr/>
          </p:nvSpPr>
          <p:spPr bwMode="auto">
            <a:xfrm>
              <a:off x="3320890" y="3758283"/>
              <a:ext cx="209230" cy="369193"/>
            </a:xfrm>
            <a:custGeom>
              <a:avLst/>
              <a:gdLst/>
              <a:ahLst/>
              <a:cxnLst>
                <a:cxn ang="0">
                  <a:pos x="43" y="561"/>
                </a:cxn>
                <a:cxn ang="0">
                  <a:pos x="63" y="530"/>
                </a:cxn>
                <a:cxn ang="0">
                  <a:pos x="94" y="462"/>
                </a:cxn>
                <a:cxn ang="0">
                  <a:pos x="55" y="427"/>
                </a:cxn>
                <a:cxn ang="0">
                  <a:pos x="39" y="368"/>
                </a:cxn>
                <a:cxn ang="0">
                  <a:pos x="35" y="328"/>
                </a:cxn>
                <a:cxn ang="0">
                  <a:pos x="48" y="249"/>
                </a:cxn>
                <a:cxn ang="0">
                  <a:pos x="11" y="202"/>
                </a:cxn>
                <a:cxn ang="0">
                  <a:pos x="0" y="171"/>
                </a:cxn>
                <a:cxn ang="0">
                  <a:pos x="4" y="87"/>
                </a:cxn>
                <a:cxn ang="0">
                  <a:pos x="52" y="68"/>
                </a:cxn>
                <a:cxn ang="0">
                  <a:pos x="79" y="44"/>
                </a:cxn>
                <a:cxn ang="0">
                  <a:pos x="99" y="0"/>
                </a:cxn>
                <a:cxn ang="0">
                  <a:pos x="107" y="40"/>
                </a:cxn>
                <a:cxn ang="0">
                  <a:pos x="118" y="87"/>
                </a:cxn>
                <a:cxn ang="0">
                  <a:pos x="142" y="107"/>
                </a:cxn>
                <a:cxn ang="0">
                  <a:pos x="173" y="123"/>
                </a:cxn>
                <a:cxn ang="0">
                  <a:pos x="221" y="182"/>
                </a:cxn>
                <a:cxn ang="0">
                  <a:pos x="256" y="151"/>
                </a:cxn>
                <a:cxn ang="0">
                  <a:pos x="293" y="190"/>
                </a:cxn>
                <a:cxn ang="0">
                  <a:pos x="316" y="254"/>
                </a:cxn>
                <a:cxn ang="0">
                  <a:pos x="332" y="289"/>
                </a:cxn>
                <a:cxn ang="0">
                  <a:pos x="355" y="293"/>
                </a:cxn>
                <a:cxn ang="0">
                  <a:pos x="355" y="368"/>
                </a:cxn>
                <a:cxn ang="0">
                  <a:pos x="308" y="375"/>
                </a:cxn>
                <a:cxn ang="0">
                  <a:pos x="265" y="348"/>
                </a:cxn>
                <a:cxn ang="0">
                  <a:pos x="221" y="392"/>
                </a:cxn>
                <a:cxn ang="0">
                  <a:pos x="201" y="447"/>
                </a:cxn>
                <a:cxn ang="0">
                  <a:pos x="155" y="439"/>
                </a:cxn>
                <a:cxn ang="0">
                  <a:pos x="126" y="535"/>
                </a:cxn>
                <a:cxn ang="0">
                  <a:pos x="153" y="585"/>
                </a:cxn>
                <a:cxn ang="0">
                  <a:pos x="113" y="624"/>
                </a:cxn>
                <a:cxn ang="0">
                  <a:pos x="79" y="601"/>
                </a:cxn>
                <a:cxn ang="0">
                  <a:pos x="43" y="561"/>
                </a:cxn>
              </a:cxnLst>
              <a:rect l="0" t="0" r="r" b="b"/>
              <a:pathLst>
                <a:path w="355" h="624">
                  <a:moveTo>
                    <a:pt x="43" y="561"/>
                  </a:moveTo>
                  <a:lnTo>
                    <a:pt x="63" y="530"/>
                  </a:lnTo>
                  <a:lnTo>
                    <a:pt x="94" y="462"/>
                  </a:lnTo>
                  <a:lnTo>
                    <a:pt x="55" y="427"/>
                  </a:lnTo>
                  <a:lnTo>
                    <a:pt x="39" y="368"/>
                  </a:lnTo>
                  <a:lnTo>
                    <a:pt x="35" y="328"/>
                  </a:lnTo>
                  <a:lnTo>
                    <a:pt x="48" y="249"/>
                  </a:lnTo>
                  <a:lnTo>
                    <a:pt x="11" y="202"/>
                  </a:lnTo>
                  <a:lnTo>
                    <a:pt x="0" y="171"/>
                  </a:lnTo>
                  <a:lnTo>
                    <a:pt x="4" y="87"/>
                  </a:lnTo>
                  <a:lnTo>
                    <a:pt x="52" y="68"/>
                  </a:lnTo>
                  <a:lnTo>
                    <a:pt x="79" y="44"/>
                  </a:lnTo>
                  <a:lnTo>
                    <a:pt x="99" y="0"/>
                  </a:lnTo>
                  <a:lnTo>
                    <a:pt x="107" y="40"/>
                  </a:lnTo>
                  <a:lnTo>
                    <a:pt x="118" y="87"/>
                  </a:lnTo>
                  <a:lnTo>
                    <a:pt x="142" y="107"/>
                  </a:lnTo>
                  <a:lnTo>
                    <a:pt x="173" y="123"/>
                  </a:lnTo>
                  <a:lnTo>
                    <a:pt x="221" y="182"/>
                  </a:lnTo>
                  <a:lnTo>
                    <a:pt x="256" y="151"/>
                  </a:lnTo>
                  <a:lnTo>
                    <a:pt x="293" y="190"/>
                  </a:lnTo>
                  <a:lnTo>
                    <a:pt x="316" y="254"/>
                  </a:lnTo>
                  <a:lnTo>
                    <a:pt x="332" y="289"/>
                  </a:lnTo>
                  <a:lnTo>
                    <a:pt x="355" y="293"/>
                  </a:lnTo>
                  <a:lnTo>
                    <a:pt x="355" y="368"/>
                  </a:lnTo>
                  <a:lnTo>
                    <a:pt x="308" y="375"/>
                  </a:lnTo>
                  <a:lnTo>
                    <a:pt x="265" y="348"/>
                  </a:lnTo>
                  <a:lnTo>
                    <a:pt x="221" y="392"/>
                  </a:lnTo>
                  <a:lnTo>
                    <a:pt x="201" y="447"/>
                  </a:lnTo>
                  <a:lnTo>
                    <a:pt x="155" y="439"/>
                  </a:lnTo>
                  <a:lnTo>
                    <a:pt x="126" y="535"/>
                  </a:lnTo>
                  <a:lnTo>
                    <a:pt x="153" y="585"/>
                  </a:lnTo>
                  <a:lnTo>
                    <a:pt x="113" y="624"/>
                  </a:lnTo>
                  <a:lnTo>
                    <a:pt x="79" y="601"/>
                  </a:lnTo>
                  <a:lnTo>
                    <a:pt x="43" y="56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02" name="Freeform 31"/>
            <p:cNvSpPr>
              <a:spLocks noChangeAspect="1"/>
            </p:cNvSpPr>
            <p:nvPr/>
          </p:nvSpPr>
          <p:spPr bwMode="auto">
            <a:xfrm>
              <a:off x="1851005" y="1967343"/>
              <a:ext cx="42198" cy="42599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0" y="41"/>
                </a:cxn>
                <a:cxn ang="0">
                  <a:pos x="17" y="72"/>
                </a:cxn>
                <a:cxn ang="0">
                  <a:pos x="44" y="68"/>
                </a:cxn>
                <a:cxn ang="0">
                  <a:pos x="72" y="28"/>
                </a:cxn>
                <a:cxn ang="0">
                  <a:pos x="37" y="0"/>
                </a:cxn>
              </a:cxnLst>
              <a:rect l="0" t="0" r="r" b="b"/>
              <a:pathLst>
                <a:path w="72" h="72">
                  <a:moveTo>
                    <a:pt x="37" y="0"/>
                  </a:moveTo>
                  <a:lnTo>
                    <a:pt x="0" y="41"/>
                  </a:lnTo>
                  <a:lnTo>
                    <a:pt x="17" y="72"/>
                  </a:lnTo>
                  <a:lnTo>
                    <a:pt x="44" y="68"/>
                  </a:lnTo>
                  <a:lnTo>
                    <a:pt x="72" y="28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03" name="Freeform 32"/>
            <p:cNvSpPr>
              <a:spLocks noChangeAspect="1"/>
            </p:cNvSpPr>
            <p:nvPr/>
          </p:nvSpPr>
          <p:spPr bwMode="auto">
            <a:xfrm>
              <a:off x="2058477" y="1926519"/>
              <a:ext cx="61539" cy="28399"/>
            </a:xfrm>
            <a:custGeom>
              <a:avLst/>
              <a:gdLst/>
              <a:ahLst/>
              <a:cxnLst>
                <a:cxn ang="0">
                  <a:pos x="88" y="15"/>
                </a:cxn>
                <a:cxn ang="0">
                  <a:pos x="44" y="0"/>
                </a:cxn>
                <a:cxn ang="0">
                  <a:pos x="0" y="39"/>
                </a:cxn>
                <a:cxn ang="0">
                  <a:pos x="32" y="43"/>
                </a:cxn>
                <a:cxn ang="0">
                  <a:pos x="103" y="50"/>
                </a:cxn>
                <a:cxn ang="0">
                  <a:pos x="88" y="15"/>
                </a:cxn>
              </a:cxnLst>
              <a:rect l="0" t="0" r="r" b="b"/>
              <a:pathLst>
                <a:path w="103" h="50">
                  <a:moveTo>
                    <a:pt x="88" y="15"/>
                  </a:moveTo>
                  <a:lnTo>
                    <a:pt x="44" y="0"/>
                  </a:lnTo>
                  <a:lnTo>
                    <a:pt x="0" y="39"/>
                  </a:lnTo>
                  <a:lnTo>
                    <a:pt x="32" y="43"/>
                  </a:lnTo>
                  <a:lnTo>
                    <a:pt x="103" y="50"/>
                  </a:lnTo>
                  <a:lnTo>
                    <a:pt x="88" y="1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04" name="Freeform 33"/>
            <p:cNvSpPr>
              <a:spLocks noChangeAspect="1"/>
            </p:cNvSpPr>
            <p:nvPr/>
          </p:nvSpPr>
          <p:spPr bwMode="auto">
            <a:xfrm>
              <a:off x="1926610" y="1617675"/>
              <a:ext cx="356922" cy="310619"/>
            </a:xfrm>
            <a:custGeom>
              <a:avLst/>
              <a:gdLst/>
              <a:ahLst/>
              <a:cxnLst>
                <a:cxn ang="0">
                  <a:pos x="151" y="300"/>
                </a:cxn>
                <a:cxn ang="0">
                  <a:pos x="186" y="269"/>
                </a:cxn>
                <a:cxn ang="0">
                  <a:pos x="202" y="248"/>
                </a:cxn>
                <a:cxn ang="0">
                  <a:pos x="257" y="206"/>
                </a:cxn>
                <a:cxn ang="0">
                  <a:pos x="316" y="169"/>
                </a:cxn>
                <a:cxn ang="0">
                  <a:pos x="387" y="118"/>
                </a:cxn>
                <a:cxn ang="0">
                  <a:pos x="431" y="103"/>
                </a:cxn>
                <a:cxn ang="0">
                  <a:pos x="517" y="71"/>
                </a:cxn>
                <a:cxn ang="0">
                  <a:pos x="581" y="51"/>
                </a:cxn>
                <a:cxn ang="0">
                  <a:pos x="609" y="35"/>
                </a:cxn>
                <a:cxn ang="0">
                  <a:pos x="589" y="4"/>
                </a:cxn>
                <a:cxn ang="0">
                  <a:pos x="510" y="0"/>
                </a:cxn>
                <a:cxn ang="0">
                  <a:pos x="462" y="40"/>
                </a:cxn>
                <a:cxn ang="0">
                  <a:pos x="387" y="59"/>
                </a:cxn>
                <a:cxn ang="0">
                  <a:pos x="300" y="63"/>
                </a:cxn>
                <a:cxn ang="0">
                  <a:pos x="257" y="103"/>
                </a:cxn>
                <a:cxn ang="0">
                  <a:pos x="206" y="103"/>
                </a:cxn>
                <a:cxn ang="0">
                  <a:pos x="182" y="138"/>
                </a:cxn>
                <a:cxn ang="0">
                  <a:pos x="103" y="154"/>
                </a:cxn>
                <a:cxn ang="0">
                  <a:pos x="90" y="213"/>
                </a:cxn>
                <a:cxn ang="0">
                  <a:pos x="87" y="245"/>
                </a:cxn>
                <a:cxn ang="0">
                  <a:pos x="51" y="241"/>
                </a:cxn>
                <a:cxn ang="0">
                  <a:pos x="51" y="252"/>
                </a:cxn>
                <a:cxn ang="0">
                  <a:pos x="55" y="269"/>
                </a:cxn>
                <a:cxn ang="0">
                  <a:pos x="44" y="292"/>
                </a:cxn>
                <a:cxn ang="0">
                  <a:pos x="20" y="309"/>
                </a:cxn>
                <a:cxn ang="0">
                  <a:pos x="7" y="359"/>
                </a:cxn>
                <a:cxn ang="0">
                  <a:pos x="0" y="423"/>
                </a:cxn>
                <a:cxn ang="0">
                  <a:pos x="40" y="443"/>
                </a:cxn>
                <a:cxn ang="0">
                  <a:pos x="75" y="517"/>
                </a:cxn>
                <a:cxn ang="0">
                  <a:pos x="134" y="526"/>
                </a:cxn>
                <a:cxn ang="0">
                  <a:pos x="210" y="517"/>
                </a:cxn>
                <a:cxn ang="0">
                  <a:pos x="217" y="486"/>
                </a:cxn>
                <a:cxn ang="0">
                  <a:pos x="169" y="458"/>
                </a:cxn>
                <a:cxn ang="0">
                  <a:pos x="138" y="427"/>
                </a:cxn>
                <a:cxn ang="0">
                  <a:pos x="138" y="364"/>
                </a:cxn>
                <a:cxn ang="0">
                  <a:pos x="151" y="312"/>
                </a:cxn>
                <a:cxn ang="0">
                  <a:pos x="151" y="300"/>
                </a:cxn>
              </a:cxnLst>
              <a:rect l="0" t="0" r="r" b="b"/>
              <a:pathLst>
                <a:path w="609" h="526">
                  <a:moveTo>
                    <a:pt x="151" y="300"/>
                  </a:moveTo>
                  <a:lnTo>
                    <a:pt x="186" y="269"/>
                  </a:lnTo>
                  <a:lnTo>
                    <a:pt x="202" y="248"/>
                  </a:lnTo>
                  <a:lnTo>
                    <a:pt x="257" y="206"/>
                  </a:lnTo>
                  <a:lnTo>
                    <a:pt x="316" y="169"/>
                  </a:lnTo>
                  <a:lnTo>
                    <a:pt x="387" y="118"/>
                  </a:lnTo>
                  <a:lnTo>
                    <a:pt x="431" y="103"/>
                  </a:lnTo>
                  <a:lnTo>
                    <a:pt x="517" y="71"/>
                  </a:lnTo>
                  <a:lnTo>
                    <a:pt x="581" y="51"/>
                  </a:lnTo>
                  <a:lnTo>
                    <a:pt x="609" y="35"/>
                  </a:lnTo>
                  <a:lnTo>
                    <a:pt x="589" y="4"/>
                  </a:lnTo>
                  <a:lnTo>
                    <a:pt x="510" y="0"/>
                  </a:lnTo>
                  <a:lnTo>
                    <a:pt x="462" y="40"/>
                  </a:lnTo>
                  <a:lnTo>
                    <a:pt x="387" y="59"/>
                  </a:lnTo>
                  <a:lnTo>
                    <a:pt x="300" y="63"/>
                  </a:lnTo>
                  <a:lnTo>
                    <a:pt x="257" y="103"/>
                  </a:lnTo>
                  <a:lnTo>
                    <a:pt x="206" y="103"/>
                  </a:lnTo>
                  <a:lnTo>
                    <a:pt x="182" y="138"/>
                  </a:lnTo>
                  <a:lnTo>
                    <a:pt x="103" y="154"/>
                  </a:lnTo>
                  <a:lnTo>
                    <a:pt x="90" y="213"/>
                  </a:lnTo>
                  <a:lnTo>
                    <a:pt x="87" y="245"/>
                  </a:lnTo>
                  <a:lnTo>
                    <a:pt x="51" y="241"/>
                  </a:lnTo>
                  <a:lnTo>
                    <a:pt x="51" y="252"/>
                  </a:lnTo>
                  <a:lnTo>
                    <a:pt x="55" y="269"/>
                  </a:lnTo>
                  <a:lnTo>
                    <a:pt x="44" y="292"/>
                  </a:lnTo>
                  <a:lnTo>
                    <a:pt x="20" y="309"/>
                  </a:lnTo>
                  <a:lnTo>
                    <a:pt x="7" y="359"/>
                  </a:lnTo>
                  <a:lnTo>
                    <a:pt x="0" y="423"/>
                  </a:lnTo>
                  <a:lnTo>
                    <a:pt x="40" y="443"/>
                  </a:lnTo>
                  <a:lnTo>
                    <a:pt x="75" y="517"/>
                  </a:lnTo>
                  <a:lnTo>
                    <a:pt x="134" y="526"/>
                  </a:lnTo>
                  <a:lnTo>
                    <a:pt x="210" y="517"/>
                  </a:lnTo>
                  <a:lnTo>
                    <a:pt x="217" y="486"/>
                  </a:lnTo>
                  <a:lnTo>
                    <a:pt x="169" y="458"/>
                  </a:lnTo>
                  <a:lnTo>
                    <a:pt x="138" y="427"/>
                  </a:lnTo>
                  <a:lnTo>
                    <a:pt x="138" y="364"/>
                  </a:lnTo>
                  <a:lnTo>
                    <a:pt x="151" y="312"/>
                  </a:lnTo>
                  <a:lnTo>
                    <a:pt x="151" y="30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05" name="Freeform 34"/>
            <p:cNvSpPr>
              <a:spLocks noChangeAspect="1"/>
            </p:cNvSpPr>
            <p:nvPr/>
          </p:nvSpPr>
          <p:spPr bwMode="auto">
            <a:xfrm>
              <a:off x="2332762" y="1729498"/>
              <a:ext cx="15824" cy="30174"/>
            </a:xfrm>
            <a:custGeom>
              <a:avLst/>
              <a:gdLst/>
              <a:ahLst/>
              <a:cxnLst>
                <a:cxn ang="0">
                  <a:pos x="14" y="50"/>
                </a:cxn>
                <a:cxn ang="0">
                  <a:pos x="14" y="50"/>
                </a:cxn>
                <a:cxn ang="0">
                  <a:pos x="16" y="49"/>
                </a:cxn>
                <a:cxn ang="0">
                  <a:pos x="19" y="47"/>
                </a:cxn>
                <a:cxn ang="0">
                  <a:pos x="24" y="42"/>
                </a:cxn>
                <a:cxn ang="0">
                  <a:pos x="26" y="34"/>
                </a:cxn>
                <a:cxn ang="0">
                  <a:pos x="27" y="25"/>
                </a:cxn>
                <a:cxn ang="0">
                  <a:pos x="27" y="25"/>
                </a:cxn>
                <a:cxn ang="0">
                  <a:pos x="26" y="15"/>
                </a:cxn>
                <a:cxn ang="0">
                  <a:pos x="24" y="6"/>
                </a:cxn>
                <a:cxn ang="0">
                  <a:pos x="19" y="1"/>
                </a:cxn>
                <a:cxn ang="0">
                  <a:pos x="16" y="0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1" y="0"/>
                </a:cxn>
                <a:cxn ang="0">
                  <a:pos x="9" y="1"/>
                </a:cxn>
                <a:cxn ang="0">
                  <a:pos x="3" y="6"/>
                </a:cxn>
                <a:cxn ang="0">
                  <a:pos x="1" y="15"/>
                </a:cxn>
                <a:cxn ang="0">
                  <a:pos x="0" y="25"/>
                </a:cxn>
                <a:cxn ang="0">
                  <a:pos x="0" y="25"/>
                </a:cxn>
                <a:cxn ang="0">
                  <a:pos x="1" y="34"/>
                </a:cxn>
                <a:cxn ang="0">
                  <a:pos x="3" y="42"/>
                </a:cxn>
                <a:cxn ang="0">
                  <a:pos x="9" y="47"/>
                </a:cxn>
                <a:cxn ang="0">
                  <a:pos x="11" y="49"/>
                </a:cxn>
                <a:cxn ang="0">
                  <a:pos x="14" y="50"/>
                </a:cxn>
                <a:cxn ang="0">
                  <a:pos x="14" y="50"/>
                </a:cxn>
              </a:cxnLst>
              <a:rect l="0" t="0" r="r" b="b"/>
              <a:pathLst>
                <a:path w="27" h="50">
                  <a:moveTo>
                    <a:pt x="14" y="50"/>
                  </a:moveTo>
                  <a:lnTo>
                    <a:pt x="14" y="50"/>
                  </a:lnTo>
                  <a:lnTo>
                    <a:pt x="16" y="49"/>
                  </a:lnTo>
                  <a:lnTo>
                    <a:pt x="19" y="47"/>
                  </a:lnTo>
                  <a:lnTo>
                    <a:pt x="24" y="42"/>
                  </a:lnTo>
                  <a:lnTo>
                    <a:pt x="26" y="34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6" y="15"/>
                  </a:lnTo>
                  <a:lnTo>
                    <a:pt x="24" y="6"/>
                  </a:lnTo>
                  <a:lnTo>
                    <a:pt x="19" y="1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3" y="6"/>
                  </a:lnTo>
                  <a:lnTo>
                    <a:pt x="1" y="1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34"/>
                  </a:lnTo>
                  <a:lnTo>
                    <a:pt x="3" y="42"/>
                  </a:lnTo>
                  <a:lnTo>
                    <a:pt x="9" y="47"/>
                  </a:lnTo>
                  <a:lnTo>
                    <a:pt x="11" y="49"/>
                  </a:lnTo>
                  <a:lnTo>
                    <a:pt x="14" y="50"/>
                  </a:lnTo>
                  <a:lnTo>
                    <a:pt x="14" y="5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06" name="Freeform 35"/>
            <p:cNvSpPr>
              <a:spLocks noChangeAspect="1"/>
            </p:cNvSpPr>
            <p:nvPr/>
          </p:nvSpPr>
          <p:spPr bwMode="auto">
            <a:xfrm>
              <a:off x="2733640" y="1370955"/>
              <a:ext cx="124834" cy="95848"/>
            </a:xfrm>
            <a:custGeom>
              <a:avLst/>
              <a:gdLst/>
              <a:ahLst/>
              <a:cxnLst>
                <a:cxn ang="0">
                  <a:pos x="106" y="23"/>
                </a:cxn>
                <a:cxn ang="0">
                  <a:pos x="71" y="56"/>
                </a:cxn>
                <a:cxn ang="0">
                  <a:pos x="36" y="59"/>
                </a:cxn>
                <a:cxn ang="0">
                  <a:pos x="0" y="87"/>
                </a:cxn>
                <a:cxn ang="0">
                  <a:pos x="27" y="126"/>
                </a:cxn>
                <a:cxn ang="0">
                  <a:pos x="83" y="162"/>
                </a:cxn>
                <a:cxn ang="0">
                  <a:pos x="154" y="130"/>
                </a:cxn>
                <a:cxn ang="0">
                  <a:pos x="213" y="102"/>
                </a:cxn>
                <a:cxn ang="0">
                  <a:pos x="202" y="36"/>
                </a:cxn>
                <a:cxn ang="0">
                  <a:pos x="143" y="0"/>
                </a:cxn>
                <a:cxn ang="0">
                  <a:pos x="106" y="23"/>
                </a:cxn>
              </a:cxnLst>
              <a:rect l="0" t="0" r="r" b="b"/>
              <a:pathLst>
                <a:path w="213" h="162">
                  <a:moveTo>
                    <a:pt x="106" y="23"/>
                  </a:moveTo>
                  <a:lnTo>
                    <a:pt x="71" y="56"/>
                  </a:lnTo>
                  <a:lnTo>
                    <a:pt x="36" y="59"/>
                  </a:lnTo>
                  <a:lnTo>
                    <a:pt x="0" y="87"/>
                  </a:lnTo>
                  <a:lnTo>
                    <a:pt x="27" y="126"/>
                  </a:lnTo>
                  <a:lnTo>
                    <a:pt x="83" y="162"/>
                  </a:lnTo>
                  <a:lnTo>
                    <a:pt x="154" y="130"/>
                  </a:lnTo>
                  <a:lnTo>
                    <a:pt x="213" y="102"/>
                  </a:lnTo>
                  <a:lnTo>
                    <a:pt x="202" y="36"/>
                  </a:lnTo>
                  <a:lnTo>
                    <a:pt x="143" y="0"/>
                  </a:lnTo>
                  <a:lnTo>
                    <a:pt x="106" y="2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07" name="Freeform 36"/>
            <p:cNvSpPr>
              <a:spLocks noChangeAspect="1"/>
            </p:cNvSpPr>
            <p:nvPr/>
          </p:nvSpPr>
          <p:spPr bwMode="auto">
            <a:xfrm>
              <a:off x="2819794" y="1441953"/>
              <a:ext cx="119561" cy="79873"/>
            </a:xfrm>
            <a:custGeom>
              <a:avLst/>
              <a:gdLst/>
              <a:ahLst/>
              <a:cxnLst>
                <a:cxn ang="0">
                  <a:pos x="55" y="48"/>
                </a:cxn>
                <a:cxn ang="0">
                  <a:pos x="79" y="8"/>
                </a:cxn>
                <a:cxn ang="0">
                  <a:pos x="114" y="0"/>
                </a:cxn>
                <a:cxn ang="0">
                  <a:pos x="149" y="12"/>
                </a:cxn>
                <a:cxn ang="0">
                  <a:pos x="177" y="56"/>
                </a:cxn>
                <a:cxn ang="0">
                  <a:pos x="177" y="87"/>
                </a:cxn>
                <a:cxn ang="0">
                  <a:pos x="200" y="83"/>
                </a:cxn>
                <a:cxn ang="0">
                  <a:pos x="206" y="115"/>
                </a:cxn>
                <a:cxn ang="0">
                  <a:pos x="134" y="135"/>
                </a:cxn>
                <a:cxn ang="0">
                  <a:pos x="66" y="107"/>
                </a:cxn>
                <a:cxn ang="0">
                  <a:pos x="0" y="83"/>
                </a:cxn>
                <a:cxn ang="0">
                  <a:pos x="11" y="52"/>
                </a:cxn>
                <a:cxn ang="0">
                  <a:pos x="55" y="48"/>
                </a:cxn>
              </a:cxnLst>
              <a:rect l="0" t="0" r="r" b="b"/>
              <a:pathLst>
                <a:path w="206" h="135">
                  <a:moveTo>
                    <a:pt x="55" y="48"/>
                  </a:moveTo>
                  <a:lnTo>
                    <a:pt x="79" y="8"/>
                  </a:lnTo>
                  <a:lnTo>
                    <a:pt x="114" y="0"/>
                  </a:lnTo>
                  <a:lnTo>
                    <a:pt x="149" y="12"/>
                  </a:lnTo>
                  <a:lnTo>
                    <a:pt x="177" y="56"/>
                  </a:lnTo>
                  <a:lnTo>
                    <a:pt x="177" y="87"/>
                  </a:lnTo>
                  <a:lnTo>
                    <a:pt x="200" y="83"/>
                  </a:lnTo>
                  <a:lnTo>
                    <a:pt x="206" y="115"/>
                  </a:lnTo>
                  <a:lnTo>
                    <a:pt x="134" y="135"/>
                  </a:lnTo>
                  <a:lnTo>
                    <a:pt x="66" y="107"/>
                  </a:lnTo>
                  <a:lnTo>
                    <a:pt x="0" y="83"/>
                  </a:lnTo>
                  <a:lnTo>
                    <a:pt x="11" y="52"/>
                  </a:lnTo>
                  <a:lnTo>
                    <a:pt x="55" y="4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08" name="Freeform 37"/>
            <p:cNvSpPr>
              <a:spLocks noChangeAspect="1"/>
            </p:cNvSpPr>
            <p:nvPr/>
          </p:nvSpPr>
          <p:spPr bwMode="auto">
            <a:xfrm>
              <a:off x="2953419" y="1475678"/>
              <a:ext cx="100219" cy="78098"/>
            </a:xfrm>
            <a:custGeom>
              <a:avLst/>
              <a:gdLst/>
              <a:ahLst/>
              <a:cxnLst>
                <a:cxn ang="0">
                  <a:pos x="20" y="56"/>
                </a:cxn>
                <a:cxn ang="0">
                  <a:pos x="40" y="24"/>
                </a:cxn>
                <a:cxn ang="0">
                  <a:pos x="75" y="0"/>
                </a:cxn>
                <a:cxn ang="0">
                  <a:pos x="88" y="24"/>
                </a:cxn>
                <a:cxn ang="0">
                  <a:pos x="107" y="32"/>
                </a:cxn>
                <a:cxn ang="0">
                  <a:pos x="131" y="32"/>
                </a:cxn>
                <a:cxn ang="0">
                  <a:pos x="162" y="44"/>
                </a:cxn>
                <a:cxn ang="0">
                  <a:pos x="171" y="83"/>
                </a:cxn>
                <a:cxn ang="0">
                  <a:pos x="151" y="120"/>
                </a:cxn>
                <a:cxn ang="0">
                  <a:pos x="92" y="131"/>
                </a:cxn>
                <a:cxn ang="0">
                  <a:pos x="20" y="124"/>
                </a:cxn>
                <a:cxn ang="0">
                  <a:pos x="0" y="100"/>
                </a:cxn>
                <a:cxn ang="0">
                  <a:pos x="20" y="56"/>
                </a:cxn>
              </a:cxnLst>
              <a:rect l="0" t="0" r="r" b="b"/>
              <a:pathLst>
                <a:path w="171" h="131">
                  <a:moveTo>
                    <a:pt x="20" y="56"/>
                  </a:moveTo>
                  <a:lnTo>
                    <a:pt x="40" y="24"/>
                  </a:lnTo>
                  <a:lnTo>
                    <a:pt x="75" y="0"/>
                  </a:lnTo>
                  <a:lnTo>
                    <a:pt x="88" y="24"/>
                  </a:lnTo>
                  <a:lnTo>
                    <a:pt x="107" y="32"/>
                  </a:lnTo>
                  <a:lnTo>
                    <a:pt x="131" y="32"/>
                  </a:lnTo>
                  <a:lnTo>
                    <a:pt x="162" y="44"/>
                  </a:lnTo>
                  <a:lnTo>
                    <a:pt x="171" y="83"/>
                  </a:lnTo>
                  <a:lnTo>
                    <a:pt x="151" y="120"/>
                  </a:lnTo>
                  <a:lnTo>
                    <a:pt x="92" y="131"/>
                  </a:lnTo>
                  <a:lnTo>
                    <a:pt x="20" y="124"/>
                  </a:lnTo>
                  <a:lnTo>
                    <a:pt x="0" y="100"/>
                  </a:lnTo>
                  <a:lnTo>
                    <a:pt x="20" y="5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09" name="Freeform 38"/>
            <p:cNvSpPr>
              <a:spLocks noChangeAspect="1"/>
            </p:cNvSpPr>
            <p:nvPr/>
          </p:nvSpPr>
          <p:spPr bwMode="auto">
            <a:xfrm>
              <a:off x="3825504" y="1647849"/>
              <a:ext cx="174065" cy="76323"/>
            </a:xfrm>
            <a:custGeom>
              <a:avLst/>
              <a:gdLst/>
              <a:ahLst/>
              <a:cxnLst>
                <a:cxn ang="0">
                  <a:pos x="162" y="12"/>
                </a:cxn>
                <a:cxn ang="0">
                  <a:pos x="155" y="48"/>
                </a:cxn>
                <a:cxn ang="0">
                  <a:pos x="103" y="44"/>
                </a:cxn>
                <a:cxn ang="0">
                  <a:pos x="87" y="24"/>
                </a:cxn>
                <a:cxn ang="0">
                  <a:pos x="39" y="0"/>
                </a:cxn>
                <a:cxn ang="0">
                  <a:pos x="0" y="24"/>
                </a:cxn>
                <a:cxn ang="0">
                  <a:pos x="0" y="79"/>
                </a:cxn>
                <a:cxn ang="0">
                  <a:pos x="59" y="123"/>
                </a:cxn>
                <a:cxn ang="0">
                  <a:pos x="135" y="131"/>
                </a:cxn>
                <a:cxn ang="0">
                  <a:pos x="166" y="103"/>
                </a:cxn>
                <a:cxn ang="0">
                  <a:pos x="214" y="123"/>
                </a:cxn>
                <a:cxn ang="0">
                  <a:pos x="273" y="118"/>
                </a:cxn>
                <a:cxn ang="0">
                  <a:pos x="297" y="87"/>
                </a:cxn>
                <a:cxn ang="0">
                  <a:pos x="249" y="72"/>
                </a:cxn>
                <a:cxn ang="0">
                  <a:pos x="225" y="24"/>
                </a:cxn>
                <a:cxn ang="0">
                  <a:pos x="182" y="4"/>
                </a:cxn>
                <a:cxn ang="0">
                  <a:pos x="162" y="12"/>
                </a:cxn>
              </a:cxnLst>
              <a:rect l="0" t="0" r="r" b="b"/>
              <a:pathLst>
                <a:path w="297" h="131">
                  <a:moveTo>
                    <a:pt x="162" y="12"/>
                  </a:moveTo>
                  <a:lnTo>
                    <a:pt x="155" y="48"/>
                  </a:lnTo>
                  <a:lnTo>
                    <a:pt x="103" y="44"/>
                  </a:lnTo>
                  <a:lnTo>
                    <a:pt x="87" y="24"/>
                  </a:lnTo>
                  <a:lnTo>
                    <a:pt x="39" y="0"/>
                  </a:lnTo>
                  <a:lnTo>
                    <a:pt x="0" y="24"/>
                  </a:lnTo>
                  <a:lnTo>
                    <a:pt x="0" y="79"/>
                  </a:lnTo>
                  <a:lnTo>
                    <a:pt x="59" y="123"/>
                  </a:lnTo>
                  <a:lnTo>
                    <a:pt x="135" y="131"/>
                  </a:lnTo>
                  <a:lnTo>
                    <a:pt x="166" y="103"/>
                  </a:lnTo>
                  <a:lnTo>
                    <a:pt x="214" y="123"/>
                  </a:lnTo>
                  <a:lnTo>
                    <a:pt x="273" y="118"/>
                  </a:lnTo>
                  <a:lnTo>
                    <a:pt x="297" y="87"/>
                  </a:lnTo>
                  <a:lnTo>
                    <a:pt x="249" y="72"/>
                  </a:lnTo>
                  <a:lnTo>
                    <a:pt x="225" y="24"/>
                  </a:lnTo>
                  <a:lnTo>
                    <a:pt x="182" y="4"/>
                  </a:lnTo>
                  <a:lnTo>
                    <a:pt x="162" y="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10" name="Freeform 39"/>
            <p:cNvSpPr>
              <a:spLocks noChangeAspect="1"/>
            </p:cNvSpPr>
            <p:nvPr/>
          </p:nvSpPr>
          <p:spPr bwMode="auto">
            <a:xfrm>
              <a:off x="4041766" y="1672699"/>
              <a:ext cx="103736" cy="42599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8" y="19"/>
                </a:cxn>
                <a:cxn ang="0">
                  <a:pos x="94" y="19"/>
                </a:cxn>
                <a:cxn ang="0">
                  <a:pos x="170" y="19"/>
                </a:cxn>
                <a:cxn ang="0">
                  <a:pos x="177" y="63"/>
                </a:cxn>
                <a:cxn ang="0">
                  <a:pos x="83" y="71"/>
                </a:cxn>
                <a:cxn ang="0">
                  <a:pos x="28" y="55"/>
                </a:cxn>
                <a:cxn ang="0">
                  <a:pos x="0" y="23"/>
                </a:cxn>
                <a:cxn ang="0">
                  <a:pos x="4" y="0"/>
                </a:cxn>
              </a:cxnLst>
              <a:rect l="0" t="0" r="r" b="b"/>
              <a:pathLst>
                <a:path w="177" h="71">
                  <a:moveTo>
                    <a:pt x="4" y="0"/>
                  </a:moveTo>
                  <a:lnTo>
                    <a:pt x="28" y="19"/>
                  </a:lnTo>
                  <a:lnTo>
                    <a:pt x="94" y="19"/>
                  </a:lnTo>
                  <a:lnTo>
                    <a:pt x="170" y="19"/>
                  </a:lnTo>
                  <a:lnTo>
                    <a:pt x="177" y="63"/>
                  </a:lnTo>
                  <a:lnTo>
                    <a:pt x="83" y="71"/>
                  </a:lnTo>
                  <a:lnTo>
                    <a:pt x="28" y="55"/>
                  </a:lnTo>
                  <a:lnTo>
                    <a:pt x="0" y="23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11" name="Freeform 40"/>
            <p:cNvSpPr>
              <a:spLocks noChangeAspect="1"/>
            </p:cNvSpPr>
            <p:nvPr/>
          </p:nvSpPr>
          <p:spPr bwMode="auto">
            <a:xfrm>
              <a:off x="4883961" y="1862620"/>
              <a:ext cx="75603" cy="49699"/>
            </a:xfrm>
            <a:custGeom>
              <a:avLst/>
              <a:gdLst/>
              <a:ahLst/>
              <a:cxnLst>
                <a:cxn ang="0">
                  <a:pos x="51" y="8"/>
                </a:cxn>
                <a:cxn ang="0">
                  <a:pos x="12" y="39"/>
                </a:cxn>
                <a:cxn ang="0">
                  <a:pos x="0" y="83"/>
                </a:cxn>
                <a:cxn ang="0">
                  <a:pos x="68" y="78"/>
                </a:cxn>
                <a:cxn ang="0">
                  <a:pos x="115" y="75"/>
                </a:cxn>
                <a:cxn ang="0">
                  <a:pos x="127" y="28"/>
                </a:cxn>
                <a:cxn ang="0">
                  <a:pos x="84" y="0"/>
                </a:cxn>
                <a:cxn ang="0">
                  <a:pos x="51" y="8"/>
                </a:cxn>
              </a:cxnLst>
              <a:rect l="0" t="0" r="r" b="b"/>
              <a:pathLst>
                <a:path w="127" h="83">
                  <a:moveTo>
                    <a:pt x="51" y="8"/>
                  </a:moveTo>
                  <a:lnTo>
                    <a:pt x="12" y="39"/>
                  </a:lnTo>
                  <a:lnTo>
                    <a:pt x="0" y="83"/>
                  </a:lnTo>
                  <a:lnTo>
                    <a:pt x="68" y="78"/>
                  </a:lnTo>
                  <a:lnTo>
                    <a:pt x="115" y="75"/>
                  </a:lnTo>
                  <a:lnTo>
                    <a:pt x="127" y="28"/>
                  </a:lnTo>
                  <a:lnTo>
                    <a:pt x="84" y="0"/>
                  </a:lnTo>
                  <a:lnTo>
                    <a:pt x="51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12" name="Freeform 41"/>
            <p:cNvSpPr>
              <a:spLocks noChangeAspect="1"/>
            </p:cNvSpPr>
            <p:nvPr/>
          </p:nvSpPr>
          <p:spPr bwMode="auto">
            <a:xfrm>
              <a:off x="6841998" y="3853801"/>
              <a:ext cx="93186" cy="115373"/>
            </a:xfrm>
            <a:custGeom>
              <a:avLst/>
              <a:gdLst/>
              <a:ahLst/>
              <a:cxnLst>
                <a:cxn ang="0">
                  <a:pos x="0" y="155"/>
                </a:cxn>
                <a:cxn ang="0">
                  <a:pos x="20" y="99"/>
                </a:cxn>
                <a:cxn ang="0">
                  <a:pos x="60" y="87"/>
                </a:cxn>
                <a:cxn ang="0">
                  <a:pos x="68" y="32"/>
                </a:cxn>
                <a:cxn ang="0">
                  <a:pos x="138" y="0"/>
                </a:cxn>
                <a:cxn ang="0">
                  <a:pos x="133" y="60"/>
                </a:cxn>
                <a:cxn ang="0">
                  <a:pos x="133" y="104"/>
                </a:cxn>
                <a:cxn ang="0">
                  <a:pos x="158" y="111"/>
                </a:cxn>
                <a:cxn ang="0">
                  <a:pos x="151" y="150"/>
                </a:cxn>
                <a:cxn ang="0">
                  <a:pos x="119" y="150"/>
                </a:cxn>
                <a:cxn ang="0">
                  <a:pos x="110" y="194"/>
                </a:cxn>
                <a:cxn ang="0">
                  <a:pos x="46" y="191"/>
                </a:cxn>
                <a:cxn ang="0">
                  <a:pos x="0" y="155"/>
                </a:cxn>
              </a:cxnLst>
              <a:rect l="0" t="0" r="r" b="b"/>
              <a:pathLst>
                <a:path w="158" h="194">
                  <a:moveTo>
                    <a:pt x="0" y="155"/>
                  </a:moveTo>
                  <a:lnTo>
                    <a:pt x="20" y="99"/>
                  </a:lnTo>
                  <a:lnTo>
                    <a:pt x="60" y="87"/>
                  </a:lnTo>
                  <a:lnTo>
                    <a:pt x="68" y="32"/>
                  </a:lnTo>
                  <a:lnTo>
                    <a:pt x="138" y="0"/>
                  </a:lnTo>
                  <a:lnTo>
                    <a:pt x="133" y="60"/>
                  </a:lnTo>
                  <a:lnTo>
                    <a:pt x="133" y="104"/>
                  </a:lnTo>
                  <a:lnTo>
                    <a:pt x="158" y="111"/>
                  </a:lnTo>
                  <a:lnTo>
                    <a:pt x="151" y="150"/>
                  </a:lnTo>
                  <a:lnTo>
                    <a:pt x="119" y="150"/>
                  </a:lnTo>
                  <a:lnTo>
                    <a:pt x="110" y="194"/>
                  </a:lnTo>
                  <a:lnTo>
                    <a:pt x="46" y="191"/>
                  </a:lnTo>
                  <a:lnTo>
                    <a:pt x="0" y="15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13" name="Freeform 42"/>
            <p:cNvSpPr>
              <a:spLocks noChangeAspect="1"/>
            </p:cNvSpPr>
            <p:nvPr/>
          </p:nvSpPr>
          <p:spPr bwMode="auto">
            <a:xfrm>
              <a:off x="7125074" y="4457290"/>
              <a:ext cx="341097" cy="507640"/>
            </a:xfrm>
            <a:custGeom>
              <a:avLst/>
              <a:gdLst/>
              <a:ahLst/>
              <a:cxnLst>
                <a:cxn ang="0">
                  <a:pos x="471" y="35"/>
                </a:cxn>
                <a:cxn ang="0">
                  <a:pos x="431" y="7"/>
                </a:cxn>
                <a:cxn ang="0">
                  <a:pos x="352" y="0"/>
                </a:cxn>
                <a:cxn ang="0">
                  <a:pos x="328" y="31"/>
                </a:cxn>
                <a:cxn ang="0">
                  <a:pos x="197" y="90"/>
                </a:cxn>
                <a:cxn ang="0">
                  <a:pos x="135" y="134"/>
                </a:cxn>
                <a:cxn ang="0">
                  <a:pos x="87" y="169"/>
                </a:cxn>
                <a:cxn ang="0">
                  <a:pos x="56" y="134"/>
                </a:cxn>
                <a:cxn ang="0">
                  <a:pos x="44" y="94"/>
                </a:cxn>
                <a:cxn ang="0">
                  <a:pos x="18" y="96"/>
                </a:cxn>
                <a:cxn ang="0">
                  <a:pos x="0" y="115"/>
                </a:cxn>
                <a:cxn ang="0">
                  <a:pos x="3" y="222"/>
                </a:cxn>
                <a:cxn ang="0">
                  <a:pos x="49" y="222"/>
                </a:cxn>
                <a:cxn ang="0">
                  <a:pos x="69" y="297"/>
                </a:cxn>
                <a:cxn ang="0">
                  <a:pos x="93" y="311"/>
                </a:cxn>
                <a:cxn ang="0">
                  <a:pos x="100" y="359"/>
                </a:cxn>
                <a:cxn ang="0">
                  <a:pos x="117" y="400"/>
                </a:cxn>
                <a:cxn ang="0">
                  <a:pos x="142" y="414"/>
                </a:cxn>
                <a:cxn ang="0">
                  <a:pos x="148" y="463"/>
                </a:cxn>
                <a:cxn ang="0">
                  <a:pos x="162" y="473"/>
                </a:cxn>
                <a:cxn ang="0">
                  <a:pos x="180" y="501"/>
                </a:cxn>
                <a:cxn ang="0">
                  <a:pos x="194" y="545"/>
                </a:cxn>
                <a:cxn ang="0">
                  <a:pos x="214" y="590"/>
                </a:cxn>
                <a:cxn ang="0">
                  <a:pos x="235" y="607"/>
                </a:cxn>
                <a:cxn ang="0">
                  <a:pos x="225" y="627"/>
                </a:cxn>
                <a:cxn ang="0">
                  <a:pos x="241" y="666"/>
                </a:cxn>
                <a:cxn ang="0">
                  <a:pos x="289" y="699"/>
                </a:cxn>
                <a:cxn ang="0">
                  <a:pos x="334" y="752"/>
                </a:cxn>
                <a:cxn ang="0">
                  <a:pos x="401" y="778"/>
                </a:cxn>
                <a:cxn ang="0">
                  <a:pos x="465" y="828"/>
                </a:cxn>
                <a:cxn ang="0">
                  <a:pos x="504" y="858"/>
                </a:cxn>
                <a:cxn ang="0">
                  <a:pos x="536" y="830"/>
                </a:cxn>
                <a:cxn ang="0">
                  <a:pos x="550" y="792"/>
                </a:cxn>
                <a:cxn ang="0">
                  <a:pos x="565" y="786"/>
                </a:cxn>
                <a:cxn ang="0">
                  <a:pos x="550" y="758"/>
                </a:cxn>
                <a:cxn ang="0">
                  <a:pos x="558" y="679"/>
                </a:cxn>
                <a:cxn ang="0">
                  <a:pos x="555" y="617"/>
                </a:cxn>
                <a:cxn ang="0">
                  <a:pos x="578" y="599"/>
                </a:cxn>
                <a:cxn ang="0">
                  <a:pos x="583" y="552"/>
                </a:cxn>
                <a:cxn ang="0">
                  <a:pos x="548" y="497"/>
                </a:cxn>
                <a:cxn ang="0">
                  <a:pos x="509" y="478"/>
                </a:cxn>
                <a:cxn ang="0">
                  <a:pos x="490" y="418"/>
                </a:cxn>
                <a:cxn ang="0">
                  <a:pos x="455" y="440"/>
                </a:cxn>
                <a:cxn ang="0">
                  <a:pos x="413" y="434"/>
                </a:cxn>
                <a:cxn ang="0">
                  <a:pos x="407" y="408"/>
                </a:cxn>
                <a:cxn ang="0">
                  <a:pos x="376" y="403"/>
                </a:cxn>
                <a:cxn ang="0">
                  <a:pos x="364" y="371"/>
                </a:cxn>
                <a:cxn ang="0">
                  <a:pos x="332" y="345"/>
                </a:cxn>
                <a:cxn ang="0">
                  <a:pos x="320" y="313"/>
                </a:cxn>
                <a:cxn ang="0">
                  <a:pos x="331" y="272"/>
                </a:cxn>
                <a:cxn ang="0">
                  <a:pos x="358" y="259"/>
                </a:cxn>
                <a:cxn ang="0">
                  <a:pos x="378" y="242"/>
                </a:cxn>
                <a:cxn ang="0">
                  <a:pos x="369" y="211"/>
                </a:cxn>
                <a:cxn ang="0">
                  <a:pos x="382" y="169"/>
                </a:cxn>
                <a:cxn ang="0">
                  <a:pos x="413" y="148"/>
                </a:cxn>
                <a:cxn ang="0">
                  <a:pos x="455" y="158"/>
                </a:cxn>
                <a:cxn ang="0">
                  <a:pos x="490" y="138"/>
                </a:cxn>
                <a:cxn ang="0">
                  <a:pos x="503" y="96"/>
                </a:cxn>
                <a:cxn ang="0">
                  <a:pos x="471" y="35"/>
                </a:cxn>
              </a:cxnLst>
              <a:rect l="0" t="0" r="r" b="b"/>
              <a:pathLst>
                <a:path w="583" h="858">
                  <a:moveTo>
                    <a:pt x="471" y="35"/>
                  </a:moveTo>
                  <a:lnTo>
                    <a:pt x="431" y="7"/>
                  </a:lnTo>
                  <a:lnTo>
                    <a:pt x="352" y="0"/>
                  </a:lnTo>
                  <a:lnTo>
                    <a:pt x="328" y="31"/>
                  </a:lnTo>
                  <a:lnTo>
                    <a:pt x="197" y="90"/>
                  </a:lnTo>
                  <a:lnTo>
                    <a:pt x="135" y="134"/>
                  </a:lnTo>
                  <a:lnTo>
                    <a:pt x="87" y="169"/>
                  </a:lnTo>
                  <a:lnTo>
                    <a:pt x="56" y="134"/>
                  </a:lnTo>
                  <a:lnTo>
                    <a:pt x="44" y="94"/>
                  </a:lnTo>
                  <a:lnTo>
                    <a:pt x="18" y="96"/>
                  </a:lnTo>
                  <a:lnTo>
                    <a:pt x="0" y="115"/>
                  </a:lnTo>
                  <a:lnTo>
                    <a:pt x="3" y="222"/>
                  </a:lnTo>
                  <a:lnTo>
                    <a:pt x="49" y="222"/>
                  </a:lnTo>
                  <a:lnTo>
                    <a:pt x="69" y="297"/>
                  </a:lnTo>
                  <a:lnTo>
                    <a:pt x="93" y="311"/>
                  </a:lnTo>
                  <a:lnTo>
                    <a:pt x="100" y="359"/>
                  </a:lnTo>
                  <a:lnTo>
                    <a:pt x="117" y="400"/>
                  </a:lnTo>
                  <a:lnTo>
                    <a:pt x="142" y="414"/>
                  </a:lnTo>
                  <a:lnTo>
                    <a:pt x="148" y="463"/>
                  </a:lnTo>
                  <a:lnTo>
                    <a:pt x="162" y="473"/>
                  </a:lnTo>
                  <a:lnTo>
                    <a:pt x="180" y="501"/>
                  </a:lnTo>
                  <a:lnTo>
                    <a:pt x="194" y="545"/>
                  </a:lnTo>
                  <a:lnTo>
                    <a:pt x="214" y="590"/>
                  </a:lnTo>
                  <a:lnTo>
                    <a:pt x="235" y="607"/>
                  </a:lnTo>
                  <a:lnTo>
                    <a:pt x="225" y="627"/>
                  </a:lnTo>
                  <a:lnTo>
                    <a:pt x="241" y="666"/>
                  </a:lnTo>
                  <a:lnTo>
                    <a:pt x="289" y="699"/>
                  </a:lnTo>
                  <a:lnTo>
                    <a:pt x="334" y="752"/>
                  </a:lnTo>
                  <a:lnTo>
                    <a:pt x="401" y="778"/>
                  </a:lnTo>
                  <a:lnTo>
                    <a:pt x="465" y="828"/>
                  </a:lnTo>
                  <a:lnTo>
                    <a:pt x="504" y="858"/>
                  </a:lnTo>
                  <a:lnTo>
                    <a:pt x="536" y="830"/>
                  </a:lnTo>
                  <a:lnTo>
                    <a:pt x="550" y="792"/>
                  </a:lnTo>
                  <a:lnTo>
                    <a:pt x="565" y="786"/>
                  </a:lnTo>
                  <a:lnTo>
                    <a:pt x="550" y="758"/>
                  </a:lnTo>
                  <a:lnTo>
                    <a:pt x="558" y="679"/>
                  </a:lnTo>
                  <a:lnTo>
                    <a:pt x="555" y="617"/>
                  </a:lnTo>
                  <a:lnTo>
                    <a:pt x="578" y="599"/>
                  </a:lnTo>
                  <a:lnTo>
                    <a:pt x="583" y="552"/>
                  </a:lnTo>
                  <a:lnTo>
                    <a:pt x="548" y="497"/>
                  </a:lnTo>
                  <a:lnTo>
                    <a:pt x="509" y="478"/>
                  </a:lnTo>
                  <a:lnTo>
                    <a:pt x="490" y="418"/>
                  </a:lnTo>
                  <a:lnTo>
                    <a:pt x="455" y="440"/>
                  </a:lnTo>
                  <a:lnTo>
                    <a:pt x="413" y="434"/>
                  </a:lnTo>
                  <a:lnTo>
                    <a:pt x="407" y="408"/>
                  </a:lnTo>
                  <a:lnTo>
                    <a:pt x="376" y="403"/>
                  </a:lnTo>
                  <a:lnTo>
                    <a:pt x="364" y="371"/>
                  </a:lnTo>
                  <a:lnTo>
                    <a:pt x="332" y="345"/>
                  </a:lnTo>
                  <a:lnTo>
                    <a:pt x="320" y="313"/>
                  </a:lnTo>
                  <a:lnTo>
                    <a:pt x="331" y="272"/>
                  </a:lnTo>
                  <a:lnTo>
                    <a:pt x="358" y="259"/>
                  </a:lnTo>
                  <a:lnTo>
                    <a:pt x="378" y="242"/>
                  </a:lnTo>
                  <a:lnTo>
                    <a:pt x="369" y="211"/>
                  </a:lnTo>
                  <a:lnTo>
                    <a:pt x="382" y="169"/>
                  </a:lnTo>
                  <a:lnTo>
                    <a:pt x="413" y="148"/>
                  </a:lnTo>
                  <a:lnTo>
                    <a:pt x="455" y="158"/>
                  </a:lnTo>
                  <a:lnTo>
                    <a:pt x="490" y="138"/>
                  </a:lnTo>
                  <a:lnTo>
                    <a:pt x="503" y="96"/>
                  </a:lnTo>
                  <a:lnTo>
                    <a:pt x="471" y="3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14" name="Freeform 43"/>
            <p:cNvSpPr>
              <a:spLocks noChangeAspect="1"/>
            </p:cNvSpPr>
            <p:nvPr/>
          </p:nvSpPr>
          <p:spPr bwMode="auto">
            <a:xfrm>
              <a:off x="409253" y="3616285"/>
              <a:ext cx="434284" cy="496990"/>
            </a:xfrm>
            <a:custGeom>
              <a:avLst/>
              <a:gdLst/>
              <a:ahLst/>
              <a:cxnLst>
                <a:cxn ang="0">
                  <a:pos x="0" y="609"/>
                </a:cxn>
                <a:cxn ang="0">
                  <a:pos x="46" y="547"/>
                </a:cxn>
                <a:cxn ang="0">
                  <a:pos x="81" y="566"/>
                </a:cxn>
                <a:cxn ang="0">
                  <a:pos x="243" y="578"/>
                </a:cxn>
                <a:cxn ang="0">
                  <a:pos x="303" y="570"/>
                </a:cxn>
                <a:cxn ang="0">
                  <a:pos x="300" y="514"/>
                </a:cxn>
                <a:cxn ang="0">
                  <a:pos x="263" y="503"/>
                </a:cxn>
                <a:cxn ang="0">
                  <a:pos x="267" y="152"/>
                </a:cxn>
                <a:cxn ang="0">
                  <a:pos x="243" y="120"/>
                </a:cxn>
                <a:cxn ang="0">
                  <a:pos x="243" y="52"/>
                </a:cxn>
                <a:cxn ang="0">
                  <a:pos x="276" y="45"/>
                </a:cxn>
                <a:cxn ang="0">
                  <a:pos x="276" y="0"/>
                </a:cxn>
                <a:cxn ang="0">
                  <a:pos x="324" y="31"/>
                </a:cxn>
                <a:cxn ang="0">
                  <a:pos x="640" y="285"/>
                </a:cxn>
                <a:cxn ang="0">
                  <a:pos x="684" y="305"/>
                </a:cxn>
                <a:cxn ang="0">
                  <a:pos x="695" y="379"/>
                </a:cxn>
                <a:cxn ang="0">
                  <a:pos x="735" y="371"/>
                </a:cxn>
                <a:cxn ang="0">
                  <a:pos x="743" y="522"/>
                </a:cxn>
                <a:cxn ang="0">
                  <a:pos x="711" y="526"/>
                </a:cxn>
                <a:cxn ang="0">
                  <a:pos x="711" y="553"/>
                </a:cxn>
                <a:cxn ang="0">
                  <a:pos x="592" y="568"/>
                </a:cxn>
                <a:cxn ang="0">
                  <a:pos x="557" y="594"/>
                </a:cxn>
                <a:cxn ang="0">
                  <a:pos x="480" y="590"/>
                </a:cxn>
                <a:cxn ang="0">
                  <a:pos x="457" y="621"/>
                </a:cxn>
                <a:cxn ang="0">
                  <a:pos x="434" y="645"/>
                </a:cxn>
                <a:cxn ang="0">
                  <a:pos x="374" y="665"/>
                </a:cxn>
                <a:cxn ang="0">
                  <a:pos x="362" y="689"/>
                </a:cxn>
                <a:cxn ang="0">
                  <a:pos x="346" y="724"/>
                </a:cxn>
                <a:cxn ang="0">
                  <a:pos x="315" y="768"/>
                </a:cxn>
                <a:cxn ang="0">
                  <a:pos x="300" y="830"/>
                </a:cxn>
                <a:cxn ang="0">
                  <a:pos x="244" y="837"/>
                </a:cxn>
                <a:cxn ang="0">
                  <a:pos x="206" y="842"/>
                </a:cxn>
                <a:cxn ang="0">
                  <a:pos x="193" y="779"/>
                </a:cxn>
                <a:cxn ang="0">
                  <a:pos x="157" y="744"/>
                </a:cxn>
                <a:cxn ang="0">
                  <a:pos x="105" y="732"/>
                </a:cxn>
                <a:cxn ang="0">
                  <a:pos x="59" y="719"/>
                </a:cxn>
                <a:cxn ang="0">
                  <a:pos x="36" y="668"/>
                </a:cxn>
                <a:cxn ang="0">
                  <a:pos x="8" y="648"/>
                </a:cxn>
                <a:cxn ang="0">
                  <a:pos x="0" y="609"/>
                </a:cxn>
              </a:cxnLst>
              <a:rect l="0" t="0" r="r" b="b"/>
              <a:pathLst>
                <a:path w="743" h="842">
                  <a:moveTo>
                    <a:pt x="0" y="609"/>
                  </a:moveTo>
                  <a:lnTo>
                    <a:pt x="46" y="547"/>
                  </a:lnTo>
                  <a:lnTo>
                    <a:pt x="81" y="566"/>
                  </a:lnTo>
                  <a:lnTo>
                    <a:pt x="243" y="578"/>
                  </a:lnTo>
                  <a:lnTo>
                    <a:pt x="303" y="570"/>
                  </a:lnTo>
                  <a:lnTo>
                    <a:pt x="300" y="514"/>
                  </a:lnTo>
                  <a:lnTo>
                    <a:pt x="263" y="503"/>
                  </a:lnTo>
                  <a:lnTo>
                    <a:pt x="267" y="152"/>
                  </a:lnTo>
                  <a:lnTo>
                    <a:pt x="243" y="120"/>
                  </a:lnTo>
                  <a:lnTo>
                    <a:pt x="243" y="52"/>
                  </a:lnTo>
                  <a:lnTo>
                    <a:pt x="276" y="45"/>
                  </a:lnTo>
                  <a:lnTo>
                    <a:pt x="276" y="0"/>
                  </a:lnTo>
                  <a:lnTo>
                    <a:pt x="324" y="31"/>
                  </a:lnTo>
                  <a:lnTo>
                    <a:pt x="640" y="285"/>
                  </a:lnTo>
                  <a:lnTo>
                    <a:pt x="684" y="305"/>
                  </a:lnTo>
                  <a:lnTo>
                    <a:pt x="695" y="379"/>
                  </a:lnTo>
                  <a:lnTo>
                    <a:pt x="735" y="371"/>
                  </a:lnTo>
                  <a:lnTo>
                    <a:pt x="743" y="522"/>
                  </a:lnTo>
                  <a:lnTo>
                    <a:pt x="711" y="526"/>
                  </a:lnTo>
                  <a:lnTo>
                    <a:pt x="711" y="553"/>
                  </a:lnTo>
                  <a:lnTo>
                    <a:pt x="592" y="568"/>
                  </a:lnTo>
                  <a:lnTo>
                    <a:pt x="557" y="594"/>
                  </a:lnTo>
                  <a:lnTo>
                    <a:pt x="480" y="590"/>
                  </a:lnTo>
                  <a:lnTo>
                    <a:pt x="457" y="621"/>
                  </a:lnTo>
                  <a:lnTo>
                    <a:pt x="434" y="645"/>
                  </a:lnTo>
                  <a:lnTo>
                    <a:pt x="374" y="665"/>
                  </a:lnTo>
                  <a:lnTo>
                    <a:pt x="362" y="689"/>
                  </a:lnTo>
                  <a:lnTo>
                    <a:pt x="346" y="724"/>
                  </a:lnTo>
                  <a:lnTo>
                    <a:pt x="315" y="768"/>
                  </a:lnTo>
                  <a:lnTo>
                    <a:pt x="300" y="830"/>
                  </a:lnTo>
                  <a:lnTo>
                    <a:pt x="244" y="837"/>
                  </a:lnTo>
                  <a:lnTo>
                    <a:pt x="206" y="842"/>
                  </a:lnTo>
                  <a:lnTo>
                    <a:pt x="193" y="779"/>
                  </a:lnTo>
                  <a:lnTo>
                    <a:pt x="157" y="744"/>
                  </a:lnTo>
                  <a:lnTo>
                    <a:pt x="105" y="732"/>
                  </a:lnTo>
                  <a:lnTo>
                    <a:pt x="59" y="719"/>
                  </a:lnTo>
                  <a:lnTo>
                    <a:pt x="36" y="668"/>
                  </a:lnTo>
                  <a:lnTo>
                    <a:pt x="8" y="648"/>
                  </a:lnTo>
                  <a:lnTo>
                    <a:pt x="0" y="60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15" name="Freeform 44"/>
            <p:cNvSpPr>
              <a:spLocks noChangeAspect="1"/>
            </p:cNvSpPr>
            <p:nvPr/>
          </p:nvSpPr>
          <p:spPr bwMode="auto">
            <a:xfrm>
              <a:off x="375847" y="4122152"/>
              <a:ext cx="87911" cy="95848"/>
            </a:xfrm>
            <a:custGeom>
              <a:avLst/>
              <a:gdLst/>
              <a:ahLst/>
              <a:cxnLst>
                <a:cxn ang="0">
                  <a:pos x="151" y="79"/>
                </a:cxn>
                <a:cxn ang="0">
                  <a:pos x="138" y="27"/>
                </a:cxn>
                <a:cxn ang="0">
                  <a:pos x="88" y="0"/>
                </a:cxn>
                <a:cxn ang="0">
                  <a:pos x="48" y="20"/>
                </a:cxn>
                <a:cxn ang="0">
                  <a:pos x="0" y="31"/>
                </a:cxn>
                <a:cxn ang="0">
                  <a:pos x="13" y="75"/>
                </a:cxn>
                <a:cxn ang="0">
                  <a:pos x="44" y="86"/>
                </a:cxn>
                <a:cxn ang="0">
                  <a:pos x="52" y="127"/>
                </a:cxn>
                <a:cxn ang="0">
                  <a:pos x="96" y="138"/>
                </a:cxn>
                <a:cxn ang="0">
                  <a:pos x="107" y="162"/>
                </a:cxn>
                <a:cxn ang="0">
                  <a:pos x="151" y="79"/>
                </a:cxn>
              </a:cxnLst>
              <a:rect l="0" t="0" r="r" b="b"/>
              <a:pathLst>
                <a:path w="151" h="162">
                  <a:moveTo>
                    <a:pt x="151" y="79"/>
                  </a:moveTo>
                  <a:lnTo>
                    <a:pt x="138" y="27"/>
                  </a:lnTo>
                  <a:lnTo>
                    <a:pt x="88" y="0"/>
                  </a:lnTo>
                  <a:lnTo>
                    <a:pt x="48" y="20"/>
                  </a:lnTo>
                  <a:lnTo>
                    <a:pt x="0" y="31"/>
                  </a:lnTo>
                  <a:lnTo>
                    <a:pt x="13" y="75"/>
                  </a:lnTo>
                  <a:lnTo>
                    <a:pt x="44" y="86"/>
                  </a:lnTo>
                  <a:lnTo>
                    <a:pt x="52" y="127"/>
                  </a:lnTo>
                  <a:lnTo>
                    <a:pt x="96" y="138"/>
                  </a:lnTo>
                  <a:lnTo>
                    <a:pt x="107" y="162"/>
                  </a:lnTo>
                  <a:lnTo>
                    <a:pt x="151" y="7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16" name="Freeform 45"/>
            <p:cNvSpPr>
              <a:spLocks noChangeAspect="1"/>
            </p:cNvSpPr>
            <p:nvPr/>
          </p:nvSpPr>
          <p:spPr bwMode="auto">
            <a:xfrm>
              <a:off x="796065" y="3997903"/>
              <a:ext cx="293626" cy="292869"/>
            </a:xfrm>
            <a:custGeom>
              <a:avLst/>
              <a:gdLst/>
              <a:ahLst/>
              <a:cxnLst>
                <a:cxn ang="0">
                  <a:pos x="401" y="320"/>
                </a:cxn>
                <a:cxn ang="0">
                  <a:pos x="432" y="269"/>
                </a:cxn>
                <a:cxn ang="0">
                  <a:pos x="453" y="180"/>
                </a:cxn>
                <a:cxn ang="0">
                  <a:pos x="467" y="158"/>
                </a:cxn>
                <a:cxn ang="0">
                  <a:pos x="492" y="138"/>
                </a:cxn>
                <a:cxn ang="0">
                  <a:pos x="501" y="79"/>
                </a:cxn>
                <a:cxn ang="0">
                  <a:pos x="491" y="0"/>
                </a:cxn>
                <a:cxn ang="0">
                  <a:pos x="491" y="0"/>
                </a:cxn>
                <a:cxn ang="0">
                  <a:pos x="458" y="19"/>
                </a:cxn>
                <a:cxn ang="0">
                  <a:pos x="437" y="44"/>
                </a:cxn>
                <a:cxn ang="0">
                  <a:pos x="414" y="19"/>
                </a:cxn>
                <a:cxn ang="0">
                  <a:pos x="354" y="16"/>
                </a:cxn>
                <a:cxn ang="0">
                  <a:pos x="348" y="43"/>
                </a:cxn>
                <a:cxn ang="0">
                  <a:pos x="310" y="39"/>
                </a:cxn>
                <a:cxn ang="0">
                  <a:pos x="282" y="13"/>
                </a:cxn>
                <a:cxn ang="0">
                  <a:pos x="249" y="16"/>
                </a:cxn>
                <a:cxn ang="0">
                  <a:pos x="192" y="23"/>
                </a:cxn>
                <a:cxn ang="0">
                  <a:pos x="187" y="43"/>
                </a:cxn>
                <a:cxn ang="0">
                  <a:pos x="168" y="11"/>
                </a:cxn>
                <a:cxn ang="0">
                  <a:pos x="131" y="5"/>
                </a:cxn>
                <a:cxn ang="0">
                  <a:pos x="89" y="16"/>
                </a:cxn>
                <a:cxn ang="0">
                  <a:pos x="72" y="50"/>
                </a:cxn>
                <a:cxn ang="0">
                  <a:pos x="58" y="74"/>
                </a:cxn>
                <a:cxn ang="0">
                  <a:pos x="44" y="74"/>
                </a:cxn>
                <a:cxn ang="0">
                  <a:pos x="51" y="133"/>
                </a:cxn>
                <a:cxn ang="0">
                  <a:pos x="28" y="236"/>
                </a:cxn>
                <a:cxn ang="0">
                  <a:pos x="0" y="271"/>
                </a:cxn>
                <a:cxn ang="0">
                  <a:pos x="11" y="374"/>
                </a:cxn>
                <a:cxn ang="0">
                  <a:pos x="48" y="382"/>
                </a:cxn>
                <a:cxn ang="0">
                  <a:pos x="89" y="375"/>
                </a:cxn>
                <a:cxn ang="0">
                  <a:pos x="108" y="397"/>
                </a:cxn>
                <a:cxn ang="0">
                  <a:pos x="127" y="424"/>
                </a:cxn>
                <a:cxn ang="0">
                  <a:pos x="126" y="468"/>
                </a:cxn>
                <a:cxn ang="0">
                  <a:pos x="158" y="495"/>
                </a:cxn>
                <a:cxn ang="0">
                  <a:pos x="202" y="496"/>
                </a:cxn>
                <a:cxn ang="0">
                  <a:pos x="288" y="427"/>
                </a:cxn>
                <a:cxn ang="0">
                  <a:pos x="315" y="392"/>
                </a:cxn>
                <a:cxn ang="0">
                  <a:pos x="352" y="357"/>
                </a:cxn>
                <a:cxn ang="0">
                  <a:pos x="401" y="320"/>
                </a:cxn>
              </a:cxnLst>
              <a:rect l="0" t="0" r="r" b="b"/>
              <a:pathLst>
                <a:path w="501" h="496">
                  <a:moveTo>
                    <a:pt x="401" y="320"/>
                  </a:moveTo>
                  <a:lnTo>
                    <a:pt x="432" y="269"/>
                  </a:lnTo>
                  <a:lnTo>
                    <a:pt x="453" y="180"/>
                  </a:lnTo>
                  <a:lnTo>
                    <a:pt x="467" y="158"/>
                  </a:lnTo>
                  <a:lnTo>
                    <a:pt x="492" y="138"/>
                  </a:lnTo>
                  <a:lnTo>
                    <a:pt x="501" y="79"/>
                  </a:lnTo>
                  <a:lnTo>
                    <a:pt x="491" y="0"/>
                  </a:lnTo>
                  <a:lnTo>
                    <a:pt x="491" y="0"/>
                  </a:lnTo>
                  <a:lnTo>
                    <a:pt x="458" y="19"/>
                  </a:lnTo>
                  <a:lnTo>
                    <a:pt x="437" y="44"/>
                  </a:lnTo>
                  <a:lnTo>
                    <a:pt x="414" y="19"/>
                  </a:lnTo>
                  <a:lnTo>
                    <a:pt x="354" y="16"/>
                  </a:lnTo>
                  <a:lnTo>
                    <a:pt x="348" y="43"/>
                  </a:lnTo>
                  <a:lnTo>
                    <a:pt x="310" y="39"/>
                  </a:lnTo>
                  <a:lnTo>
                    <a:pt x="282" y="13"/>
                  </a:lnTo>
                  <a:lnTo>
                    <a:pt x="249" y="16"/>
                  </a:lnTo>
                  <a:lnTo>
                    <a:pt x="192" y="23"/>
                  </a:lnTo>
                  <a:lnTo>
                    <a:pt x="187" y="43"/>
                  </a:lnTo>
                  <a:lnTo>
                    <a:pt x="168" y="11"/>
                  </a:lnTo>
                  <a:lnTo>
                    <a:pt x="131" y="5"/>
                  </a:lnTo>
                  <a:lnTo>
                    <a:pt x="89" y="16"/>
                  </a:lnTo>
                  <a:lnTo>
                    <a:pt x="72" y="50"/>
                  </a:lnTo>
                  <a:lnTo>
                    <a:pt x="58" y="74"/>
                  </a:lnTo>
                  <a:lnTo>
                    <a:pt x="44" y="74"/>
                  </a:lnTo>
                  <a:lnTo>
                    <a:pt x="51" y="133"/>
                  </a:lnTo>
                  <a:lnTo>
                    <a:pt x="28" y="236"/>
                  </a:lnTo>
                  <a:lnTo>
                    <a:pt x="0" y="271"/>
                  </a:lnTo>
                  <a:lnTo>
                    <a:pt x="11" y="374"/>
                  </a:lnTo>
                  <a:lnTo>
                    <a:pt x="48" y="382"/>
                  </a:lnTo>
                  <a:lnTo>
                    <a:pt x="89" y="375"/>
                  </a:lnTo>
                  <a:lnTo>
                    <a:pt x="108" y="397"/>
                  </a:lnTo>
                  <a:lnTo>
                    <a:pt x="127" y="424"/>
                  </a:lnTo>
                  <a:lnTo>
                    <a:pt x="126" y="468"/>
                  </a:lnTo>
                  <a:lnTo>
                    <a:pt x="158" y="495"/>
                  </a:lnTo>
                  <a:lnTo>
                    <a:pt x="202" y="496"/>
                  </a:lnTo>
                  <a:lnTo>
                    <a:pt x="288" y="427"/>
                  </a:lnTo>
                  <a:lnTo>
                    <a:pt x="315" y="392"/>
                  </a:lnTo>
                  <a:lnTo>
                    <a:pt x="352" y="357"/>
                  </a:lnTo>
                  <a:lnTo>
                    <a:pt x="401" y="32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17" name="Freeform 46"/>
            <p:cNvSpPr>
              <a:spLocks noChangeAspect="1"/>
            </p:cNvSpPr>
            <p:nvPr/>
          </p:nvSpPr>
          <p:spPr bwMode="auto">
            <a:xfrm>
              <a:off x="1126614" y="4081326"/>
              <a:ext cx="327032" cy="260920"/>
            </a:xfrm>
            <a:custGeom>
              <a:avLst/>
              <a:gdLst/>
              <a:ahLst/>
              <a:cxnLst>
                <a:cxn ang="0">
                  <a:pos x="553" y="314"/>
                </a:cxn>
                <a:cxn ang="0">
                  <a:pos x="527" y="312"/>
                </a:cxn>
                <a:cxn ang="0">
                  <a:pos x="474" y="324"/>
                </a:cxn>
                <a:cxn ang="0">
                  <a:pos x="434" y="318"/>
                </a:cxn>
                <a:cxn ang="0">
                  <a:pos x="430" y="335"/>
                </a:cxn>
                <a:cxn ang="0">
                  <a:pos x="336" y="345"/>
                </a:cxn>
                <a:cxn ang="0">
                  <a:pos x="330" y="366"/>
                </a:cxn>
                <a:cxn ang="0">
                  <a:pos x="251" y="373"/>
                </a:cxn>
                <a:cxn ang="0">
                  <a:pos x="235" y="342"/>
                </a:cxn>
                <a:cxn ang="0">
                  <a:pos x="206" y="329"/>
                </a:cxn>
                <a:cxn ang="0">
                  <a:pos x="186" y="356"/>
                </a:cxn>
                <a:cxn ang="0">
                  <a:pos x="164" y="367"/>
                </a:cxn>
                <a:cxn ang="0">
                  <a:pos x="147" y="381"/>
                </a:cxn>
                <a:cxn ang="0">
                  <a:pos x="113" y="387"/>
                </a:cxn>
                <a:cxn ang="0">
                  <a:pos x="89" y="412"/>
                </a:cxn>
                <a:cxn ang="0">
                  <a:pos x="71" y="440"/>
                </a:cxn>
                <a:cxn ang="0">
                  <a:pos x="55" y="412"/>
                </a:cxn>
                <a:cxn ang="0">
                  <a:pos x="34" y="347"/>
                </a:cxn>
                <a:cxn ang="0">
                  <a:pos x="0" y="294"/>
                </a:cxn>
                <a:cxn ang="0">
                  <a:pos x="20" y="235"/>
                </a:cxn>
                <a:cxn ang="0">
                  <a:pos x="41" y="205"/>
                </a:cxn>
                <a:cxn ang="0">
                  <a:pos x="68" y="191"/>
                </a:cxn>
                <a:cxn ang="0">
                  <a:pos x="110" y="195"/>
                </a:cxn>
                <a:cxn ang="0">
                  <a:pos x="124" y="166"/>
                </a:cxn>
                <a:cxn ang="0">
                  <a:pos x="174" y="162"/>
                </a:cxn>
                <a:cxn ang="0">
                  <a:pos x="197" y="129"/>
                </a:cxn>
                <a:cxn ang="0">
                  <a:pos x="241" y="119"/>
                </a:cxn>
                <a:cxn ang="0">
                  <a:pos x="257" y="87"/>
                </a:cxn>
                <a:cxn ang="0">
                  <a:pos x="286" y="73"/>
                </a:cxn>
                <a:cxn ang="0">
                  <a:pos x="306" y="35"/>
                </a:cxn>
                <a:cxn ang="0">
                  <a:pos x="336" y="8"/>
                </a:cxn>
                <a:cxn ang="0">
                  <a:pos x="358" y="0"/>
                </a:cxn>
                <a:cxn ang="0">
                  <a:pos x="379" y="33"/>
                </a:cxn>
                <a:cxn ang="0">
                  <a:pos x="401" y="78"/>
                </a:cxn>
                <a:cxn ang="0">
                  <a:pos x="396" y="118"/>
                </a:cxn>
                <a:cxn ang="0">
                  <a:pos x="417" y="128"/>
                </a:cxn>
                <a:cxn ang="0">
                  <a:pos x="420" y="153"/>
                </a:cxn>
                <a:cxn ang="0">
                  <a:pos x="452" y="148"/>
                </a:cxn>
                <a:cxn ang="0">
                  <a:pos x="464" y="191"/>
                </a:cxn>
                <a:cxn ang="0">
                  <a:pos x="506" y="199"/>
                </a:cxn>
                <a:cxn ang="0">
                  <a:pos x="513" y="250"/>
                </a:cxn>
                <a:cxn ang="0">
                  <a:pos x="540" y="260"/>
                </a:cxn>
                <a:cxn ang="0">
                  <a:pos x="551" y="278"/>
                </a:cxn>
                <a:cxn ang="0">
                  <a:pos x="558" y="291"/>
                </a:cxn>
                <a:cxn ang="0">
                  <a:pos x="553" y="314"/>
                </a:cxn>
              </a:cxnLst>
              <a:rect l="0" t="0" r="r" b="b"/>
              <a:pathLst>
                <a:path w="558" h="440">
                  <a:moveTo>
                    <a:pt x="553" y="314"/>
                  </a:moveTo>
                  <a:lnTo>
                    <a:pt x="527" y="312"/>
                  </a:lnTo>
                  <a:lnTo>
                    <a:pt x="474" y="324"/>
                  </a:lnTo>
                  <a:lnTo>
                    <a:pt x="434" y="318"/>
                  </a:lnTo>
                  <a:lnTo>
                    <a:pt x="430" y="335"/>
                  </a:lnTo>
                  <a:lnTo>
                    <a:pt x="336" y="345"/>
                  </a:lnTo>
                  <a:lnTo>
                    <a:pt x="330" y="366"/>
                  </a:lnTo>
                  <a:lnTo>
                    <a:pt x="251" y="373"/>
                  </a:lnTo>
                  <a:lnTo>
                    <a:pt x="235" y="342"/>
                  </a:lnTo>
                  <a:lnTo>
                    <a:pt x="206" y="329"/>
                  </a:lnTo>
                  <a:lnTo>
                    <a:pt x="186" y="356"/>
                  </a:lnTo>
                  <a:lnTo>
                    <a:pt x="164" y="367"/>
                  </a:lnTo>
                  <a:lnTo>
                    <a:pt x="147" y="381"/>
                  </a:lnTo>
                  <a:lnTo>
                    <a:pt x="113" y="387"/>
                  </a:lnTo>
                  <a:lnTo>
                    <a:pt x="89" y="412"/>
                  </a:lnTo>
                  <a:lnTo>
                    <a:pt x="71" y="440"/>
                  </a:lnTo>
                  <a:lnTo>
                    <a:pt x="55" y="412"/>
                  </a:lnTo>
                  <a:lnTo>
                    <a:pt x="34" y="347"/>
                  </a:lnTo>
                  <a:lnTo>
                    <a:pt x="0" y="294"/>
                  </a:lnTo>
                  <a:lnTo>
                    <a:pt x="20" y="235"/>
                  </a:lnTo>
                  <a:lnTo>
                    <a:pt x="41" y="205"/>
                  </a:lnTo>
                  <a:lnTo>
                    <a:pt x="68" y="191"/>
                  </a:lnTo>
                  <a:lnTo>
                    <a:pt x="110" y="195"/>
                  </a:lnTo>
                  <a:lnTo>
                    <a:pt x="124" y="166"/>
                  </a:lnTo>
                  <a:lnTo>
                    <a:pt x="174" y="162"/>
                  </a:lnTo>
                  <a:lnTo>
                    <a:pt x="197" y="129"/>
                  </a:lnTo>
                  <a:lnTo>
                    <a:pt x="241" y="119"/>
                  </a:lnTo>
                  <a:lnTo>
                    <a:pt x="257" y="87"/>
                  </a:lnTo>
                  <a:lnTo>
                    <a:pt x="286" y="73"/>
                  </a:lnTo>
                  <a:lnTo>
                    <a:pt x="306" y="35"/>
                  </a:lnTo>
                  <a:lnTo>
                    <a:pt x="336" y="8"/>
                  </a:lnTo>
                  <a:lnTo>
                    <a:pt x="358" y="0"/>
                  </a:lnTo>
                  <a:lnTo>
                    <a:pt x="379" y="33"/>
                  </a:lnTo>
                  <a:lnTo>
                    <a:pt x="401" y="78"/>
                  </a:lnTo>
                  <a:lnTo>
                    <a:pt x="396" y="118"/>
                  </a:lnTo>
                  <a:lnTo>
                    <a:pt x="417" y="128"/>
                  </a:lnTo>
                  <a:lnTo>
                    <a:pt x="420" y="153"/>
                  </a:lnTo>
                  <a:lnTo>
                    <a:pt x="452" y="148"/>
                  </a:lnTo>
                  <a:lnTo>
                    <a:pt x="464" y="191"/>
                  </a:lnTo>
                  <a:lnTo>
                    <a:pt x="506" y="199"/>
                  </a:lnTo>
                  <a:lnTo>
                    <a:pt x="513" y="250"/>
                  </a:lnTo>
                  <a:lnTo>
                    <a:pt x="540" y="260"/>
                  </a:lnTo>
                  <a:lnTo>
                    <a:pt x="551" y="278"/>
                  </a:lnTo>
                  <a:lnTo>
                    <a:pt x="558" y="291"/>
                  </a:lnTo>
                  <a:lnTo>
                    <a:pt x="553" y="31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18" name="Freeform 47"/>
            <p:cNvSpPr>
              <a:spLocks noChangeAspect="1"/>
            </p:cNvSpPr>
            <p:nvPr/>
          </p:nvSpPr>
          <p:spPr bwMode="auto">
            <a:xfrm>
              <a:off x="1383315" y="3426364"/>
              <a:ext cx="284835" cy="335469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3" y="565"/>
                </a:cxn>
                <a:cxn ang="0">
                  <a:pos x="31" y="550"/>
                </a:cxn>
                <a:cxn ang="0">
                  <a:pos x="66" y="526"/>
                </a:cxn>
                <a:cxn ang="0">
                  <a:pos x="362" y="526"/>
                </a:cxn>
                <a:cxn ang="0">
                  <a:pos x="390" y="550"/>
                </a:cxn>
                <a:cxn ang="0">
                  <a:pos x="469" y="486"/>
                </a:cxn>
                <a:cxn ang="0">
                  <a:pos x="469" y="423"/>
                </a:cxn>
                <a:cxn ang="0">
                  <a:pos x="485" y="410"/>
                </a:cxn>
                <a:cxn ang="0">
                  <a:pos x="378" y="241"/>
                </a:cxn>
                <a:cxn ang="0">
                  <a:pos x="318" y="138"/>
                </a:cxn>
                <a:cxn ang="0">
                  <a:pos x="318" y="91"/>
                </a:cxn>
                <a:cxn ang="0">
                  <a:pos x="351" y="130"/>
                </a:cxn>
                <a:cxn ang="0">
                  <a:pos x="402" y="185"/>
                </a:cxn>
                <a:cxn ang="0">
                  <a:pos x="425" y="138"/>
                </a:cxn>
                <a:cxn ang="0">
                  <a:pos x="425" y="83"/>
                </a:cxn>
                <a:cxn ang="0">
                  <a:pos x="382" y="16"/>
                </a:cxn>
                <a:cxn ang="0">
                  <a:pos x="318" y="12"/>
                </a:cxn>
                <a:cxn ang="0">
                  <a:pos x="204" y="0"/>
                </a:cxn>
                <a:cxn ang="0">
                  <a:pos x="189" y="55"/>
                </a:cxn>
                <a:cxn ang="0">
                  <a:pos x="156" y="40"/>
                </a:cxn>
                <a:cxn ang="0">
                  <a:pos x="125" y="3"/>
                </a:cxn>
                <a:cxn ang="0">
                  <a:pos x="0" y="12"/>
                </a:cxn>
              </a:cxnLst>
              <a:rect l="0" t="0" r="r" b="b"/>
              <a:pathLst>
                <a:path w="485" h="565">
                  <a:moveTo>
                    <a:pt x="0" y="12"/>
                  </a:moveTo>
                  <a:lnTo>
                    <a:pt x="3" y="565"/>
                  </a:lnTo>
                  <a:lnTo>
                    <a:pt x="31" y="550"/>
                  </a:lnTo>
                  <a:lnTo>
                    <a:pt x="66" y="526"/>
                  </a:lnTo>
                  <a:lnTo>
                    <a:pt x="362" y="526"/>
                  </a:lnTo>
                  <a:lnTo>
                    <a:pt x="390" y="550"/>
                  </a:lnTo>
                  <a:lnTo>
                    <a:pt x="469" y="486"/>
                  </a:lnTo>
                  <a:lnTo>
                    <a:pt x="469" y="423"/>
                  </a:lnTo>
                  <a:lnTo>
                    <a:pt x="485" y="410"/>
                  </a:lnTo>
                  <a:lnTo>
                    <a:pt x="378" y="241"/>
                  </a:lnTo>
                  <a:lnTo>
                    <a:pt x="318" y="138"/>
                  </a:lnTo>
                  <a:lnTo>
                    <a:pt x="318" y="91"/>
                  </a:lnTo>
                  <a:lnTo>
                    <a:pt x="351" y="130"/>
                  </a:lnTo>
                  <a:lnTo>
                    <a:pt x="402" y="185"/>
                  </a:lnTo>
                  <a:lnTo>
                    <a:pt x="425" y="138"/>
                  </a:lnTo>
                  <a:lnTo>
                    <a:pt x="425" y="83"/>
                  </a:lnTo>
                  <a:lnTo>
                    <a:pt x="382" y="16"/>
                  </a:lnTo>
                  <a:lnTo>
                    <a:pt x="318" y="12"/>
                  </a:lnTo>
                  <a:lnTo>
                    <a:pt x="204" y="0"/>
                  </a:lnTo>
                  <a:lnTo>
                    <a:pt x="189" y="55"/>
                  </a:lnTo>
                  <a:lnTo>
                    <a:pt x="156" y="40"/>
                  </a:lnTo>
                  <a:lnTo>
                    <a:pt x="125" y="3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19" name="Freeform 48"/>
            <p:cNvSpPr>
              <a:spLocks noChangeAspect="1"/>
            </p:cNvSpPr>
            <p:nvPr/>
          </p:nvSpPr>
          <p:spPr bwMode="auto">
            <a:xfrm>
              <a:off x="2355620" y="3282592"/>
              <a:ext cx="327032" cy="397592"/>
            </a:xfrm>
            <a:custGeom>
              <a:avLst/>
              <a:gdLst/>
              <a:ahLst/>
              <a:cxnLst>
                <a:cxn ang="0">
                  <a:pos x="430" y="0"/>
                </a:cxn>
                <a:cxn ang="0">
                  <a:pos x="388" y="16"/>
                </a:cxn>
                <a:cxn ang="0">
                  <a:pos x="378" y="65"/>
                </a:cxn>
                <a:cxn ang="0">
                  <a:pos x="378" y="65"/>
                </a:cxn>
                <a:cxn ang="0">
                  <a:pos x="360" y="123"/>
                </a:cxn>
                <a:cxn ang="0">
                  <a:pos x="340" y="169"/>
                </a:cxn>
                <a:cxn ang="0">
                  <a:pos x="309" y="189"/>
                </a:cxn>
                <a:cxn ang="0">
                  <a:pos x="296" y="245"/>
                </a:cxn>
                <a:cxn ang="0">
                  <a:pos x="257" y="248"/>
                </a:cxn>
                <a:cxn ang="0">
                  <a:pos x="206" y="281"/>
                </a:cxn>
                <a:cxn ang="0">
                  <a:pos x="170" y="309"/>
                </a:cxn>
                <a:cxn ang="0">
                  <a:pos x="150" y="355"/>
                </a:cxn>
                <a:cxn ang="0">
                  <a:pos x="20" y="368"/>
                </a:cxn>
                <a:cxn ang="0">
                  <a:pos x="0" y="407"/>
                </a:cxn>
                <a:cxn ang="0">
                  <a:pos x="12" y="458"/>
                </a:cxn>
                <a:cxn ang="0">
                  <a:pos x="47" y="462"/>
                </a:cxn>
                <a:cxn ang="0">
                  <a:pos x="64" y="490"/>
                </a:cxn>
                <a:cxn ang="0">
                  <a:pos x="36" y="526"/>
                </a:cxn>
                <a:cxn ang="0">
                  <a:pos x="0" y="537"/>
                </a:cxn>
                <a:cxn ang="0">
                  <a:pos x="36" y="549"/>
                </a:cxn>
                <a:cxn ang="0">
                  <a:pos x="55" y="589"/>
                </a:cxn>
                <a:cxn ang="0">
                  <a:pos x="134" y="589"/>
                </a:cxn>
                <a:cxn ang="0">
                  <a:pos x="185" y="569"/>
                </a:cxn>
                <a:cxn ang="0">
                  <a:pos x="194" y="609"/>
                </a:cxn>
                <a:cxn ang="0">
                  <a:pos x="246" y="644"/>
                </a:cxn>
                <a:cxn ang="0">
                  <a:pos x="285" y="672"/>
                </a:cxn>
                <a:cxn ang="0">
                  <a:pos x="312" y="644"/>
                </a:cxn>
                <a:cxn ang="0">
                  <a:pos x="403" y="644"/>
                </a:cxn>
                <a:cxn ang="0">
                  <a:pos x="408" y="605"/>
                </a:cxn>
                <a:cxn ang="0">
                  <a:pos x="360" y="541"/>
                </a:cxn>
                <a:cxn ang="0">
                  <a:pos x="320" y="502"/>
                </a:cxn>
                <a:cxn ang="0">
                  <a:pos x="336" y="454"/>
                </a:cxn>
                <a:cxn ang="0">
                  <a:pos x="364" y="427"/>
                </a:cxn>
                <a:cxn ang="0">
                  <a:pos x="443" y="454"/>
                </a:cxn>
                <a:cxn ang="0">
                  <a:pos x="454" y="423"/>
                </a:cxn>
                <a:cxn ang="0">
                  <a:pos x="459" y="387"/>
                </a:cxn>
                <a:cxn ang="0">
                  <a:pos x="509" y="344"/>
                </a:cxn>
                <a:cxn ang="0">
                  <a:pos x="526" y="300"/>
                </a:cxn>
                <a:cxn ang="0">
                  <a:pos x="557" y="269"/>
                </a:cxn>
                <a:cxn ang="0">
                  <a:pos x="553" y="197"/>
                </a:cxn>
                <a:cxn ang="0">
                  <a:pos x="509" y="166"/>
                </a:cxn>
                <a:cxn ang="0">
                  <a:pos x="514" y="103"/>
                </a:cxn>
                <a:cxn ang="0">
                  <a:pos x="491" y="71"/>
                </a:cxn>
                <a:cxn ang="0">
                  <a:pos x="498" y="27"/>
                </a:cxn>
                <a:cxn ang="0">
                  <a:pos x="459" y="7"/>
                </a:cxn>
                <a:cxn ang="0">
                  <a:pos x="430" y="0"/>
                </a:cxn>
              </a:cxnLst>
              <a:rect l="0" t="0" r="r" b="b"/>
              <a:pathLst>
                <a:path w="557" h="672">
                  <a:moveTo>
                    <a:pt x="430" y="0"/>
                  </a:moveTo>
                  <a:lnTo>
                    <a:pt x="388" y="16"/>
                  </a:lnTo>
                  <a:lnTo>
                    <a:pt x="378" y="65"/>
                  </a:lnTo>
                  <a:lnTo>
                    <a:pt x="378" y="65"/>
                  </a:lnTo>
                  <a:lnTo>
                    <a:pt x="360" y="123"/>
                  </a:lnTo>
                  <a:lnTo>
                    <a:pt x="340" y="169"/>
                  </a:lnTo>
                  <a:lnTo>
                    <a:pt x="309" y="189"/>
                  </a:lnTo>
                  <a:lnTo>
                    <a:pt x="296" y="245"/>
                  </a:lnTo>
                  <a:lnTo>
                    <a:pt x="257" y="248"/>
                  </a:lnTo>
                  <a:lnTo>
                    <a:pt x="206" y="281"/>
                  </a:lnTo>
                  <a:lnTo>
                    <a:pt x="170" y="309"/>
                  </a:lnTo>
                  <a:lnTo>
                    <a:pt x="150" y="355"/>
                  </a:lnTo>
                  <a:lnTo>
                    <a:pt x="20" y="368"/>
                  </a:lnTo>
                  <a:lnTo>
                    <a:pt x="0" y="407"/>
                  </a:lnTo>
                  <a:lnTo>
                    <a:pt x="12" y="458"/>
                  </a:lnTo>
                  <a:lnTo>
                    <a:pt x="47" y="462"/>
                  </a:lnTo>
                  <a:lnTo>
                    <a:pt x="64" y="490"/>
                  </a:lnTo>
                  <a:lnTo>
                    <a:pt x="36" y="526"/>
                  </a:lnTo>
                  <a:lnTo>
                    <a:pt x="0" y="537"/>
                  </a:lnTo>
                  <a:lnTo>
                    <a:pt x="36" y="549"/>
                  </a:lnTo>
                  <a:lnTo>
                    <a:pt x="55" y="589"/>
                  </a:lnTo>
                  <a:lnTo>
                    <a:pt x="134" y="589"/>
                  </a:lnTo>
                  <a:lnTo>
                    <a:pt x="185" y="569"/>
                  </a:lnTo>
                  <a:lnTo>
                    <a:pt x="194" y="609"/>
                  </a:lnTo>
                  <a:lnTo>
                    <a:pt x="246" y="644"/>
                  </a:lnTo>
                  <a:lnTo>
                    <a:pt x="285" y="672"/>
                  </a:lnTo>
                  <a:lnTo>
                    <a:pt x="312" y="644"/>
                  </a:lnTo>
                  <a:lnTo>
                    <a:pt x="403" y="644"/>
                  </a:lnTo>
                  <a:lnTo>
                    <a:pt x="408" y="605"/>
                  </a:lnTo>
                  <a:lnTo>
                    <a:pt x="360" y="541"/>
                  </a:lnTo>
                  <a:lnTo>
                    <a:pt x="320" y="502"/>
                  </a:lnTo>
                  <a:lnTo>
                    <a:pt x="336" y="454"/>
                  </a:lnTo>
                  <a:lnTo>
                    <a:pt x="364" y="427"/>
                  </a:lnTo>
                  <a:lnTo>
                    <a:pt x="443" y="454"/>
                  </a:lnTo>
                  <a:lnTo>
                    <a:pt x="454" y="423"/>
                  </a:lnTo>
                  <a:lnTo>
                    <a:pt x="459" y="387"/>
                  </a:lnTo>
                  <a:lnTo>
                    <a:pt x="509" y="344"/>
                  </a:lnTo>
                  <a:lnTo>
                    <a:pt x="526" y="300"/>
                  </a:lnTo>
                  <a:lnTo>
                    <a:pt x="557" y="269"/>
                  </a:lnTo>
                  <a:lnTo>
                    <a:pt x="553" y="197"/>
                  </a:lnTo>
                  <a:lnTo>
                    <a:pt x="509" y="166"/>
                  </a:lnTo>
                  <a:lnTo>
                    <a:pt x="514" y="103"/>
                  </a:lnTo>
                  <a:lnTo>
                    <a:pt x="491" y="71"/>
                  </a:lnTo>
                  <a:lnTo>
                    <a:pt x="498" y="27"/>
                  </a:lnTo>
                  <a:lnTo>
                    <a:pt x="459" y="7"/>
                  </a:lnTo>
                  <a:lnTo>
                    <a:pt x="43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20" name="Freeform 49"/>
            <p:cNvSpPr>
              <a:spLocks noChangeAspect="1"/>
            </p:cNvSpPr>
            <p:nvPr/>
          </p:nvSpPr>
          <p:spPr bwMode="auto">
            <a:xfrm>
              <a:off x="3989019" y="3176094"/>
              <a:ext cx="98462" cy="161522"/>
            </a:xfrm>
            <a:custGeom>
              <a:avLst/>
              <a:gdLst/>
              <a:ahLst/>
              <a:cxnLst>
                <a:cxn ang="0">
                  <a:pos x="79" y="0"/>
                </a:cxn>
                <a:cxn ang="0">
                  <a:pos x="64" y="48"/>
                </a:cxn>
                <a:cxn ang="0">
                  <a:pos x="0" y="72"/>
                </a:cxn>
                <a:cxn ang="0">
                  <a:pos x="23" y="111"/>
                </a:cxn>
                <a:cxn ang="0">
                  <a:pos x="20" y="147"/>
                </a:cxn>
                <a:cxn ang="0">
                  <a:pos x="60" y="162"/>
                </a:cxn>
                <a:cxn ang="0">
                  <a:pos x="51" y="254"/>
                </a:cxn>
                <a:cxn ang="0">
                  <a:pos x="99" y="274"/>
                </a:cxn>
                <a:cxn ang="0">
                  <a:pos x="170" y="230"/>
                </a:cxn>
                <a:cxn ang="0">
                  <a:pos x="170" y="120"/>
                </a:cxn>
                <a:cxn ang="0">
                  <a:pos x="79" y="0"/>
                </a:cxn>
              </a:cxnLst>
              <a:rect l="0" t="0" r="r" b="b"/>
              <a:pathLst>
                <a:path w="170" h="274">
                  <a:moveTo>
                    <a:pt x="79" y="0"/>
                  </a:moveTo>
                  <a:lnTo>
                    <a:pt x="64" y="48"/>
                  </a:lnTo>
                  <a:lnTo>
                    <a:pt x="0" y="72"/>
                  </a:lnTo>
                  <a:lnTo>
                    <a:pt x="23" y="111"/>
                  </a:lnTo>
                  <a:lnTo>
                    <a:pt x="20" y="147"/>
                  </a:lnTo>
                  <a:lnTo>
                    <a:pt x="60" y="162"/>
                  </a:lnTo>
                  <a:lnTo>
                    <a:pt x="51" y="254"/>
                  </a:lnTo>
                  <a:lnTo>
                    <a:pt x="99" y="274"/>
                  </a:lnTo>
                  <a:lnTo>
                    <a:pt x="170" y="230"/>
                  </a:lnTo>
                  <a:lnTo>
                    <a:pt x="170" y="120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21" name="Freeform 50"/>
            <p:cNvSpPr>
              <a:spLocks noChangeAspect="1"/>
            </p:cNvSpPr>
            <p:nvPr/>
          </p:nvSpPr>
          <p:spPr bwMode="auto">
            <a:xfrm>
              <a:off x="4270337" y="2616980"/>
              <a:ext cx="100219" cy="204121"/>
            </a:xfrm>
            <a:custGeom>
              <a:avLst/>
              <a:gdLst/>
              <a:ahLst/>
              <a:cxnLst>
                <a:cxn ang="0">
                  <a:pos x="12" y="32"/>
                </a:cxn>
                <a:cxn ang="0">
                  <a:pos x="12" y="68"/>
                </a:cxn>
                <a:cxn ang="0">
                  <a:pos x="24" y="111"/>
                </a:cxn>
                <a:cxn ang="0">
                  <a:pos x="40" y="166"/>
                </a:cxn>
                <a:cxn ang="0">
                  <a:pos x="55" y="230"/>
                </a:cxn>
                <a:cxn ang="0">
                  <a:pos x="83" y="258"/>
                </a:cxn>
                <a:cxn ang="0">
                  <a:pos x="67" y="300"/>
                </a:cxn>
                <a:cxn ang="0">
                  <a:pos x="75" y="322"/>
                </a:cxn>
                <a:cxn ang="0">
                  <a:pos x="95" y="320"/>
                </a:cxn>
                <a:cxn ang="0">
                  <a:pos x="142" y="343"/>
                </a:cxn>
                <a:cxn ang="0">
                  <a:pos x="170" y="324"/>
                </a:cxn>
                <a:cxn ang="0">
                  <a:pos x="147" y="265"/>
                </a:cxn>
                <a:cxn ang="0">
                  <a:pos x="109" y="175"/>
                </a:cxn>
                <a:cxn ang="0">
                  <a:pos x="140" y="181"/>
                </a:cxn>
                <a:cxn ang="0">
                  <a:pos x="98" y="122"/>
                </a:cxn>
                <a:cxn ang="0">
                  <a:pos x="64" y="76"/>
                </a:cxn>
                <a:cxn ang="0">
                  <a:pos x="51" y="13"/>
                </a:cxn>
                <a:cxn ang="0">
                  <a:pos x="0" y="0"/>
                </a:cxn>
                <a:cxn ang="0">
                  <a:pos x="12" y="32"/>
                </a:cxn>
              </a:cxnLst>
              <a:rect l="0" t="0" r="r" b="b"/>
              <a:pathLst>
                <a:path w="170" h="343">
                  <a:moveTo>
                    <a:pt x="12" y="32"/>
                  </a:moveTo>
                  <a:lnTo>
                    <a:pt x="12" y="68"/>
                  </a:lnTo>
                  <a:lnTo>
                    <a:pt x="24" y="111"/>
                  </a:lnTo>
                  <a:lnTo>
                    <a:pt x="40" y="166"/>
                  </a:lnTo>
                  <a:lnTo>
                    <a:pt x="55" y="230"/>
                  </a:lnTo>
                  <a:lnTo>
                    <a:pt x="83" y="258"/>
                  </a:lnTo>
                  <a:lnTo>
                    <a:pt x="67" y="300"/>
                  </a:lnTo>
                  <a:lnTo>
                    <a:pt x="75" y="322"/>
                  </a:lnTo>
                  <a:lnTo>
                    <a:pt x="95" y="320"/>
                  </a:lnTo>
                  <a:lnTo>
                    <a:pt x="142" y="343"/>
                  </a:lnTo>
                  <a:lnTo>
                    <a:pt x="170" y="324"/>
                  </a:lnTo>
                  <a:lnTo>
                    <a:pt x="147" y="265"/>
                  </a:lnTo>
                  <a:lnTo>
                    <a:pt x="109" y="175"/>
                  </a:lnTo>
                  <a:lnTo>
                    <a:pt x="140" y="181"/>
                  </a:lnTo>
                  <a:lnTo>
                    <a:pt x="98" y="122"/>
                  </a:lnTo>
                  <a:lnTo>
                    <a:pt x="64" y="76"/>
                  </a:lnTo>
                  <a:lnTo>
                    <a:pt x="51" y="13"/>
                  </a:lnTo>
                  <a:lnTo>
                    <a:pt x="0" y="0"/>
                  </a:lnTo>
                  <a:lnTo>
                    <a:pt x="12" y="3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22" name="Freeform 51"/>
            <p:cNvSpPr>
              <a:spLocks noChangeAspect="1"/>
            </p:cNvSpPr>
            <p:nvPr/>
          </p:nvSpPr>
          <p:spPr bwMode="auto">
            <a:xfrm>
              <a:off x="2522652" y="3374890"/>
              <a:ext cx="757800" cy="795184"/>
            </a:xfrm>
            <a:custGeom>
              <a:avLst/>
              <a:gdLst/>
              <a:ahLst/>
              <a:cxnLst>
                <a:cxn ang="0">
                  <a:pos x="1288" y="332"/>
                </a:cxn>
                <a:cxn ang="0">
                  <a:pos x="1194" y="407"/>
                </a:cxn>
                <a:cxn ang="0">
                  <a:pos x="1133" y="514"/>
                </a:cxn>
                <a:cxn ang="0">
                  <a:pos x="1133" y="605"/>
                </a:cxn>
                <a:cxn ang="0">
                  <a:pos x="1087" y="506"/>
                </a:cxn>
                <a:cxn ang="0">
                  <a:pos x="1023" y="419"/>
                </a:cxn>
                <a:cxn ang="0">
                  <a:pos x="920" y="372"/>
                </a:cxn>
                <a:cxn ang="0">
                  <a:pos x="920" y="478"/>
                </a:cxn>
                <a:cxn ang="0">
                  <a:pos x="892" y="604"/>
                </a:cxn>
                <a:cxn ang="0">
                  <a:pos x="861" y="683"/>
                </a:cxn>
                <a:cxn ang="0">
                  <a:pos x="809" y="747"/>
                </a:cxn>
                <a:cxn ang="0">
                  <a:pos x="723" y="810"/>
                </a:cxn>
                <a:cxn ang="0">
                  <a:pos x="651" y="889"/>
                </a:cxn>
                <a:cxn ang="0">
                  <a:pos x="541" y="964"/>
                </a:cxn>
                <a:cxn ang="0">
                  <a:pos x="537" y="1134"/>
                </a:cxn>
                <a:cxn ang="0">
                  <a:pos x="526" y="1264"/>
                </a:cxn>
                <a:cxn ang="0">
                  <a:pos x="443" y="1344"/>
                </a:cxn>
                <a:cxn ang="0">
                  <a:pos x="406" y="1264"/>
                </a:cxn>
                <a:cxn ang="0">
                  <a:pos x="300" y="1000"/>
                </a:cxn>
                <a:cxn ang="0">
                  <a:pos x="221" y="806"/>
                </a:cxn>
                <a:cxn ang="0">
                  <a:pos x="209" y="628"/>
                </a:cxn>
                <a:cxn ang="0">
                  <a:pos x="185" y="624"/>
                </a:cxn>
                <a:cxn ang="0">
                  <a:pos x="86" y="652"/>
                </a:cxn>
                <a:cxn ang="0">
                  <a:pos x="62" y="549"/>
                </a:cxn>
                <a:cxn ang="0">
                  <a:pos x="0" y="514"/>
                </a:cxn>
                <a:cxn ang="0">
                  <a:pos x="118" y="486"/>
                </a:cxn>
                <a:cxn ang="0">
                  <a:pos x="75" y="383"/>
                </a:cxn>
                <a:cxn ang="0">
                  <a:pos x="51" y="296"/>
                </a:cxn>
                <a:cxn ang="0">
                  <a:pos x="158" y="296"/>
                </a:cxn>
                <a:cxn ang="0">
                  <a:pos x="174" y="229"/>
                </a:cxn>
                <a:cxn ang="0">
                  <a:pos x="241" y="142"/>
                </a:cxn>
                <a:cxn ang="0">
                  <a:pos x="268" y="39"/>
                </a:cxn>
                <a:cxn ang="0">
                  <a:pos x="384" y="4"/>
                </a:cxn>
                <a:cxn ang="0">
                  <a:pos x="418" y="114"/>
                </a:cxn>
                <a:cxn ang="0">
                  <a:pos x="526" y="166"/>
                </a:cxn>
                <a:cxn ang="0">
                  <a:pos x="568" y="289"/>
                </a:cxn>
                <a:cxn ang="0">
                  <a:pos x="695" y="332"/>
                </a:cxn>
                <a:cxn ang="0">
                  <a:pos x="791" y="368"/>
                </a:cxn>
                <a:cxn ang="0">
                  <a:pos x="885" y="363"/>
                </a:cxn>
                <a:cxn ang="0">
                  <a:pos x="932" y="272"/>
                </a:cxn>
                <a:cxn ang="0">
                  <a:pos x="1058" y="295"/>
                </a:cxn>
                <a:cxn ang="0">
                  <a:pos x="1137" y="230"/>
                </a:cxn>
                <a:cxn ang="0">
                  <a:pos x="1261" y="257"/>
                </a:cxn>
              </a:cxnLst>
              <a:rect l="0" t="0" r="r" b="b"/>
              <a:pathLst>
                <a:path w="1292" h="1344">
                  <a:moveTo>
                    <a:pt x="1292" y="305"/>
                  </a:moveTo>
                  <a:lnTo>
                    <a:pt x="1288" y="332"/>
                  </a:lnTo>
                  <a:lnTo>
                    <a:pt x="1229" y="359"/>
                  </a:lnTo>
                  <a:lnTo>
                    <a:pt x="1194" y="407"/>
                  </a:lnTo>
                  <a:lnTo>
                    <a:pt x="1174" y="471"/>
                  </a:lnTo>
                  <a:lnTo>
                    <a:pt x="1133" y="514"/>
                  </a:lnTo>
                  <a:lnTo>
                    <a:pt x="1133" y="605"/>
                  </a:lnTo>
                  <a:lnTo>
                    <a:pt x="1133" y="605"/>
                  </a:lnTo>
                  <a:lnTo>
                    <a:pt x="1106" y="581"/>
                  </a:lnTo>
                  <a:lnTo>
                    <a:pt x="1087" y="506"/>
                  </a:lnTo>
                  <a:lnTo>
                    <a:pt x="1078" y="451"/>
                  </a:lnTo>
                  <a:lnTo>
                    <a:pt x="1023" y="419"/>
                  </a:lnTo>
                  <a:lnTo>
                    <a:pt x="976" y="411"/>
                  </a:lnTo>
                  <a:lnTo>
                    <a:pt x="920" y="372"/>
                  </a:lnTo>
                  <a:lnTo>
                    <a:pt x="889" y="470"/>
                  </a:lnTo>
                  <a:lnTo>
                    <a:pt x="920" y="478"/>
                  </a:lnTo>
                  <a:lnTo>
                    <a:pt x="925" y="600"/>
                  </a:lnTo>
                  <a:lnTo>
                    <a:pt x="892" y="604"/>
                  </a:lnTo>
                  <a:lnTo>
                    <a:pt x="861" y="624"/>
                  </a:lnTo>
                  <a:lnTo>
                    <a:pt x="861" y="683"/>
                  </a:lnTo>
                  <a:lnTo>
                    <a:pt x="846" y="696"/>
                  </a:lnTo>
                  <a:lnTo>
                    <a:pt x="809" y="747"/>
                  </a:lnTo>
                  <a:lnTo>
                    <a:pt x="754" y="771"/>
                  </a:lnTo>
                  <a:lnTo>
                    <a:pt x="723" y="810"/>
                  </a:lnTo>
                  <a:lnTo>
                    <a:pt x="675" y="830"/>
                  </a:lnTo>
                  <a:lnTo>
                    <a:pt x="651" y="889"/>
                  </a:lnTo>
                  <a:lnTo>
                    <a:pt x="605" y="924"/>
                  </a:lnTo>
                  <a:lnTo>
                    <a:pt x="541" y="964"/>
                  </a:lnTo>
                  <a:lnTo>
                    <a:pt x="557" y="1126"/>
                  </a:lnTo>
                  <a:lnTo>
                    <a:pt x="537" y="1134"/>
                  </a:lnTo>
                  <a:lnTo>
                    <a:pt x="557" y="1209"/>
                  </a:lnTo>
                  <a:lnTo>
                    <a:pt x="526" y="1264"/>
                  </a:lnTo>
                  <a:lnTo>
                    <a:pt x="494" y="1316"/>
                  </a:lnTo>
                  <a:lnTo>
                    <a:pt x="443" y="1344"/>
                  </a:lnTo>
                  <a:lnTo>
                    <a:pt x="415" y="1323"/>
                  </a:lnTo>
                  <a:lnTo>
                    <a:pt x="406" y="1264"/>
                  </a:lnTo>
                  <a:lnTo>
                    <a:pt x="351" y="1138"/>
                  </a:lnTo>
                  <a:lnTo>
                    <a:pt x="300" y="1000"/>
                  </a:lnTo>
                  <a:lnTo>
                    <a:pt x="244" y="917"/>
                  </a:lnTo>
                  <a:lnTo>
                    <a:pt x="221" y="806"/>
                  </a:lnTo>
                  <a:lnTo>
                    <a:pt x="221" y="707"/>
                  </a:lnTo>
                  <a:lnTo>
                    <a:pt x="209" y="628"/>
                  </a:lnTo>
                  <a:lnTo>
                    <a:pt x="185" y="581"/>
                  </a:lnTo>
                  <a:lnTo>
                    <a:pt x="185" y="624"/>
                  </a:lnTo>
                  <a:lnTo>
                    <a:pt x="154" y="655"/>
                  </a:lnTo>
                  <a:lnTo>
                    <a:pt x="86" y="652"/>
                  </a:lnTo>
                  <a:lnTo>
                    <a:pt x="35" y="585"/>
                  </a:lnTo>
                  <a:lnTo>
                    <a:pt x="62" y="549"/>
                  </a:lnTo>
                  <a:lnTo>
                    <a:pt x="24" y="554"/>
                  </a:lnTo>
                  <a:lnTo>
                    <a:pt x="0" y="514"/>
                  </a:lnTo>
                  <a:lnTo>
                    <a:pt x="27" y="486"/>
                  </a:lnTo>
                  <a:lnTo>
                    <a:pt x="118" y="486"/>
                  </a:lnTo>
                  <a:lnTo>
                    <a:pt x="123" y="447"/>
                  </a:lnTo>
                  <a:lnTo>
                    <a:pt x="75" y="383"/>
                  </a:lnTo>
                  <a:lnTo>
                    <a:pt x="35" y="344"/>
                  </a:lnTo>
                  <a:lnTo>
                    <a:pt x="51" y="296"/>
                  </a:lnTo>
                  <a:lnTo>
                    <a:pt x="79" y="269"/>
                  </a:lnTo>
                  <a:lnTo>
                    <a:pt x="158" y="296"/>
                  </a:lnTo>
                  <a:lnTo>
                    <a:pt x="169" y="265"/>
                  </a:lnTo>
                  <a:lnTo>
                    <a:pt x="174" y="229"/>
                  </a:lnTo>
                  <a:lnTo>
                    <a:pt x="224" y="186"/>
                  </a:lnTo>
                  <a:lnTo>
                    <a:pt x="241" y="142"/>
                  </a:lnTo>
                  <a:lnTo>
                    <a:pt x="272" y="111"/>
                  </a:lnTo>
                  <a:lnTo>
                    <a:pt x="268" y="39"/>
                  </a:lnTo>
                  <a:lnTo>
                    <a:pt x="331" y="0"/>
                  </a:lnTo>
                  <a:lnTo>
                    <a:pt x="384" y="4"/>
                  </a:lnTo>
                  <a:lnTo>
                    <a:pt x="418" y="31"/>
                  </a:lnTo>
                  <a:lnTo>
                    <a:pt x="418" y="114"/>
                  </a:lnTo>
                  <a:lnTo>
                    <a:pt x="486" y="127"/>
                  </a:lnTo>
                  <a:lnTo>
                    <a:pt x="526" y="166"/>
                  </a:lnTo>
                  <a:lnTo>
                    <a:pt x="533" y="245"/>
                  </a:lnTo>
                  <a:lnTo>
                    <a:pt x="568" y="289"/>
                  </a:lnTo>
                  <a:lnTo>
                    <a:pt x="624" y="304"/>
                  </a:lnTo>
                  <a:lnTo>
                    <a:pt x="695" y="332"/>
                  </a:lnTo>
                  <a:lnTo>
                    <a:pt x="750" y="344"/>
                  </a:lnTo>
                  <a:lnTo>
                    <a:pt x="791" y="368"/>
                  </a:lnTo>
                  <a:lnTo>
                    <a:pt x="841" y="363"/>
                  </a:lnTo>
                  <a:lnTo>
                    <a:pt x="885" y="363"/>
                  </a:lnTo>
                  <a:lnTo>
                    <a:pt x="909" y="316"/>
                  </a:lnTo>
                  <a:lnTo>
                    <a:pt x="932" y="272"/>
                  </a:lnTo>
                  <a:lnTo>
                    <a:pt x="983" y="296"/>
                  </a:lnTo>
                  <a:lnTo>
                    <a:pt x="1058" y="295"/>
                  </a:lnTo>
                  <a:lnTo>
                    <a:pt x="1082" y="260"/>
                  </a:lnTo>
                  <a:lnTo>
                    <a:pt x="1137" y="230"/>
                  </a:lnTo>
                  <a:lnTo>
                    <a:pt x="1209" y="230"/>
                  </a:lnTo>
                  <a:lnTo>
                    <a:pt x="1261" y="257"/>
                  </a:lnTo>
                  <a:lnTo>
                    <a:pt x="1292" y="30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23" name="Freeform 52"/>
            <p:cNvSpPr>
              <a:spLocks noChangeAspect="1"/>
            </p:cNvSpPr>
            <p:nvPr/>
          </p:nvSpPr>
          <p:spPr bwMode="auto">
            <a:xfrm>
              <a:off x="2522652" y="3374890"/>
              <a:ext cx="757800" cy="795184"/>
            </a:xfrm>
            <a:custGeom>
              <a:avLst/>
              <a:gdLst/>
              <a:ahLst/>
              <a:cxnLst>
                <a:cxn ang="0">
                  <a:pos x="1288" y="332"/>
                </a:cxn>
                <a:cxn ang="0">
                  <a:pos x="1194" y="407"/>
                </a:cxn>
                <a:cxn ang="0">
                  <a:pos x="1133" y="514"/>
                </a:cxn>
                <a:cxn ang="0">
                  <a:pos x="1133" y="605"/>
                </a:cxn>
                <a:cxn ang="0">
                  <a:pos x="1087" y="506"/>
                </a:cxn>
                <a:cxn ang="0">
                  <a:pos x="1023" y="419"/>
                </a:cxn>
                <a:cxn ang="0">
                  <a:pos x="920" y="372"/>
                </a:cxn>
                <a:cxn ang="0">
                  <a:pos x="920" y="478"/>
                </a:cxn>
                <a:cxn ang="0">
                  <a:pos x="892" y="604"/>
                </a:cxn>
                <a:cxn ang="0">
                  <a:pos x="861" y="683"/>
                </a:cxn>
                <a:cxn ang="0">
                  <a:pos x="809" y="747"/>
                </a:cxn>
                <a:cxn ang="0">
                  <a:pos x="723" y="810"/>
                </a:cxn>
                <a:cxn ang="0">
                  <a:pos x="651" y="889"/>
                </a:cxn>
                <a:cxn ang="0">
                  <a:pos x="541" y="964"/>
                </a:cxn>
                <a:cxn ang="0">
                  <a:pos x="537" y="1134"/>
                </a:cxn>
                <a:cxn ang="0">
                  <a:pos x="526" y="1264"/>
                </a:cxn>
                <a:cxn ang="0">
                  <a:pos x="443" y="1344"/>
                </a:cxn>
                <a:cxn ang="0">
                  <a:pos x="406" y="1264"/>
                </a:cxn>
                <a:cxn ang="0">
                  <a:pos x="300" y="1000"/>
                </a:cxn>
                <a:cxn ang="0">
                  <a:pos x="221" y="806"/>
                </a:cxn>
                <a:cxn ang="0">
                  <a:pos x="209" y="628"/>
                </a:cxn>
                <a:cxn ang="0">
                  <a:pos x="185" y="624"/>
                </a:cxn>
                <a:cxn ang="0">
                  <a:pos x="86" y="652"/>
                </a:cxn>
                <a:cxn ang="0">
                  <a:pos x="62" y="549"/>
                </a:cxn>
                <a:cxn ang="0">
                  <a:pos x="0" y="514"/>
                </a:cxn>
                <a:cxn ang="0">
                  <a:pos x="118" y="486"/>
                </a:cxn>
                <a:cxn ang="0">
                  <a:pos x="75" y="383"/>
                </a:cxn>
                <a:cxn ang="0">
                  <a:pos x="51" y="296"/>
                </a:cxn>
                <a:cxn ang="0">
                  <a:pos x="158" y="296"/>
                </a:cxn>
                <a:cxn ang="0">
                  <a:pos x="174" y="229"/>
                </a:cxn>
                <a:cxn ang="0">
                  <a:pos x="241" y="142"/>
                </a:cxn>
                <a:cxn ang="0">
                  <a:pos x="268" y="39"/>
                </a:cxn>
                <a:cxn ang="0">
                  <a:pos x="384" y="4"/>
                </a:cxn>
                <a:cxn ang="0">
                  <a:pos x="418" y="114"/>
                </a:cxn>
                <a:cxn ang="0">
                  <a:pos x="526" y="166"/>
                </a:cxn>
                <a:cxn ang="0">
                  <a:pos x="568" y="289"/>
                </a:cxn>
                <a:cxn ang="0">
                  <a:pos x="695" y="332"/>
                </a:cxn>
                <a:cxn ang="0">
                  <a:pos x="791" y="368"/>
                </a:cxn>
                <a:cxn ang="0">
                  <a:pos x="885" y="363"/>
                </a:cxn>
                <a:cxn ang="0">
                  <a:pos x="932" y="272"/>
                </a:cxn>
                <a:cxn ang="0">
                  <a:pos x="1058" y="295"/>
                </a:cxn>
                <a:cxn ang="0">
                  <a:pos x="1137" y="230"/>
                </a:cxn>
                <a:cxn ang="0">
                  <a:pos x="1261" y="257"/>
                </a:cxn>
              </a:cxnLst>
              <a:rect l="0" t="0" r="r" b="b"/>
              <a:pathLst>
                <a:path w="1292" h="1344">
                  <a:moveTo>
                    <a:pt x="1292" y="305"/>
                  </a:moveTo>
                  <a:lnTo>
                    <a:pt x="1288" y="332"/>
                  </a:lnTo>
                  <a:lnTo>
                    <a:pt x="1229" y="359"/>
                  </a:lnTo>
                  <a:lnTo>
                    <a:pt x="1194" y="407"/>
                  </a:lnTo>
                  <a:lnTo>
                    <a:pt x="1174" y="471"/>
                  </a:lnTo>
                  <a:lnTo>
                    <a:pt x="1133" y="514"/>
                  </a:lnTo>
                  <a:lnTo>
                    <a:pt x="1133" y="605"/>
                  </a:lnTo>
                  <a:lnTo>
                    <a:pt x="1133" y="605"/>
                  </a:lnTo>
                  <a:lnTo>
                    <a:pt x="1106" y="581"/>
                  </a:lnTo>
                  <a:lnTo>
                    <a:pt x="1087" y="506"/>
                  </a:lnTo>
                  <a:lnTo>
                    <a:pt x="1078" y="451"/>
                  </a:lnTo>
                  <a:lnTo>
                    <a:pt x="1023" y="419"/>
                  </a:lnTo>
                  <a:lnTo>
                    <a:pt x="976" y="411"/>
                  </a:lnTo>
                  <a:lnTo>
                    <a:pt x="920" y="372"/>
                  </a:lnTo>
                  <a:lnTo>
                    <a:pt x="889" y="470"/>
                  </a:lnTo>
                  <a:lnTo>
                    <a:pt x="920" y="478"/>
                  </a:lnTo>
                  <a:lnTo>
                    <a:pt x="925" y="600"/>
                  </a:lnTo>
                  <a:lnTo>
                    <a:pt x="892" y="604"/>
                  </a:lnTo>
                  <a:lnTo>
                    <a:pt x="861" y="624"/>
                  </a:lnTo>
                  <a:lnTo>
                    <a:pt x="861" y="683"/>
                  </a:lnTo>
                  <a:lnTo>
                    <a:pt x="846" y="696"/>
                  </a:lnTo>
                  <a:lnTo>
                    <a:pt x="809" y="747"/>
                  </a:lnTo>
                  <a:lnTo>
                    <a:pt x="754" y="771"/>
                  </a:lnTo>
                  <a:lnTo>
                    <a:pt x="723" y="810"/>
                  </a:lnTo>
                  <a:lnTo>
                    <a:pt x="675" y="830"/>
                  </a:lnTo>
                  <a:lnTo>
                    <a:pt x="651" y="889"/>
                  </a:lnTo>
                  <a:lnTo>
                    <a:pt x="605" y="924"/>
                  </a:lnTo>
                  <a:lnTo>
                    <a:pt x="541" y="964"/>
                  </a:lnTo>
                  <a:lnTo>
                    <a:pt x="557" y="1126"/>
                  </a:lnTo>
                  <a:lnTo>
                    <a:pt x="537" y="1134"/>
                  </a:lnTo>
                  <a:lnTo>
                    <a:pt x="557" y="1209"/>
                  </a:lnTo>
                  <a:lnTo>
                    <a:pt x="526" y="1264"/>
                  </a:lnTo>
                  <a:lnTo>
                    <a:pt x="494" y="1316"/>
                  </a:lnTo>
                  <a:lnTo>
                    <a:pt x="443" y="1344"/>
                  </a:lnTo>
                  <a:lnTo>
                    <a:pt x="415" y="1323"/>
                  </a:lnTo>
                  <a:lnTo>
                    <a:pt x="406" y="1264"/>
                  </a:lnTo>
                  <a:lnTo>
                    <a:pt x="351" y="1138"/>
                  </a:lnTo>
                  <a:lnTo>
                    <a:pt x="300" y="1000"/>
                  </a:lnTo>
                  <a:lnTo>
                    <a:pt x="244" y="917"/>
                  </a:lnTo>
                  <a:lnTo>
                    <a:pt x="221" y="806"/>
                  </a:lnTo>
                  <a:lnTo>
                    <a:pt x="221" y="707"/>
                  </a:lnTo>
                  <a:lnTo>
                    <a:pt x="209" y="628"/>
                  </a:lnTo>
                  <a:lnTo>
                    <a:pt x="185" y="581"/>
                  </a:lnTo>
                  <a:lnTo>
                    <a:pt x="185" y="624"/>
                  </a:lnTo>
                  <a:lnTo>
                    <a:pt x="154" y="655"/>
                  </a:lnTo>
                  <a:lnTo>
                    <a:pt x="86" y="652"/>
                  </a:lnTo>
                  <a:lnTo>
                    <a:pt x="35" y="585"/>
                  </a:lnTo>
                  <a:lnTo>
                    <a:pt x="62" y="549"/>
                  </a:lnTo>
                  <a:lnTo>
                    <a:pt x="24" y="554"/>
                  </a:lnTo>
                  <a:lnTo>
                    <a:pt x="0" y="514"/>
                  </a:lnTo>
                  <a:lnTo>
                    <a:pt x="27" y="486"/>
                  </a:lnTo>
                  <a:lnTo>
                    <a:pt x="118" y="486"/>
                  </a:lnTo>
                  <a:lnTo>
                    <a:pt x="123" y="447"/>
                  </a:lnTo>
                  <a:lnTo>
                    <a:pt x="75" y="383"/>
                  </a:lnTo>
                  <a:lnTo>
                    <a:pt x="35" y="344"/>
                  </a:lnTo>
                  <a:lnTo>
                    <a:pt x="51" y="296"/>
                  </a:lnTo>
                  <a:lnTo>
                    <a:pt x="79" y="269"/>
                  </a:lnTo>
                  <a:lnTo>
                    <a:pt x="158" y="296"/>
                  </a:lnTo>
                  <a:lnTo>
                    <a:pt x="169" y="265"/>
                  </a:lnTo>
                  <a:lnTo>
                    <a:pt x="174" y="229"/>
                  </a:lnTo>
                  <a:lnTo>
                    <a:pt x="224" y="186"/>
                  </a:lnTo>
                  <a:lnTo>
                    <a:pt x="241" y="142"/>
                  </a:lnTo>
                  <a:lnTo>
                    <a:pt x="272" y="111"/>
                  </a:lnTo>
                  <a:lnTo>
                    <a:pt x="268" y="39"/>
                  </a:lnTo>
                  <a:lnTo>
                    <a:pt x="331" y="0"/>
                  </a:lnTo>
                  <a:lnTo>
                    <a:pt x="384" y="4"/>
                  </a:lnTo>
                  <a:lnTo>
                    <a:pt x="418" y="31"/>
                  </a:lnTo>
                  <a:lnTo>
                    <a:pt x="418" y="114"/>
                  </a:lnTo>
                  <a:lnTo>
                    <a:pt x="486" y="127"/>
                  </a:lnTo>
                  <a:lnTo>
                    <a:pt x="526" y="166"/>
                  </a:lnTo>
                  <a:lnTo>
                    <a:pt x="533" y="245"/>
                  </a:lnTo>
                  <a:lnTo>
                    <a:pt x="568" y="289"/>
                  </a:lnTo>
                  <a:lnTo>
                    <a:pt x="624" y="304"/>
                  </a:lnTo>
                  <a:lnTo>
                    <a:pt x="695" y="332"/>
                  </a:lnTo>
                  <a:lnTo>
                    <a:pt x="750" y="344"/>
                  </a:lnTo>
                  <a:lnTo>
                    <a:pt x="791" y="368"/>
                  </a:lnTo>
                  <a:lnTo>
                    <a:pt x="841" y="363"/>
                  </a:lnTo>
                  <a:lnTo>
                    <a:pt x="885" y="363"/>
                  </a:lnTo>
                  <a:lnTo>
                    <a:pt x="909" y="316"/>
                  </a:lnTo>
                  <a:lnTo>
                    <a:pt x="932" y="272"/>
                  </a:lnTo>
                  <a:lnTo>
                    <a:pt x="983" y="296"/>
                  </a:lnTo>
                  <a:lnTo>
                    <a:pt x="1058" y="295"/>
                  </a:lnTo>
                  <a:lnTo>
                    <a:pt x="1082" y="260"/>
                  </a:lnTo>
                  <a:lnTo>
                    <a:pt x="1137" y="230"/>
                  </a:lnTo>
                  <a:lnTo>
                    <a:pt x="1209" y="230"/>
                  </a:lnTo>
                  <a:lnTo>
                    <a:pt x="1261" y="257"/>
                  </a:lnTo>
                  <a:lnTo>
                    <a:pt x="1292" y="305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24" name="Freeform 53"/>
            <p:cNvSpPr>
              <a:spLocks noChangeAspect="1"/>
            </p:cNvSpPr>
            <p:nvPr/>
          </p:nvSpPr>
          <p:spPr bwMode="auto">
            <a:xfrm>
              <a:off x="3043089" y="3594986"/>
              <a:ext cx="144176" cy="161522"/>
            </a:xfrm>
            <a:custGeom>
              <a:avLst/>
              <a:gdLst/>
              <a:ahLst/>
              <a:cxnLst>
                <a:cxn ang="0">
                  <a:pos x="244" y="233"/>
                </a:cxn>
                <a:cxn ang="0">
                  <a:pos x="226" y="272"/>
                </a:cxn>
                <a:cxn ang="0">
                  <a:pos x="198" y="262"/>
                </a:cxn>
                <a:cxn ang="0">
                  <a:pos x="164" y="213"/>
                </a:cxn>
                <a:cxn ang="0">
                  <a:pos x="170" y="169"/>
                </a:cxn>
                <a:cxn ang="0">
                  <a:pos x="143" y="130"/>
                </a:cxn>
                <a:cxn ang="0">
                  <a:pos x="130" y="165"/>
                </a:cxn>
                <a:cxn ang="0">
                  <a:pos x="91" y="186"/>
                </a:cxn>
                <a:cxn ang="0">
                  <a:pos x="87" y="237"/>
                </a:cxn>
                <a:cxn ang="0">
                  <a:pos x="36" y="228"/>
                </a:cxn>
                <a:cxn ang="0">
                  <a:pos x="31" y="106"/>
                </a:cxn>
                <a:cxn ang="0">
                  <a:pos x="0" y="98"/>
                </a:cxn>
                <a:cxn ang="0">
                  <a:pos x="31" y="0"/>
                </a:cxn>
                <a:cxn ang="0">
                  <a:pos x="87" y="39"/>
                </a:cxn>
                <a:cxn ang="0">
                  <a:pos x="134" y="47"/>
                </a:cxn>
                <a:cxn ang="0">
                  <a:pos x="189" y="79"/>
                </a:cxn>
                <a:cxn ang="0">
                  <a:pos x="198" y="134"/>
                </a:cxn>
                <a:cxn ang="0">
                  <a:pos x="217" y="209"/>
                </a:cxn>
                <a:cxn ang="0">
                  <a:pos x="244" y="233"/>
                </a:cxn>
              </a:cxnLst>
              <a:rect l="0" t="0" r="r" b="b"/>
              <a:pathLst>
                <a:path w="244" h="272">
                  <a:moveTo>
                    <a:pt x="244" y="233"/>
                  </a:moveTo>
                  <a:lnTo>
                    <a:pt x="226" y="272"/>
                  </a:lnTo>
                  <a:lnTo>
                    <a:pt x="198" y="262"/>
                  </a:lnTo>
                  <a:lnTo>
                    <a:pt x="164" y="213"/>
                  </a:lnTo>
                  <a:lnTo>
                    <a:pt x="170" y="169"/>
                  </a:lnTo>
                  <a:lnTo>
                    <a:pt x="143" y="130"/>
                  </a:lnTo>
                  <a:lnTo>
                    <a:pt x="130" y="165"/>
                  </a:lnTo>
                  <a:lnTo>
                    <a:pt x="91" y="186"/>
                  </a:lnTo>
                  <a:lnTo>
                    <a:pt x="87" y="237"/>
                  </a:lnTo>
                  <a:lnTo>
                    <a:pt x="36" y="228"/>
                  </a:lnTo>
                  <a:lnTo>
                    <a:pt x="31" y="106"/>
                  </a:lnTo>
                  <a:lnTo>
                    <a:pt x="0" y="98"/>
                  </a:lnTo>
                  <a:lnTo>
                    <a:pt x="31" y="0"/>
                  </a:lnTo>
                  <a:lnTo>
                    <a:pt x="87" y="39"/>
                  </a:lnTo>
                  <a:lnTo>
                    <a:pt x="134" y="47"/>
                  </a:lnTo>
                  <a:lnTo>
                    <a:pt x="189" y="79"/>
                  </a:lnTo>
                  <a:lnTo>
                    <a:pt x="198" y="134"/>
                  </a:lnTo>
                  <a:lnTo>
                    <a:pt x="217" y="209"/>
                  </a:lnTo>
                  <a:lnTo>
                    <a:pt x="244" y="23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25" name="Freeform 54"/>
            <p:cNvSpPr>
              <a:spLocks noChangeAspect="1"/>
            </p:cNvSpPr>
            <p:nvPr/>
          </p:nvSpPr>
          <p:spPr bwMode="auto">
            <a:xfrm>
              <a:off x="3043089" y="3594986"/>
              <a:ext cx="144176" cy="161522"/>
            </a:xfrm>
            <a:custGeom>
              <a:avLst/>
              <a:gdLst/>
              <a:ahLst/>
              <a:cxnLst>
                <a:cxn ang="0">
                  <a:pos x="244" y="233"/>
                </a:cxn>
                <a:cxn ang="0">
                  <a:pos x="226" y="272"/>
                </a:cxn>
                <a:cxn ang="0">
                  <a:pos x="198" y="262"/>
                </a:cxn>
                <a:cxn ang="0">
                  <a:pos x="164" y="213"/>
                </a:cxn>
                <a:cxn ang="0">
                  <a:pos x="170" y="169"/>
                </a:cxn>
                <a:cxn ang="0">
                  <a:pos x="143" y="130"/>
                </a:cxn>
                <a:cxn ang="0">
                  <a:pos x="130" y="165"/>
                </a:cxn>
                <a:cxn ang="0">
                  <a:pos x="91" y="186"/>
                </a:cxn>
                <a:cxn ang="0">
                  <a:pos x="87" y="237"/>
                </a:cxn>
                <a:cxn ang="0">
                  <a:pos x="36" y="228"/>
                </a:cxn>
                <a:cxn ang="0">
                  <a:pos x="31" y="106"/>
                </a:cxn>
                <a:cxn ang="0">
                  <a:pos x="0" y="98"/>
                </a:cxn>
                <a:cxn ang="0">
                  <a:pos x="31" y="0"/>
                </a:cxn>
                <a:cxn ang="0">
                  <a:pos x="87" y="39"/>
                </a:cxn>
                <a:cxn ang="0">
                  <a:pos x="134" y="47"/>
                </a:cxn>
                <a:cxn ang="0">
                  <a:pos x="189" y="79"/>
                </a:cxn>
                <a:cxn ang="0">
                  <a:pos x="198" y="134"/>
                </a:cxn>
                <a:cxn ang="0">
                  <a:pos x="217" y="209"/>
                </a:cxn>
                <a:cxn ang="0">
                  <a:pos x="244" y="233"/>
                </a:cxn>
              </a:cxnLst>
              <a:rect l="0" t="0" r="r" b="b"/>
              <a:pathLst>
                <a:path w="244" h="272">
                  <a:moveTo>
                    <a:pt x="244" y="233"/>
                  </a:moveTo>
                  <a:lnTo>
                    <a:pt x="226" y="272"/>
                  </a:lnTo>
                  <a:lnTo>
                    <a:pt x="198" y="262"/>
                  </a:lnTo>
                  <a:lnTo>
                    <a:pt x="164" y="213"/>
                  </a:lnTo>
                  <a:lnTo>
                    <a:pt x="170" y="169"/>
                  </a:lnTo>
                  <a:lnTo>
                    <a:pt x="143" y="130"/>
                  </a:lnTo>
                  <a:lnTo>
                    <a:pt x="130" y="165"/>
                  </a:lnTo>
                  <a:lnTo>
                    <a:pt x="91" y="186"/>
                  </a:lnTo>
                  <a:lnTo>
                    <a:pt x="87" y="237"/>
                  </a:lnTo>
                  <a:lnTo>
                    <a:pt x="36" y="228"/>
                  </a:lnTo>
                  <a:lnTo>
                    <a:pt x="31" y="106"/>
                  </a:lnTo>
                  <a:lnTo>
                    <a:pt x="0" y="98"/>
                  </a:lnTo>
                  <a:lnTo>
                    <a:pt x="31" y="0"/>
                  </a:lnTo>
                  <a:lnTo>
                    <a:pt x="87" y="39"/>
                  </a:lnTo>
                  <a:lnTo>
                    <a:pt x="134" y="47"/>
                  </a:lnTo>
                  <a:lnTo>
                    <a:pt x="189" y="79"/>
                  </a:lnTo>
                  <a:lnTo>
                    <a:pt x="198" y="134"/>
                  </a:lnTo>
                  <a:lnTo>
                    <a:pt x="217" y="209"/>
                  </a:lnTo>
                  <a:lnTo>
                    <a:pt x="244" y="233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26" name="Freeform 55"/>
            <p:cNvSpPr>
              <a:spLocks noChangeAspect="1"/>
            </p:cNvSpPr>
            <p:nvPr/>
          </p:nvSpPr>
          <p:spPr bwMode="auto">
            <a:xfrm>
              <a:off x="428593" y="3286142"/>
              <a:ext cx="274285" cy="260920"/>
            </a:xfrm>
            <a:custGeom>
              <a:avLst/>
              <a:gdLst/>
              <a:ahLst/>
              <a:cxnLst>
                <a:cxn ang="0">
                  <a:pos x="375" y="61"/>
                </a:cxn>
                <a:cxn ang="0">
                  <a:pos x="428" y="51"/>
                </a:cxn>
                <a:cxn ang="0">
                  <a:pos x="463" y="87"/>
                </a:cxn>
                <a:cxn ang="0">
                  <a:pos x="439" y="130"/>
                </a:cxn>
                <a:cxn ang="0">
                  <a:pos x="467" y="146"/>
                </a:cxn>
                <a:cxn ang="0">
                  <a:pos x="447" y="225"/>
                </a:cxn>
                <a:cxn ang="0">
                  <a:pos x="395" y="229"/>
                </a:cxn>
                <a:cxn ang="0">
                  <a:pos x="388" y="260"/>
                </a:cxn>
                <a:cxn ang="0">
                  <a:pos x="412" y="284"/>
                </a:cxn>
                <a:cxn ang="0">
                  <a:pos x="353" y="336"/>
                </a:cxn>
                <a:cxn ang="0">
                  <a:pos x="312" y="375"/>
                </a:cxn>
                <a:cxn ang="0">
                  <a:pos x="277" y="395"/>
                </a:cxn>
                <a:cxn ang="0">
                  <a:pos x="246" y="395"/>
                </a:cxn>
                <a:cxn ang="0">
                  <a:pos x="233" y="418"/>
                </a:cxn>
                <a:cxn ang="0">
                  <a:pos x="198" y="415"/>
                </a:cxn>
                <a:cxn ang="0">
                  <a:pos x="194" y="442"/>
                </a:cxn>
                <a:cxn ang="0">
                  <a:pos x="147" y="442"/>
                </a:cxn>
                <a:cxn ang="0">
                  <a:pos x="149" y="420"/>
                </a:cxn>
                <a:cxn ang="0">
                  <a:pos x="118" y="420"/>
                </a:cxn>
                <a:cxn ang="0">
                  <a:pos x="0" y="420"/>
                </a:cxn>
                <a:cxn ang="0">
                  <a:pos x="31" y="381"/>
                </a:cxn>
                <a:cxn ang="0">
                  <a:pos x="55" y="368"/>
                </a:cxn>
                <a:cxn ang="0">
                  <a:pos x="79" y="341"/>
                </a:cxn>
                <a:cxn ang="0">
                  <a:pos x="98" y="202"/>
                </a:cxn>
                <a:cxn ang="0">
                  <a:pos x="114" y="159"/>
                </a:cxn>
                <a:cxn ang="0">
                  <a:pos x="134" y="162"/>
                </a:cxn>
                <a:cxn ang="0">
                  <a:pos x="138" y="131"/>
                </a:cxn>
                <a:cxn ang="0">
                  <a:pos x="213" y="127"/>
                </a:cxn>
                <a:cxn ang="0">
                  <a:pos x="213" y="92"/>
                </a:cxn>
                <a:cxn ang="0">
                  <a:pos x="241" y="61"/>
                </a:cxn>
                <a:cxn ang="0">
                  <a:pos x="256" y="33"/>
                </a:cxn>
                <a:cxn ang="0">
                  <a:pos x="268" y="0"/>
                </a:cxn>
                <a:cxn ang="0">
                  <a:pos x="304" y="24"/>
                </a:cxn>
                <a:cxn ang="0">
                  <a:pos x="343" y="28"/>
                </a:cxn>
                <a:cxn ang="0">
                  <a:pos x="375" y="61"/>
                </a:cxn>
              </a:cxnLst>
              <a:rect l="0" t="0" r="r" b="b"/>
              <a:pathLst>
                <a:path w="467" h="442">
                  <a:moveTo>
                    <a:pt x="375" y="61"/>
                  </a:moveTo>
                  <a:lnTo>
                    <a:pt x="428" y="51"/>
                  </a:lnTo>
                  <a:lnTo>
                    <a:pt x="463" y="87"/>
                  </a:lnTo>
                  <a:lnTo>
                    <a:pt x="439" y="130"/>
                  </a:lnTo>
                  <a:lnTo>
                    <a:pt x="467" y="146"/>
                  </a:lnTo>
                  <a:lnTo>
                    <a:pt x="447" y="225"/>
                  </a:lnTo>
                  <a:lnTo>
                    <a:pt x="395" y="229"/>
                  </a:lnTo>
                  <a:lnTo>
                    <a:pt x="388" y="260"/>
                  </a:lnTo>
                  <a:lnTo>
                    <a:pt x="412" y="284"/>
                  </a:lnTo>
                  <a:lnTo>
                    <a:pt x="353" y="336"/>
                  </a:lnTo>
                  <a:lnTo>
                    <a:pt x="312" y="375"/>
                  </a:lnTo>
                  <a:lnTo>
                    <a:pt x="277" y="395"/>
                  </a:lnTo>
                  <a:lnTo>
                    <a:pt x="246" y="395"/>
                  </a:lnTo>
                  <a:lnTo>
                    <a:pt x="233" y="418"/>
                  </a:lnTo>
                  <a:lnTo>
                    <a:pt x="198" y="415"/>
                  </a:lnTo>
                  <a:lnTo>
                    <a:pt x="194" y="442"/>
                  </a:lnTo>
                  <a:lnTo>
                    <a:pt x="147" y="442"/>
                  </a:lnTo>
                  <a:lnTo>
                    <a:pt x="149" y="420"/>
                  </a:lnTo>
                  <a:lnTo>
                    <a:pt x="118" y="420"/>
                  </a:lnTo>
                  <a:lnTo>
                    <a:pt x="0" y="420"/>
                  </a:lnTo>
                  <a:lnTo>
                    <a:pt x="31" y="381"/>
                  </a:lnTo>
                  <a:lnTo>
                    <a:pt x="55" y="368"/>
                  </a:lnTo>
                  <a:lnTo>
                    <a:pt x="79" y="341"/>
                  </a:lnTo>
                  <a:lnTo>
                    <a:pt x="98" y="202"/>
                  </a:lnTo>
                  <a:lnTo>
                    <a:pt x="114" y="159"/>
                  </a:lnTo>
                  <a:lnTo>
                    <a:pt x="134" y="162"/>
                  </a:lnTo>
                  <a:lnTo>
                    <a:pt x="138" y="131"/>
                  </a:lnTo>
                  <a:lnTo>
                    <a:pt x="213" y="127"/>
                  </a:lnTo>
                  <a:lnTo>
                    <a:pt x="213" y="92"/>
                  </a:lnTo>
                  <a:lnTo>
                    <a:pt x="241" y="61"/>
                  </a:lnTo>
                  <a:lnTo>
                    <a:pt x="256" y="33"/>
                  </a:lnTo>
                  <a:lnTo>
                    <a:pt x="268" y="0"/>
                  </a:lnTo>
                  <a:lnTo>
                    <a:pt x="304" y="24"/>
                  </a:lnTo>
                  <a:lnTo>
                    <a:pt x="343" y="28"/>
                  </a:lnTo>
                  <a:lnTo>
                    <a:pt x="375" y="6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27" name="Freeform 56"/>
            <p:cNvSpPr>
              <a:spLocks noChangeAspect="1"/>
            </p:cNvSpPr>
            <p:nvPr/>
          </p:nvSpPr>
          <p:spPr bwMode="auto">
            <a:xfrm>
              <a:off x="428593" y="3286142"/>
              <a:ext cx="274285" cy="260920"/>
            </a:xfrm>
            <a:custGeom>
              <a:avLst/>
              <a:gdLst/>
              <a:ahLst/>
              <a:cxnLst>
                <a:cxn ang="0">
                  <a:pos x="375" y="61"/>
                </a:cxn>
                <a:cxn ang="0">
                  <a:pos x="428" y="51"/>
                </a:cxn>
                <a:cxn ang="0">
                  <a:pos x="463" y="87"/>
                </a:cxn>
                <a:cxn ang="0">
                  <a:pos x="439" y="130"/>
                </a:cxn>
                <a:cxn ang="0">
                  <a:pos x="467" y="146"/>
                </a:cxn>
                <a:cxn ang="0">
                  <a:pos x="447" y="225"/>
                </a:cxn>
                <a:cxn ang="0">
                  <a:pos x="395" y="229"/>
                </a:cxn>
                <a:cxn ang="0">
                  <a:pos x="388" y="260"/>
                </a:cxn>
                <a:cxn ang="0">
                  <a:pos x="412" y="284"/>
                </a:cxn>
                <a:cxn ang="0">
                  <a:pos x="353" y="336"/>
                </a:cxn>
                <a:cxn ang="0">
                  <a:pos x="312" y="375"/>
                </a:cxn>
                <a:cxn ang="0">
                  <a:pos x="277" y="395"/>
                </a:cxn>
                <a:cxn ang="0">
                  <a:pos x="246" y="395"/>
                </a:cxn>
                <a:cxn ang="0">
                  <a:pos x="233" y="418"/>
                </a:cxn>
                <a:cxn ang="0">
                  <a:pos x="198" y="415"/>
                </a:cxn>
                <a:cxn ang="0">
                  <a:pos x="194" y="442"/>
                </a:cxn>
                <a:cxn ang="0">
                  <a:pos x="147" y="442"/>
                </a:cxn>
                <a:cxn ang="0">
                  <a:pos x="149" y="420"/>
                </a:cxn>
                <a:cxn ang="0">
                  <a:pos x="118" y="420"/>
                </a:cxn>
                <a:cxn ang="0">
                  <a:pos x="0" y="420"/>
                </a:cxn>
                <a:cxn ang="0">
                  <a:pos x="31" y="381"/>
                </a:cxn>
                <a:cxn ang="0">
                  <a:pos x="55" y="368"/>
                </a:cxn>
                <a:cxn ang="0">
                  <a:pos x="79" y="341"/>
                </a:cxn>
                <a:cxn ang="0">
                  <a:pos x="98" y="202"/>
                </a:cxn>
                <a:cxn ang="0">
                  <a:pos x="114" y="159"/>
                </a:cxn>
                <a:cxn ang="0">
                  <a:pos x="134" y="162"/>
                </a:cxn>
                <a:cxn ang="0">
                  <a:pos x="138" y="131"/>
                </a:cxn>
                <a:cxn ang="0">
                  <a:pos x="213" y="127"/>
                </a:cxn>
                <a:cxn ang="0">
                  <a:pos x="213" y="92"/>
                </a:cxn>
                <a:cxn ang="0">
                  <a:pos x="241" y="61"/>
                </a:cxn>
                <a:cxn ang="0">
                  <a:pos x="256" y="33"/>
                </a:cxn>
                <a:cxn ang="0">
                  <a:pos x="268" y="0"/>
                </a:cxn>
                <a:cxn ang="0">
                  <a:pos x="304" y="24"/>
                </a:cxn>
                <a:cxn ang="0">
                  <a:pos x="343" y="28"/>
                </a:cxn>
                <a:cxn ang="0">
                  <a:pos x="375" y="61"/>
                </a:cxn>
              </a:cxnLst>
              <a:rect l="0" t="0" r="r" b="b"/>
              <a:pathLst>
                <a:path w="467" h="442">
                  <a:moveTo>
                    <a:pt x="375" y="61"/>
                  </a:moveTo>
                  <a:lnTo>
                    <a:pt x="428" y="51"/>
                  </a:lnTo>
                  <a:lnTo>
                    <a:pt x="463" y="87"/>
                  </a:lnTo>
                  <a:lnTo>
                    <a:pt x="439" y="130"/>
                  </a:lnTo>
                  <a:lnTo>
                    <a:pt x="467" y="146"/>
                  </a:lnTo>
                  <a:lnTo>
                    <a:pt x="447" y="225"/>
                  </a:lnTo>
                  <a:lnTo>
                    <a:pt x="395" y="229"/>
                  </a:lnTo>
                  <a:lnTo>
                    <a:pt x="388" y="260"/>
                  </a:lnTo>
                  <a:lnTo>
                    <a:pt x="412" y="284"/>
                  </a:lnTo>
                  <a:lnTo>
                    <a:pt x="353" y="336"/>
                  </a:lnTo>
                  <a:lnTo>
                    <a:pt x="312" y="375"/>
                  </a:lnTo>
                  <a:lnTo>
                    <a:pt x="277" y="395"/>
                  </a:lnTo>
                  <a:lnTo>
                    <a:pt x="246" y="395"/>
                  </a:lnTo>
                  <a:lnTo>
                    <a:pt x="233" y="418"/>
                  </a:lnTo>
                  <a:lnTo>
                    <a:pt x="198" y="415"/>
                  </a:lnTo>
                  <a:lnTo>
                    <a:pt x="194" y="442"/>
                  </a:lnTo>
                  <a:lnTo>
                    <a:pt x="147" y="442"/>
                  </a:lnTo>
                  <a:lnTo>
                    <a:pt x="149" y="420"/>
                  </a:lnTo>
                  <a:lnTo>
                    <a:pt x="118" y="420"/>
                  </a:lnTo>
                  <a:lnTo>
                    <a:pt x="0" y="420"/>
                  </a:lnTo>
                  <a:lnTo>
                    <a:pt x="31" y="381"/>
                  </a:lnTo>
                  <a:lnTo>
                    <a:pt x="55" y="368"/>
                  </a:lnTo>
                  <a:lnTo>
                    <a:pt x="79" y="341"/>
                  </a:lnTo>
                  <a:lnTo>
                    <a:pt x="98" y="202"/>
                  </a:lnTo>
                  <a:lnTo>
                    <a:pt x="114" y="159"/>
                  </a:lnTo>
                  <a:lnTo>
                    <a:pt x="134" y="162"/>
                  </a:lnTo>
                  <a:lnTo>
                    <a:pt x="138" y="131"/>
                  </a:lnTo>
                  <a:lnTo>
                    <a:pt x="213" y="127"/>
                  </a:lnTo>
                  <a:lnTo>
                    <a:pt x="213" y="92"/>
                  </a:lnTo>
                  <a:lnTo>
                    <a:pt x="241" y="61"/>
                  </a:lnTo>
                  <a:lnTo>
                    <a:pt x="256" y="33"/>
                  </a:lnTo>
                  <a:lnTo>
                    <a:pt x="268" y="0"/>
                  </a:lnTo>
                  <a:lnTo>
                    <a:pt x="304" y="24"/>
                  </a:lnTo>
                  <a:lnTo>
                    <a:pt x="343" y="28"/>
                  </a:lnTo>
                  <a:lnTo>
                    <a:pt x="375" y="61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28" name="Freeform 57"/>
            <p:cNvSpPr>
              <a:spLocks noChangeAspect="1"/>
            </p:cNvSpPr>
            <p:nvPr/>
          </p:nvSpPr>
          <p:spPr bwMode="auto">
            <a:xfrm>
              <a:off x="514747" y="3241768"/>
              <a:ext cx="525713" cy="598163"/>
            </a:xfrm>
            <a:custGeom>
              <a:avLst/>
              <a:gdLst/>
              <a:ahLst/>
              <a:cxnLst>
                <a:cxn ang="0">
                  <a:pos x="281" y="127"/>
                </a:cxn>
                <a:cxn ang="0">
                  <a:pos x="316" y="163"/>
                </a:cxn>
                <a:cxn ang="0">
                  <a:pos x="292" y="206"/>
                </a:cxn>
                <a:cxn ang="0">
                  <a:pos x="320" y="222"/>
                </a:cxn>
                <a:cxn ang="0">
                  <a:pos x="300" y="301"/>
                </a:cxn>
                <a:cxn ang="0">
                  <a:pos x="248" y="305"/>
                </a:cxn>
                <a:cxn ang="0">
                  <a:pos x="241" y="336"/>
                </a:cxn>
                <a:cxn ang="0">
                  <a:pos x="265" y="360"/>
                </a:cxn>
                <a:cxn ang="0">
                  <a:pos x="206" y="412"/>
                </a:cxn>
                <a:cxn ang="0">
                  <a:pos x="165" y="451"/>
                </a:cxn>
                <a:cxn ang="0">
                  <a:pos x="130" y="471"/>
                </a:cxn>
                <a:cxn ang="0">
                  <a:pos x="99" y="471"/>
                </a:cxn>
                <a:cxn ang="0">
                  <a:pos x="86" y="494"/>
                </a:cxn>
                <a:cxn ang="0">
                  <a:pos x="51" y="491"/>
                </a:cxn>
                <a:cxn ang="0">
                  <a:pos x="47" y="518"/>
                </a:cxn>
                <a:cxn ang="0">
                  <a:pos x="0" y="518"/>
                </a:cxn>
                <a:cxn ang="0">
                  <a:pos x="94" y="633"/>
                </a:cxn>
                <a:cxn ang="0">
                  <a:pos x="142" y="664"/>
                </a:cxn>
                <a:cxn ang="0">
                  <a:pos x="458" y="918"/>
                </a:cxn>
                <a:cxn ang="0">
                  <a:pos x="502" y="938"/>
                </a:cxn>
                <a:cxn ang="0">
                  <a:pos x="513" y="1012"/>
                </a:cxn>
                <a:cxn ang="0">
                  <a:pos x="553" y="1004"/>
                </a:cxn>
                <a:cxn ang="0">
                  <a:pos x="558" y="979"/>
                </a:cxn>
                <a:cxn ang="0">
                  <a:pos x="634" y="975"/>
                </a:cxn>
                <a:cxn ang="0">
                  <a:pos x="665" y="940"/>
                </a:cxn>
                <a:cxn ang="0">
                  <a:pos x="693" y="924"/>
                </a:cxn>
                <a:cxn ang="0">
                  <a:pos x="700" y="893"/>
                </a:cxn>
                <a:cxn ang="0">
                  <a:pos x="776" y="869"/>
                </a:cxn>
                <a:cxn ang="0">
                  <a:pos x="796" y="837"/>
                </a:cxn>
                <a:cxn ang="0">
                  <a:pos x="835" y="806"/>
                </a:cxn>
                <a:cxn ang="0">
                  <a:pos x="882" y="786"/>
                </a:cxn>
                <a:cxn ang="0">
                  <a:pos x="897" y="767"/>
                </a:cxn>
                <a:cxn ang="0">
                  <a:pos x="889" y="719"/>
                </a:cxn>
                <a:cxn ang="0">
                  <a:pos x="818" y="708"/>
                </a:cxn>
                <a:cxn ang="0">
                  <a:pos x="794" y="684"/>
                </a:cxn>
                <a:cxn ang="0">
                  <a:pos x="791" y="629"/>
                </a:cxn>
                <a:cxn ang="0">
                  <a:pos x="802" y="321"/>
                </a:cxn>
                <a:cxn ang="0">
                  <a:pos x="774" y="320"/>
                </a:cxn>
                <a:cxn ang="0">
                  <a:pos x="763" y="270"/>
                </a:cxn>
                <a:cxn ang="0">
                  <a:pos x="723" y="253"/>
                </a:cxn>
                <a:cxn ang="0">
                  <a:pos x="703" y="202"/>
                </a:cxn>
                <a:cxn ang="0">
                  <a:pos x="715" y="154"/>
                </a:cxn>
                <a:cxn ang="0">
                  <a:pos x="758" y="139"/>
                </a:cxn>
                <a:cxn ang="0">
                  <a:pos x="735" y="103"/>
                </a:cxn>
                <a:cxn ang="0">
                  <a:pos x="743" y="68"/>
                </a:cxn>
                <a:cxn ang="0">
                  <a:pos x="763" y="68"/>
                </a:cxn>
                <a:cxn ang="0">
                  <a:pos x="754" y="9"/>
                </a:cxn>
                <a:cxn ang="0">
                  <a:pos x="617" y="0"/>
                </a:cxn>
                <a:cxn ang="0">
                  <a:pos x="555" y="7"/>
                </a:cxn>
                <a:cxn ang="0">
                  <a:pos x="503" y="27"/>
                </a:cxn>
                <a:cxn ang="0">
                  <a:pos x="404" y="35"/>
                </a:cxn>
                <a:cxn ang="0">
                  <a:pos x="369" y="66"/>
                </a:cxn>
                <a:cxn ang="0">
                  <a:pos x="301" y="79"/>
                </a:cxn>
                <a:cxn ang="0">
                  <a:pos x="281" y="127"/>
                </a:cxn>
              </a:cxnLst>
              <a:rect l="0" t="0" r="r" b="b"/>
              <a:pathLst>
                <a:path w="897" h="1012">
                  <a:moveTo>
                    <a:pt x="281" y="127"/>
                  </a:moveTo>
                  <a:lnTo>
                    <a:pt x="316" y="163"/>
                  </a:lnTo>
                  <a:lnTo>
                    <a:pt x="292" y="206"/>
                  </a:lnTo>
                  <a:lnTo>
                    <a:pt x="320" y="222"/>
                  </a:lnTo>
                  <a:lnTo>
                    <a:pt x="300" y="301"/>
                  </a:lnTo>
                  <a:lnTo>
                    <a:pt x="248" y="305"/>
                  </a:lnTo>
                  <a:lnTo>
                    <a:pt x="241" y="336"/>
                  </a:lnTo>
                  <a:lnTo>
                    <a:pt x="265" y="360"/>
                  </a:lnTo>
                  <a:lnTo>
                    <a:pt x="206" y="412"/>
                  </a:lnTo>
                  <a:lnTo>
                    <a:pt x="165" y="451"/>
                  </a:lnTo>
                  <a:lnTo>
                    <a:pt x="130" y="471"/>
                  </a:lnTo>
                  <a:lnTo>
                    <a:pt x="99" y="471"/>
                  </a:lnTo>
                  <a:lnTo>
                    <a:pt x="86" y="494"/>
                  </a:lnTo>
                  <a:lnTo>
                    <a:pt x="51" y="491"/>
                  </a:lnTo>
                  <a:lnTo>
                    <a:pt x="47" y="518"/>
                  </a:lnTo>
                  <a:lnTo>
                    <a:pt x="0" y="518"/>
                  </a:lnTo>
                  <a:lnTo>
                    <a:pt x="94" y="633"/>
                  </a:lnTo>
                  <a:lnTo>
                    <a:pt x="142" y="664"/>
                  </a:lnTo>
                  <a:lnTo>
                    <a:pt x="458" y="918"/>
                  </a:lnTo>
                  <a:lnTo>
                    <a:pt x="502" y="938"/>
                  </a:lnTo>
                  <a:lnTo>
                    <a:pt x="513" y="1012"/>
                  </a:lnTo>
                  <a:lnTo>
                    <a:pt x="553" y="1004"/>
                  </a:lnTo>
                  <a:lnTo>
                    <a:pt x="558" y="979"/>
                  </a:lnTo>
                  <a:lnTo>
                    <a:pt x="634" y="975"/>
                  </a:lnTo>
                  <a:lnTo>
                    <a:pt x="665" y="940"/>
                  </a:lnTo>
                  <a:lnTo>
                    <a:pt x="693" y="924"/>
                  </a:lnTo>
                  <a:lnTo>
                    <a:pt x="700" y="893"/>
                  </a:lnTo>
                  <a:lnTo>
                    <a:pt x="776" y="869"/>
                  </a:lnTo>
                  <a:lnTo>
                    <a:pt x="796" y="837"/>
                  </a:lnTo>
                  <a:lnTo>
                    <a:pt x="835" y="806"/>
                  </a:lnTo>
                  <a:lnTo>
                    <a:pt x="882" y="786"/>
                  </a:lnTo>
                  <a:lnTo>
                    <a:pt x="897" y="767"/>
                  </a:lnTo>
                  <a:lnTo>
                    <a:pt x="889" y="719"/>
                  </a:lnTo>
                  <a:lnTo>
                    <a:pt x="818" y="708"/>
                  </a:lnTo>
                  <a:lnTo>
                    <a:pt x="794" y="684"/>
                  </a:lnTo>
                  <a:lnTo>
                    <a:pt x="791" y="629"/>
                  </a:lnTo>
                  <a:lnTo>
                    <a:pt x="802" y="321"/>
                  </a:lnTo>
                  <a:lnTo>
                    <a:pt x="774" y="320"/>
                  </a:lnTo>
                  <a:lnTo>
                    <a:pt x="763" y="270"/>
                  </a:lnTo>
                  <a:lnTo>
                    <a:pt x="723" y="253"/>
                  </a:lnTo>
                  <a:lnTo>
                    <a:pt x="703" y="202"/>
                  </a:lnTo>
                  <a:lnTo>
                    <a:pt x="715" y="154"/>
                  </a:lnTo>
                  <a:lnTo>
                    <a:pt x="758" y="139"/>
                  </a:lnTo>
                  <a:lnTo>
                    <a:pt x="735" y="103"/>
                  </a:lnTo>
                  <a:lnTo>
                    <a:pt x="743" y="68"/>
                  </a:lnTo>
                  <a:lnTo>
                    <a:pt x="763" y="68"/>
                  </a:lnTo>
                  <a:lnTo>
                    <a:pt x="754" y="9"/>
                  </a:lnTo>
                  <a:lnTo>
                    <a:pt x="617" y="0"/>
                  </a:lnTo>
                  <a:lnTo>
                    <a:pt x="555" y="7"/>
                  </a:lnTo>
                  <a:lnTo>
                    <a:pt x="503" y="27"/>
                  </a:lnTo>
                  <a:lnTo>
                    <a:pt x="404" y="35"/>
                  </a:lnTo>
                  <a:lnTo>
                    <a:pt x="369" y="66"/>
                  </a:lnTo>
                  <a:lnTo>
                    <a:pt x="301" y="79"/>
                  </a:lnTo>
                  <a:lnTo>
                    <a:pt x="281" y="12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29" name="Freeform 58"/>
            <p:cNvSpPr>
              <a:spLocks noChangeAspect="1"/>
            </p:cNvSpPr>
            <p:nvPr/>
          </p:nvSpPr>
          <p:spPr bwMode="auto">
            <a:xfrm>
              <a:off x="1861556" y="4782437"/>
              <a:ext cx="212747" cy="441966"/>
            </a:xfrm>
            <a:custGeom>
              <a:avLst/>
              <a:gdLst/>
              <a:ahLst/>
              <a:cxnLst>
                <a:cxn ang="0">
                  <a:pos x="275" y="10"/>
                </a:cxn>
                <a:cxn ang="0">
                  <a:pos x="273" y="75"/>
                </a:cxn>
                <a:cxn ang="0">
                  <a:pos x="255" y="83"/>
                </a:cxn>
                <a:cxn ang="0">
                  <a:pos x="250" y="132"/>
                </a:cxn>
                <a:cxn ang="0">
                  <a:pos x="220" y="132"/>
                </a:cxn>
                <a:cxn ang="0">
                  <a:pos x="210" y="148"/>
                </a:cxn>
                <a:cxn ang="0">
                  <a:pos x="203" y="177"/>
                </a:cxn>
                <a:cxn ang="0">
                  <a:pos x="176" y="197"/>
                </a:cxn>
                <a:cxn ang="0">
                  <a:pos x="167" y="224"/>
                </a:cxn>
                <a:cxn ang="0">
                  <a:pos x="149" y="220"/>
                </a:cxn>
                <a:cxn ang="0">
                  <a:pos x="145" y="191"/>
                </a:cxn>
                <a:cxn ang="0">
                  <a:pos x="116" y="193"/>
                </a:cxn>
                <a:cxn ang="0">
                  <a:pos x="110" y="215"/>
                </a:cxn>
                <a:cxn ang="0">
                  <a:pos x="80" y="225"/>
                </a:cxn>
                <a:cxn ang="0">
                  <a:pos x="72" y="265"/>
                </a:cxn>
                <a:cxn ang="0">
                  <a:pos x="54" y="270"/>
                </a:cxn>
                <a:cxn ang="0">
                  <a:pos x="62" y="401"/>
                </a:cxn>
                <a:cxn ang="0">
                  <a:pos x="76" y="403"/>
                </a:cxn>
                <a:cxn ang="0">
                  <a:pos x="80" y="438"/>
                </a:cxn>
                <a:cxn ang="0">
                  <a:pos x="65" y="455"/>
                </a:cxn>
                <a:cxn ang="0">
                  <a:pos x="54" y="496"/>
                </a:cxn>
                <a:cxn ang="0">
                  <a:pos x="31" y="506"/>
                </a:cxn>
                <a:cxn ang="0">
                  <a:pos x="27" y="527"/>
                </a:cxn>
                <a:cxn ang="0">
                  <a:pos x="0" y="537"/>
                </a:cxn>
                <a:cxn ang="0">
                  <a:pos x="3" y="599"/>
                </a:cxn>
                <a:cxn ang="0">
                  <a:pos x="37" y="596"/>
                </a:cxn>
                <a:cxn ang="0">
                  <a:pos x="34" y="717"/>
                </a:cxn>
                <a:cxn ang="0">
                  <a:pos x="65" y="717"/>
                </a:cxn>
                <a:cxn ang="0">
                  <a:pos x="80" y="737"/>
                </a:cxn>
                <a:cxn ang="0">
                  <a:pos x="103" y="747"/>
                </a:cxn>
                <a:cxn ang="0">
                  <a:pos x="131" y="720"/>
                </a:cxn>
                <a:cxn ang="0">
                  <a:pos x="162" y="716"/>
                </a:cxn>
                <a:cxn ang="0">
                  <a:pos x="185" y="699"/>
                </a:cxn>
                <a:cxn ang="0">
                  <a:pos x="210" y="686"/>
                </a:cxn>
                <a:cxn ang="0">
                  <a:pos x="218" y="627"/>
                </a:cxn>
                <a:cxn ang="0">
                  <a:pos x="242" y="617"/>
                </a:cxn>
                <a:cxn ang="0">
                  <a:pos x="245" y="537"/>
                </a:cxn>
                <a:cxn ang="0">
                  <a:pos x="259" y="527"/>
                </a:cxn>
                <a:cxn ang="0">
                  <a:pos x="258" y="417"/>
                </a:cxn>
                <a:cxn ang="0">
                  <a:pos x="292" y="397"/>
                </a:cxn>
                <a:cxn ang="0">
                  <a:pos x="309" y="377"/>
                </a:cxn>
                <a:cxn ang="0">
                  <a:pos x="309" y="289"/>
                </a:cxn>
                <a:cxn ang="0">
                  <a:pos x="333" y="272"/>
                </a:cxn>
                <a:cxn ang="0">
                  <a:pos x="338" y="203"/>
                </a:cxn>
                <a:cxn ang="0">
                  <a:pos x="358" y="203"/>
                </a:cxn>
                <a:cxn ang="0">
                  <a:pos x="362" y="90"/>
                </a:cxn>
                <a:cxn ang="0">
                  <a:pos x="333" y="75"/>
                </a:cxn>
                <a:cxn ang="0">
                  <a:pos x="331" y="20"/>
                </a:cxn>
                <a:cxn ang="0">
                  <a:pos x="302" y="0"/>
                </a:cxn>
                <a:cxn ang="0">
                  <a:pos x="275" y="10"/>
                </a:cxn>
              </a:cxnLst>
              <a:rect l="0" t="0" r="r" b="b"/>
              <a:pathLst>
                <a:path w="362" h="747">
                  <a:moveTo>
                    <a:pt x="275" y="10"/>
                  </a:moveTo>
                  <a:lnTo>
                    <a:pt x="273" y="75"/>
                  </a:lnTo>
                  <a:lnTo>
                    <a:pt x="255" y="83"/>
                  </a:lnTo>
                  <a:lnTo>
                    <a:pt x="250" y="132"/>
                  </a:lnTo>
                  <a:lnTo>
                    <a:pt x="220" y="132"/>
                  </a:lnTo>
                  <a:lnTo>
                    <a:pt x="210" y="148"/>
                  </a:lnTo>
                  <a:lnTo>
                    <a:pt x="203" y="177"/>
                  </a:lnTo>
                  <a:lnTo>
                    <a:pt x="176" y="197"/>
                  </a:lnTo>
                  <a:lnTo>
                    <a:pt x="167" y="224"/>
                  </a:lnTo>
                  <a:lnTo>
                    <a:pt x="149" y="220"/>
                  </a:lnTo>
                  <a:lnTo>
                    <a:pt x="145" y="191"/>
                  </a:lnTo>
                  <a:lnTo>
                    <a:pt x="116" y="193"/>
                  </a:lnTo>
                  <a:lnTo>
                    <a:pt x="110" y="215"/>
                  </a:lnTo>
                  <a:lnTo>
                    <a:pt x="80" y="225"/>
                  </a:lnTo>
                  <a:lnTo>
                    <a:pt x="72" y="265"/>
                  </a:lnTo>
                  <a:lnTo>
                    <a:pt x="54" y="270"/>
                  </a:lnTo>
                  <a:lnTo>
                    <a:pt x="62" y="401"/>
                  </a:lnTo>
                  <a:lnTo>
                    <a:pt x="76" y="403"/>
                  </a:lnTo>
                  <a:lnTo>
                    <a:pt x="80" y="438"/>
                  </a:lnTo>
                  <a:lnTo>
                    <a:pt x="65" y="455"/>
                  </a:lnTo>
                  <a:lnTo>
                    <a:pt x="54" y="496"/>
                  </a:lnTo>
                  <a:lnTo>
                    <a:pt x="31" y="506"/>
                  </a:lnTo>
                  <a:lnTo>
                    <a:pt x="27" y="527"/>
                  </a:lnTo>
                  <a:lnTo>
                    <a:pt x="0" y="537"/>
                  </a:lnTo>
                  <a:lnTo>
                    <a:pt x="3" y="599"/>
                  </a:lnTo>
                  <a:lnTo>
                    <a:pt x="37" y="596"/>
                  </a:lnTo>
                  <a:lnTo>
                    <a:pt x="34" y="717"/>
                  </a:lnTo>
                  <a:lnTo>
                    <a:pt x="65" y="717"/>
                  </a:lnTo>
                  <a:lnTo>
                    <a:pt x="80" y="737"/>
                  </a:lnTo>
                  <a:lnTo>
                    <a:pt x="103" y="747"/>
                  </a:lnTo>
                  <a:lnTo>
                    <a:pt x="131" y="720"/>
                  </a:lnTo>
                  <a:lnTo>
                    <a:pt x="162" y="716"/>
                  </a:lnTo>
                  <a:lnTo>
                    <a:pt x="185" y="699"/>
                  </a:lnTo>
                  <a:lnTo>
                    <a:pt x="210" y="686"/>
                  </a:lnTo>
                  <a:lnTo>
                    <a:pt x="218" y="627"/>
                  </a:lnTo>
                  <a:lnTo>
                    <a:pt x="242" y="617"/>
                  </a:lnTo>
                  <a:lnTo>
                    <a:pt x="245" y="537"/>
                  </a:lnTo>
                  <a:lnTo>
                    <a:pt x="259" y="527"/>
                  </a:lnTo>
                  <a:lnTo>
                    <a:pt x="258" y="417"/>
                  </a:lnTo>
                  <a:lnTo>
                    <a:pt x="292" y="397"/>
                  </a:lnTo>
                  <a:lnTo>
                    <a:pt x="309" y="377"/>
                  </a:lnTo>
                  <a:lnTo>
                    <a:pt x="309" y="289"/>
                  </a:lnTo>
                  <a:lnTo>
                    <a:pt x="333" y="272"/>
                  </a:lnTo>
                  <a:lnTo>
                    <a:pt x="338" y="203"/>
                  </a:lnTo>
                  <a:lnTo>
                    <a:pt x="358" y="203"/>
                  </a:lnTo>
                  <a:lnTo>
                    <a:pt x="362" y="90"/>
                  </a:lnTo>
                  <a:lnTo>
                    <a:pt x="333" y="75"/>
                  </a:lnTo>
                  <a:lnTo>
                    <a:pt x="331" y="20"/>
                  </a:lnTo>
                  <a:lnTo>
                    <a:pt x="302" y="0"/>
                  </a:lnTo>
                  <a:lnTo>
                    <a:pt x="275" y="1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30" name="Freeform 59"/>
            <p:cNvSpPr>
              <a:spLocks noChangeAspect="1"/>
            </p:cNvSpPr>
            <p:nvPr/>
          </p:nvSpPr>
          <p:spPr bwMode="auto">
            <a:xfrm>
              <a:off x="913866" y="3996128"/>
              <a:ext cx="253186" cy="390492"/>
            </a:xfrm>
            <a:custGeom>
              <a:avLst/>
              <a:gdLst/>
              <a:ahLst/>
              <a:cxnLst>
                <a:cxn ang="0">
                  <a:pos x="0" y="497"/>
                </a:cxn>
                <a:cxn ang="0">
                  <a:pos x="86" y="428"/>
                </a:cxn>
                <a:cxn ang="0">
                  <a:pos x="113" y="393"/>
                </a:cxn>
                <a:cxn ang="0">
                  <a:pos x="150" y="358"/>
                </a:cxn>
                <a:cxn ang="0">
                  <a:pos x="199" y="321"/>
                </a:cxn>
                <a:cxn ang="0">
                  <a:pos x="230" y="270"/>
                </a:cxn>
                <a:cxn ang="0">
                  <a:pos x="251" y="181"/>
                </a:cxn>
                <a:cxn ang="0">
                  <a:pos x="265" y="159"/>
                </a:cxn>
                <a:cxn ang="0">
                  <a:pos x="290" y="139"/>
                </a:cxn>
                <a:cxn ang="0">
                  <a:pos x="299" y="80"/>
                </a:cxn>
                <a:cxn ang="0">
                  <a:pos x="289" y="1"/>
                </a:cxn>
                <a:cxn ang="0">
                  <a:pos x="289" y="1"/>
                </a:cxn>
                <a:cxn ang="0">
                  <a:pos x="309" y="0"/>
                </a:cxn>
                <a:cxn ang="0">
                  <a:pos x="317" y="29"/>
                </a:cxn>
                <a:cxn ang="0">
                  <a:pos x="330" y="55"/>
                </a:cxn>
                <a:cxn ang="0">
                  <a:pos x="352" y="98"/>
                </a:cxn>
                <a:cxn ang="0">
                  <a:pos x="352" y="124"/>
                </a:cxn>
                <a:cxn ang="0">
                  <a:pos x="332" y="134"/>
                </a:cxn>
                <a:cxn ang="0">
                  <a:pos x="342" y="142"/>
                </a:cxn>
                <a:cxn ang="0">
                  <a:pos x="352" y="172"/>
                </a:cxn>
                <a:cxn ang="0">
                  <a:pos x="368" y="193"/>
                </a:cxn>
                <a:cxn ang="0">
                  <a:pos x="364" y="217"/>
                </a:cxn>
                <a:cxn ang="0">
                  <a:pos x="342" y="231"/>
                </a:cxn>
                <a:cxn ang="0">
                  <a:pos x="345" y="256"/>
                </a:cxn>
                <a:cxn ang="0">
                  <a:pos x="379" y="300"/>
                </a:cxn>
                <a:cxn ang="0">
                  <a:pos x="403" y="349"/>
                </a:cxn>
                <a:cxn ang="0">
                  <a:pos x="382" y="379"/>
                </a:cxn>
                <a:cxn ang="0">
                  <a:pos x="362" y="438"/>
                </a:cxn>
                <a:cxn ang="0">
                  <a:pos x="396" y="491"/>
                </a:cxn>
                <a:cxn ang="0">
                  <a:pos x="417" y="556"/>
                </a:cxn>
                <a:cxn ang="0">
                  <a:pos x="433" y="584"/>
                </a:cxn>
                <a:cxn ang="0">
                  <a:pos x="290" y="602"/>
                </a:cxn>
                <a:cxn ang="0">
                  <a:pos x="217" y="608"/>
                </a:cxn>
                <a:cxn ang="0">
                  <a:pos x="192" y="630"/>
                </a:cxn>
                <a:cxn ang="0">
                  <a:pos x="192" y="654"/>
                </a:cxn>
                <a:cxn ang="0">
                  <a:pos x="127" y="659"/>
                </a:cxn>
                <a:cxn ang="0">
                  <a:pos x="118" y="610"/>
                </a:cxn>
                <a:cxn ang="0">
                  <a:pos x="142" y="565"/>
                </a:cxn>
                <a:cxn ang="0">
                  <a:pos x="121" y="537"/>
                </a:cxn>
                <a:cxn ang="0">
                  <a:pos x="73" y="520"/>
                </a:cxn>
                <a:cxn ang="0">
                  <a:pos x="0" y="497"/>
                </a:cxn>
              </a:cxnLst>
              <a:rect l="0" t="0" r="r" b="b"/>
              <a:pathLst>
                <a:path w="433" h="659">
                  <a:moveTo>
                    <a:pt x="0" y="497"/>
                  </a:moveTo>
                  <a:lnTo>
                    <a:pt x="86" y="428"/>
                  </a:lnTo>
                  <a:lnTo>
                    <a:pt x="113" y="393"/>
                  </a:lnTo>
                  <a:lnTo>
                    <a:pt x="150" y="358"/>
                  </a:lnTo>
                  <a:lnTo>
                    <a:pt x="199" y="321"/>
                  </a:lnTo>
                  <a:lnTo>
                    <a:pt x="230" y="270"/>
                  </a:lnTo>
                  <a:lnTo>
                    <a:pt x="251" y="181"/>
                  </a:lnTo>
                  <a:lnTo>
                    <a:pt x="265" y="159"/>
                  </a:lnTo>
                  <a:lnTo>
                    <a:pt x="290" y="139"/>
                  </a:lnTo>
                  <a:lnTo>
                    <a:pt x="299" y="80"/>
                  </a:lnTo>
                  <a:lnTo>
                    <a:pt x="289" y="1"/>
                  </a:lnTo>
                  <a:lnTo>
                    <a:pt x="289" y="1"/>
                  </a:lnTo>
                  <a:lnTo>
                    <a:pt x="309" y="0"/>
                  </a:lnTo>
                  <a:lnTo>
                    <a:pt x="317" y="29"/>
                  </a:lnTo>
                  <a:lnTo>
                    <a:pt x="330" y="55"/>
                  </a:lnTo>
                  <a:lnTo>
                    <a:pt x="352" y="98"/>
                  </a:lnTo>
                  <a:lnTo>
                    <a:pt x="352" y="124"/>
                  </a:lnTo>
                  <a:lnTo>
                    <a:pt x="332" y="134"/>
                  </a:lnTo>
                  <a:lnTo>
                    <a:pt x="342" y="142"/>
                  </a:lnTo>
                  <a:lnTo>
                    <a:pt x="352" y="172"/>
                  </a:lnTo>
                  <a:lnTo>
                    <a:pt x="368" y="193"/>
                  </a:lnTo>
                  <a:lnTo>
                    <a:pt x="364" y="217"/>
                  </a:lnTo>
                  <a:lnTo>
                    <a:pt x="342" y="231"/>
                  </a:lnTo>
                  <a:lnTo>
                    <a:pt x="345" y="256"/>
                  </a:lnTo>
                  <a:lnTo>
                    <a:pt x="379" y="300"/>
                  </a:lnTo>
                  <a:lnTo>
                    <a:pt x="403" y="349"/>
                  </a:lnTo>
                  <a:lnTo>
                    <a:pt x="382" y="379"/>
                  </a:lnTo>
                  <a:lnTo>
                    <a:pt x="362" y="438"/>
                  </a:lnTo>
                  <a:lnTo>
                    <a:pt x="396" y="491"/>
                  </a:lnTo>
                  <a:lnTo>
                    <a:pt x="417" y="556"/>
                  </a:lnTo>
                  <a:lnTo>
                    <a:pt x="433" y="584"/>
                  </a:lnTo>
                  <a:lnTo>
                    <a:pt x="290" y="602"/>
                  </a:lnTo>
                  <a:lnTo>
                    <a:pt x="217" y="608"/>
                  </a:lnTo>
                  <a:lnTo>
                    <a:pt x="192" y="630"/>
                  </a:lnTo>
                  <a:lnTo>
                    <a:pt x="192" y="654"/>
                  </a:lnTo>
                  <a:lnTo>
                    <a:pt x="127" y="659"/>
                  </a:lnTo>
                  <a:lnTo>
                    <a:pt x="118" y="610"/>
                  </a:lnTo>
                  <a:lnTo>
                    <a:pt x="142" y="565"/>
                  </a:lnTo>
                  <a:lnTo>
                    <a:pt x="121" y="537"/>
                  </a:lnTo>
                  <a:lnTo>
                    <a:pt x="73" y="520"/>
                  </a:lnTo>
                  <a:lnTo>
                    <a:pt x="0" y="49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31" name="Freeform 60"/>
            <p:cNvSpPr>
              <a:spLocks noChangeAspect="1"/>
            </p:cNvSpPr>
            <p:nvPr/>
          </p:nvSpPr>
          <p:spPr bwMode="auto">
            <a:xfrm>
              <a:off x="7176062" y="4017099"/>
              <a:ext cx="307691" cy="461491"/>
            </a:xfrm>
            <a:custGeom>
              <a:avLst/>
              <a:gdLst/>
              <a:ahLst/>
              <a:cxnLst>
                <a:cxn ang="0">
                  <a:pos x="74" y="300"/>
                </a:cxn>
                <a:cxn ang="0">
                  <a:pos x="83" y="199"/>
                </a:cxn>
                <a:cxn ang="0">
                  <a:pos x="126" y="238"/>
                </a:cxn>
                <a:cxn ang="0">
                  <a:pos x="135" y="171"/>
                </a:cxn>
                <a:cxn ang="0">
                  <a:pos x="181" y="151"/>
                </a:cxn>
                <a:cxn ang="0">
                  <a:pos x="185" y="99"/>
                </a:cxn>
                <a:cxn ang="0">
                  <a:pos x="232" y="59"/>
                </a:cxn>
                <a:cxn ang="0">
                  <a:pos x="288" y="55"/>
                </a:cxn>
                <a:cxn ang="0">
                  <a:pos x="304" y="17"/>
                </a:cxn>
                <a:cxn ang="0">
                  <a:pos x="335" y="0"/>
                </a:cxn>
                <a:cxn ang="0">
                  <a:pos x="359" y="17"/>
                </a:cxn>
                <a:cxn ang="0">
                  <a:pos x="324" y="59"/>
                </a:cxn>
                <a:cxn ang="0">
                  <a:pos x="304" y="135"/>
                </a:cxn>
                <a:cxn ang="0">
                  <a:pos x="273" y="155"/>
                </a:cxn>
                <a:cxn ang="0">
                  <a:pos x="312" y="210"/>
                </a:cxn>
                <a:cxn ang="0">
                  <a:pos x="300" y="265"/>
                </a:cxn>
                <a:cxn ang="0">
                  <a:pos x="383" y="269"/>
                </a:cxn>
                <a:cxn ang="0">
                  <a:pos x="387" y="300"/>
                </a:cxn>
                <a:cxn ang="0">
                  <a:pos x="453" y="333"/>
                </a:cxn>
                <a:cxn ang="0">
                  <a:pos x="525" y="357"/>
                </a:cxn>
                <a:cxn ang="0">
                  <a:pos x="525" y="447"/>
                </a:cxn>
                <a:cxn ang="0">
                  <a:pos x="510" y="502"/>
                </a:cxn>
                <a:cxn ang="0">
                  <a:pos x="517" y="546"/>
                </a:cxn>
                <a:cxn ang="0">
                  <a:pos x="438" y="574"/>
                </a:cxn>
                <a:cxn ang="0">
                  <a:pos x="418" y="605"/>
                </a:cxn>
                <a:cxn ang="0">
                  <a:pos x="442" y="629"/>
                </a:cxn>
                <a:cxn ang="0">
                  <a:pos x="418" y="644"/>
                </a:cxn>
                <a:cxn ang="0">
                  <a:pos x="431" y="736"/>
                </a:cxn>
                <a:cxn ang="0">
                  <a:pos x="431" y="775"/>
                </a:cxn>
                <a:cxn ang="0">
                  <a:pos x="383" y="779"/>
                </a:cxn>
                <a:cxn ang="0">
                  <a:pos x="343" y="751"/>
                </a:cxn>
                <a:cxn ang="0">
                  <a:pos x="264" y="744"/>
                </a:cxn>
                <a:cxn ang="0">
                  <a:pos x="225" y="692"/>
                </a:cxn>
                <a:cxn ang="0">
                  <a:pos x="177" y="661"/>
                </a:cxn>
                <a:cxn ang="0">
                  <a:pos x="142" y="629"/>
                </a:cxn>
                <a:cxn ang="0">
                  <a:pos x="67" y="633"/>
                </a:cxn>
                <a:cxn ang="0">
                  <a:pos x="0" y="593"/>
                </a:cxn>
                <a:cxn ang="0">
                  <a:pos x="35" y="541"/>
                </a:cxn>
                <a:cxn ang="0">
                  <a:pos x="43" y="514"/>
                </a:cxn>
                <a:cxn ang="0">
                  <a:pos x="87" y="510"/>
                </a:cxn>
                <a:cxn ang="0">
                  <a:pos x="74" y="300"/>
                </a:cxn>
              </a:cxnLst>
              <a:rect l="0" t="0" r="r" b="b"/>
              <a:pathLst>
                <a:path w="525" h="779">
                  <a:moveTo>
                    <a:pt x="74" y="300"/>
                  </a:moveTo>
                  <a:lnTo>
                    <a:pt x="83" y="199"/>
                  </a:lnTo>
                  <a:lnTo>
                    <a:pt x="126" y="238"/>
                  </a:lnTo>
                  <a:lnTo>
                    <a:pt x="135" y="171"/>
                  </a:lnTo>
                  <a:lnTo>
                    <a:pt x="181" y="151"/>
                  </a:lnTo>
                  <a:lnTo>
                    <a:pt x="185" y="99"/>
                  </a:lnTo>
                  <a:lnTo>
                    <a:pt x="232" y="59"/>
                  </a:lnTo>
                  <a:lnTo>
                    <a:pt x="288" y="55"/>
                  </a:lnTo>
                  <a:lnTo>
                    <a:pt x="304" y="17"/>
                  </a:lnTo>
                  <a:lnTo>
                    <a:pt x="335" y="0"/>
                  </a:lnTo>
                  <a:lnTo>
                    <a:pt x="359" y="17"/>
                  </a:lnTo>
                  <a:lnTo>
                    <a:pt x="324" y="59"/>
                  </a:lnTo>
                  <a:lnTo>
                    <a:pt x="304" y="135"/>
                  </a:lnTo>
                  <a:lnTo>
                    <a:pt x="273" y="155"/>
                  </a:lnTo>
                  <a:lnTo>
                    <a:pt x="312" y="210"/>
                  </a:lnTo>
                  <a:lnTo>
                    <a:pt x="300" y="265"/>
                  </a:lnTo>
                  <a:lnTo>
                    <a:pt x="383" y="269"/>
                  </a:lnTo>
                  <a:lnTo>
                    <a:pt x="387" y="300"/>
                  </a:lnTo>
                  <a:lnTo>
                    <a:pt x="453" y="333"/>
                  </a:lnTo>
                  <a:lnTo>
                    <a:pt x="525" y="357"/>
                  </a:lnTo>
                  <a:lnTo>
                    <a:pt x="525" y="447"/>
                  </a:lnTo>
                  <a:lnTo>
                    <a:pt x="510" y="502"/>
                  </a:lnTo>
                  <a:lnTo>
                    <a:pt x="517" y="546"/>
                  </a:lnTo>
                  <a:lnTo>
                    <a:pt x="438" y="574"/>
                  </a:lnTo>
                  <a:lnTo>
                    <a:pt x="418" y="605"/>
                  </a:lnTo>
                  <a:lnTo>
                    <a:pt x="442" y="629"/>
                  </a:lnTo>
                  <a:lnTo>
                    <a:pt x="418" y="644"/>
                  </a:lnTo>
                  <a:lnTo>
                    <a:pt x="431" y="736"/>
                  </a:lnTo>
                  <a:lnTo>
                    <a:pt x="431" y="775"/>
                  </a:lnTo>
                  <a:lnTo>
                    <a:pt x="383" y="779"/>
                  </a:lnTo>
                  <a:lnTo>
                    <a:pt x="343" y="751"/>
                  </a:lnTo>
                  <a:lnTo>
                    <a:pt x="264" y="744"/>
                  </a:lnTo>
                  <a:lnTo>
                    <a:pt x="225" y="692"/>
                  </a:lnTo>
                  <a:lnTo>
                    <a:pt x="177" y="661"/>
                  </a:lnTo>
                  <a:lnTo>
                    <a:pt x="142" y="629"/>
                  </a:lnTo>
                  <a:lnTo>
                    <a:pt x="67" y="633"/>
                  </a:lnTo>
                  <a:lnTo>
                    <a:pt x="0" y="593"/>
                  </a:lnTo>
                  <a:lnTo>
                    <a:pt x="35" y="541"/>
                  </a:lnTo>
                  <a:lnTo>
                    <a:pt x="43" y="514"/>
                  </a:lnTo>
                  <a:lnTo>
                    <a:pt x="87" y="510"/>
                  </a:lnTo>
                  <a:lnTo>
                    <a:pt x="74" y="30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32" name="Freeform 61"/>
            <p:cNvSpPr>
              <a:spLocks noChangeAspect="1"/>
            </p:cNvSpPr>
            <p:nvPr/>
          </p:nvSpPr>
          <p:spPr bwMode="auto">
            <a:xfrm>
              <a:off x="1975841" y="2627630"/>
              <a:ext cx="982853" cy="504090"/>
            </a:xfrm>
            <a:custGeom>
              <a:avLst/>
              <a:gdLst/>
              <a:ahLst/>
              <a:cxnLst>
                <a:cxn ang="0">
                  <a:pos x="1633" y="246"/>
                </a:cxn>
                <a:cxn ang="0">
                  <a:pos x="1536" y="182"/>
                </a:cxn>
                <a:cxn ang="0">
                  <a:pos x="1421" y="49"/>
                </a:cxn>
                <a:cxn ang="0">
                  <a:pos x="1289" y="75"/>
                </a:cxn>
                <a:cxn ang="0">
                  <a:pos x="1237" y="33"/>
                </a:cxn>
                <a:cxn ang="0">
                  <a:pos x="1111" y="15"/>
                </a:cxn>
                <a:cxn ang="0">
                  <a:pos x="930" y="18"/>
                </a:cxn>
                <a:cxn ang="0">
                  <a:pos x="840" y="11"/>
                </a:cxn>
                <a:cxn ang="0">
                  <a:pos x="797" y="101"/>
                </a:cxn>
                <a:cxn ang="0">
                  <a:pos x="780" y="113"/>
                </a:cxn>
                <a:cxn ang="0">
                  <a:pos x="757" y="124"/>
                </a:cxn>
                <a:cxn ang="0">
                  <a:pos x="752" y="124"/>
                </a:cxn>
                <a:cxn ang="0">
                  <a:pos x="750" y="126"/>
                </a:cxn>
                <a:cxn ang="0">
                  <a:pos x="753" y="144"/>
                </a:cxn>
                <a:cxn ang="0">
                  <a:pos x="767" y="175"/>
                </a:cxn>
                <a:cxn ang="0">
                  <a:pos x="745" y="212"/>
                </a:cxn>
                <a:cxn ang="0">
                  <a:pos x="620" y="146"/>
                </a:cxn>
                <a:cxn ang="0">
                  <a:pos x="519" y="139"/>
                </a:cxn>
                <a:cxn ang="0">
                  <a:pos x="408" y="37"/>
                </a:cxn>
                <a:cxn ang="0">
                  <a:pos x="269" y="22"/>
                </a:cxn>
                <a:cxn ang="0">
                  <a:pos x="188" y="75"/>
                </a:cxn>
                <a:cxn ang="0">
                  <a:pos x="64" y="105"/>
                </a:cxn>
                <a:cxn ang="0">
                  <a:pos x="23" y="234"/>
                </a:cxn>
                <a:cxn ang="0">
                  <a:pos x="79" y="329"/>
                </a:cxn>
                <a:cxn ang="0">
                  <a:pos x="19" y="458"/>
                </a:cxn>
                <a:cxn ang="0">
                  <a:pos x="137" y="462"/>
                </a:cxn>
                <a:cxn ang="0">
                  <a:pos x="185" y="454"/>
                </a:cxn>
                <a:cxn ang="0">
                  <a:pos x="185" y="541"/>
                </a:cxn>
                <a:cxn ang="0">
                  <a:pos x="98" y="565"/>
                </a:cxn>
                <a:cxn ang="0">
                  <a:pos x="58" y="604"/>
                </a:cxn>
                <a:cxn ang="0">
                  <a:pos x="82" y="679"/>
                </a:cxn>
                <a:cxn ang="0">
                  <a:pos x="172" y="759"/>
                </a:cxn>
                <a:cxn ang="0">
                  <a:pos x="239" y="722"/>
                </a:cxn>
                <a:cxn ang="0">
                  <a:pos x="296" y="767"/>
                </a:cxn>
                <a:cxn ang="0">
                  <a:pos x="333" y="813"/>
                </a:cxn>
                <a:cxn ang="0">
                  <a:pos x="408" y="597"/>
                </a:cxn>
                <a:cxn ang="0">
                  <a:pos x="551" y="509"/>
                </a:cxn>
                <a:cxn ang="0">
                  <a:pos x="638" y="458"/>
                </a:cxn>
                <a:cxn ang="0">
                  <a:pos x="665" y="561"/>
                </a:cxn>
                <a:cxn ang="0">
                  <a:pos x="677" y="639"/>
                </a:cxn>
                <a:cxn ang="0">
                  <a:pos x="748" y="661"/>
                </a:cxn>
                <a:cxn ang="0">
                  <a:pos x="851" y="691"/>
                </a:cxn>
                <a:cxn ang="0">
                  <a:pos x="870" y="801"/>
                </a:cxn>
                <a:cxn ang="0">
                  <a:pos x="957" y="851"/>
                </a:cxn>
                <a:cxn ang="0">
                  <a:pos x="1119" y="774"/>
                </a:cxn>
                <a:cxn ang="0">
                  <a:pos x="1096" y="714"/>
                </a:cxn>
                <a:cxn ang="0">
                  <a:pos x="1021" y="688"/>
                </a:cxn>
                <a:cxn ang="0">
                  <a:pos x="1037" y="629"/>
                </a:cxn>
                <a:cxn ang="0">
                  <a:pos x="1070" y="590"/>
                </a:cxn>
                <a:cxn ang="0">
                  <a:pos x="1130" y="597"/>
                </a:cxn>
                <a:cxn ang="0">
                  <a:pos x="1222" y="612"/>
                </a:cxn>
                <a:cxn ang="0">
                  <a:pos x="1380" y="601"/>
                </a:cxn>
                <a:cxn ang="0">
                  <a:pos x="1449" y="617"/>
                </a:cxn>
                <a:cxn ang="0">
                  <a:pos x="1500" y="531"/>
                </a:cxn>
                <a:cxn ang="0">
                  <a:pos x="1576" y="444"/>
                </a:cxn>
                <a:cxn ang="0">
                  <a:pos x="1635" y="411"/>
                </a:cxn>
                <a:cxn ang="0">
                  <a:pos x="1675" y="356"/>
                </a:cxn>
              </a:cxnLst>
              <a:rect l="0" t="0" r="r" b="b"/>
              <a:pathLst>
                <a:path w="1675" h="851">
                  <a:moveTo>
                    <a:pt x="1675" y="356"/>
                  </a:moveTo>
                  <a:lnTo>
                    <a:pt x="1633" y="246"/>
                  </a:lnTo>
                  <a:lnTo>
                    <a:pt x="1562" y="216"/>
                  </a:lnTo>
                  <a:lnTo>
                    <a:pt x="1536" y="182"/>
                  </a:lnTo>
                  <a:lnTo>
                    <a:pt x="1490" y="178"/>
                  </a:lnTo>
                  <a:lnTo>
                    <a:pt x="1421" y="49"/>
                  </a:lnTo>
                  <a:lnTo>
                    <a:pt x="1361" y="49"/>
                  </a:lnTo>
                  <a:lnTo>
                    <a:pt x="1289" y="75"/>
                  </a:lnTo>
                  <a:lnTo>
                    <a:pt x="1240" y="71"/>
                  </a:lnTo>
                  <a:lnTo>
                    <a:pt x="1237" y="33"/>
                  </a:lnTo>
                  <a:lnTo>
                    <a:pt x="1199" y="0"/>
                  </a:lnTo>
                  <a:lnTo>
                    <a:pt x="1111" y="15"/>
                  </a:lnTo>
                  <a:lnTo>
                    <a:pt x="1043" y="30"/>
                  </a:lnTo>
                  <a:lnTo>
                    <a:pt x="930" y="18"/>
                  </a:lnTo>
                  <a:lnTo>
                    <a:pt x="870" y="3"/>
                  </a:lnTo>
                  <a:lnTo>
                    <a:pt x="840" y="11"/>
                  </a:lnTo>
                  <a:lnTo>
                    <a:pt x="851" y="75"/>
                  </a:lnTo>
                  <a:lnTo>
                    <a:pt x="797" y="101"/>
                  </a:lnTo>
                  <a:lnTo>
                    <a:pt x="797" y="101"/>
                  </a:lnTo>
                  <a:lnTo>
                    <a:pt x="780" y="113"/>
                  </a:lnTo>
                  <a:lnTo>
                    <a:pt x="765" y="121"/>
                  </a:lnTo>
                  <a:lnTo>
                    <a:pt x="757" y="124"/>
                  </a:lnTo>
                  <a:lnTo>
                    <a:pt x="752" y="124"/>
                  </a:lnTo>
                  <a:lnTo>
                    <a:pt x="752" y="124"/>
                  </a:lnTo>
                  <a:lnTo>
                    <a:pt x="751" y="125"/>
                  </a:lnTo>
                  <a:lnTo>
                    <a:pt x="750" y="126"/>
                  </a:lnTo>
                  <a:lnTo>
                    <a:pt x="751" y="134"/>
                  </a:lnTo>
                  <a:lnTo>
                    <a:pt x="753" y="144"/>
                  </a:lnTo>
                  <a:lnTo>
                    <a:pt x="757" y="154"/>
                  </a:lnTo>
                  <a:lnTo>
                    <a:pt x="767" y="175"/>
                  </a:lnTo>
                  <a:lnTo>
                    <a:pt x="771" y="185"/>
                  </a:lnTo>
                  <a:lnTo>
                    <a:pt x="745" y="212"/>
                  </a:lnTo>
                  <a:lnTo>
                    <a:pt x="703" y="197"/>
                  </a:lnTo>
                  <a:lnTo>
                    <a:pt x="620" y="146"/>
                  </a:lnTo>
                  <a:lnTo>
                    <a:pt x="560" y="154"/>
                  </a:lnTo>
                  <a:lnTo>
                    <a:pt x="519" y="139"/>
                  </a:lnTo>
                  <a:lnTo>
                    <a:pt x="522" y="109"/>
                  </a:lnTo>
                  <a:lnTo>
                    <a:pt x="408" y="37"/>
                  </a:lnTo>
                  <a:lnTo>
                    <a:pt x="337" y="33"/>
                  </a:lnTo>
                  <a:lnTo>
                    <a:pt x="269" y="22"/>
                  </a:lnTo>
                  <a:lnTo>
                    <a:pt x="208" y="37"/>
                  </a:lnTo>
                  <a:lnTo>
                    <a:pt x="188" y="75"/>
                  </a:lnTo>
                  <a:lnTo>
                    <a:pt x="139" y="18"/>
                  </a:lnTo>
                  <a:lnTo>
                    <a:pt x="64" y="105"/>
                  </a:lnTo>
                  <a:lnTo>
                    <a:pt x="0" y="182"/>
                  </a:lnTo>
                  <a:lnTo>
                    <a:pt x="23" y="234"/>
                  </a:lnTo>
                  <a:lnTo>
                    <a:pt x="75" y="268"/>
                  </a:lnTo>
                  <a:lnTo>
                    <a:pt x="79" y="329"/>
                  </a:lnTo>
                  <a:lnTo>
                    <a:pt x="38" y="374"/>
                  </a:lnTo>
                  <a:lnTo>
                    <a:pt x="19" y="458"/>
                  </a:lnTo>
                  <a:lnTo>
                    <a:pt x="78" y="442"/>
                  </a:lnTo>
                  <a:lnTo>
                    <a:pt x="137" y="462"/>
                  </a:lnTo>
                  <a:lnTo>
                    <a:pt x="153" y="438"/>
                  </a:lnTo>
                  <a:lnTo>
                    <a:pt x="185" y="454"/>
                  </a:lnTo>
                  <a:lnTo>
                    <a:pt x="173" y="513"/>
                  </a:lnTo>
                  <a:lnTo>
                    <a:pt x="185" y="541"/>
                  </a:lnTo>
                  <a:lnTo>
                    <a:pt x="122" y="541"/>
                  </a:lnTo>
                  <a:lnTo>
                    <a:pt x="98" y="565"/>
                  </a:lnTo>
                  <a:lnTo>
                    <a:pt x="94" y="600"/>
                  </a:lnTo>
                  <a:lnTo>
                    <a:pt x="58" y="604"/>
                  </a:lnTo>
                  <a:lnTo>
                    <a:pt x="67" y="636"/>
                  </a:lnTo>
                  <a:lnTo>
                    <a:pt x="82" y="679"/>
                  </a:lnTo>
                  <a:lnTo>
                    <a:pt x="153" y="679"/>
                  </a:lnTo>
                  <a:lnTo>
                    <a:pt x="172" y="759"/>
                  </a:lnTo>
                  <a:lnTo>
                    <a:pt x="183" y="717"/>
                  </a:lnTo>
                  <a:lnTo>
                    <a:pt x="239" y="722"/>
                  </a:lnTo>
                  <a:lnTo>
                    <a:pt x="252" y="784"/>
                  </a:lnTo>
                  <a:lnTo>
                    <a:pt x="296" y="767"/>
                  </a:lnTo>
                  <a:lnTo>
                    <a:pt x="333" y="782"/>
                  </a:lnTo>
                  <a:lnTo>
                    <a:pt x="333" y="813"/>
                  </a:lnTo>
                  <a:lnTo>
                    <a:pt x="374" y="826"/>
                  </a:lnTo>
                  <a:lnTo>
                    <a:pt x="408" y="597"/>
                  </a:lnTo>
                  <a:lnTo>
                    <a:pt x="507" y="521"/>
                  </a:lnTo>
                  <a:lnTo>
                    <a:pt x="551" y="509"/>
                  </a:lnTo>
                  <a:lnTo>
                    <a:pt x="551" y="458"/>
                  </a:lnTo>
                  <a:lnTo>
                    <a:pt x="638" y="458"/>
                  </a:lnTo>
                  <a:lnTo>
                    <a:pt x="638" y="529"/>
                  </a:lnTo>
                  <a:lnTo>
                    <a:pt x="665" y="561"/>
                  </a:lnTo>
                  <a:lnTo>
                    <a:pt x="645" y="585"/>
                  </a:lnTo>
                  <a:lnTo>
                    <a:pt x="677" y="639"/>
                  </a:lnTo>
                  <a:lnTo>
                    <a:pt x="692" y="676"/>
                  </a:lnTo>
                  <a:lnTo>
                    <a:pt x="748" y="661"/>
                  </a:lnTo>
                  <a:lnTo>
                    <a:pt x="801" y="669"/>
                  </a:lnTo>
                  <a:lnTo>
                    <a:pt x="851" y="691"/>
                  </a:lnTo>
                  <a:lnTo>
                    <a:pt x="855" y="759"/>
                  </a:lnTo>
                  <a:lnTo>
                    <a:pt x="870" y="801"/>
                  </a:lnTo>
                  <a:lnTo>
                    <a:pt x="932" y="833"/>
                  </a:lnTo>
                  <a:lnTo>
                    <a:pt x="957" y="851"/>
                  </a:lnTo>
                  <a:lnTo>
                    <a:pt x="1009" y="813"/>
                  </a:lnTo>
                  <a:lnTo>
                    <a:pt x="1119" y="774"/>
                  </a:lnTo>
                  <a:lnTo>
                    <a:pt x="1134" y="748"/>
                  </a:lnTo>
                  <a:lnTo>
                    <a:pt x="1096" y="714"/>
                  </a:lnTo>
                  <a:lnTo>
                    <a:pt x="1058" y="722"/>
                  </a:lnTo>
                  <a:lnTo>
                    <a:pt x="1021" y="688"/>
                  </a:lnTo>
                  <a:lnTo>
                    <a:pt x="1043" y="658"/>
                  </a:lnTo>
                  <a:lnTo>
                    <a:pt x="1037" y="629"/>
                  </a:lnTo>
                  <a:lnTo>
                    <a:pt x="1036" y="616"/>
                  </a:lnTo>
                  <a:lnTo>
                    <a:pt x="1070" y="590"/>
                  </a:lnTo>
                  <a:lnTo>
                    <a:pt x="1111" y="631"/>
                  </a:lnTo>
                  <a:lnTo>
                    <a:pt x="1130" y="597"/>
                  </a:lnTo>
                  <a:lnTo>
                    <a:pt x="1188" y="582"/>
                  </a:lnTo>
                  <a:lnTo>
                    <a:pt x="1222" y="612"/>
                  </a:lnTo>
                  <a:lnTo>
                    <a:pt x="1320" y="597"/>
                  </a:lnTo>
                  <a:lnTo>
                    <a:pt x="1380" y="601"/>
                  </a:lnTo>
                  <a:lnTo>
                    <a:pt x="1434" y="641"/>
                  </a:lnTo>
                  <a:lnTo>
                    <a:pt x="1449" y="617"/>
                  </a:lnTo>
                  <a:lnTo>
                    <a:pt x="1453" y="555"/>
                  </a:lnTo>
                  <a:lnTo>
                    <a:pt x="1500" y="531"/>
                  </a:lnTo>
                  <a:lnTo>
                    <a:pt x="1556" y="546"/>
                  </a:lnTo>
                  <a:lnTo>
                    <a:pt x="1576" y="444"/>
                  </a:lnTo>
                  <a:lnTo>
                    <a:pt x="1600" y="420"/>
                  </a:lnTo>
                  <a:lnTo>
                    <a:pt x="1635" y="411"/>
                  </a:lnTo>
                  <a:lnTo>
                    <a:pt x="1647" y="376"/>
                  </a:lnTo>
                  <a:lnTo>
                    <a:pt x="1675" y="35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33" name="Freeform 62"/>
            <p:cNvSpPr>
              <a:spLocks noChangeAspect="1"/>
            </p:cNvSpPr>
            <p:nvPr/>
          </p:nvSpPr>
          <p:spPr bwMode="auto">
            <a:xfrm>
              <a:off x="2536718" y="2971973"/>
              <a:ext cx="279559" cy="211221"/>
            </a:xfrm>
            <a:custGeom>
              <a:avLst/>
              <a:gdLst/>
              <a:ahLst/>
              <a:cxnLst>
                <a:cxn ang="0">
                  <a:pos x="370" y="103"/>
                </a:cxn>
                <a:cxn ang="0">
                  <a:pos x="405" y="118"/>
                </a:cxn>
                <a:cxn ang="0">
                  <a:pos x="402" y="245"/>
                </a:cxn>
                <a:cxn ang="0">
                  <a:pos x="366" y="260"/>
                </a:cxn>
                <a:cxn ang="0">
                  <a:pos x="350" y="289"/>
                </a:cxn>
                <a:cxn ang="0">
                  <a:pos x="271" y="304"/>
                </a:cxn>
                <a:cxn ang="0">
                  <a:pos x="275" y="332"/>
                </a:cxn>
                <a:cxn ang="0">
                  <a:pos x="255" y="356"/>
                </a:cxn>
                <a:cxn ang="0">
                  <a:pos x="212" y="243"/>
                </a:cxn>
                <a:cxn ang="0">
                  <a:pos x="158" y="280"/>
                </a:cxn>
                <a:cxn ang="0">
                  <a:pos x="113" y="288"/>
                </a:cxn>
                <a:cxn ang="0">
                  <a:pos x="0" y="269"/>
                </a:cxn>
                <a:cxn ang="0">
                  <a:pos x="52" y="231"/>
                </a:cxn>
                <a:cxn ang="0">
                  <a:pos x="162" y="192"/>
                </a:cxn>
                <a:cxn ang="0">
                  <a:pos x="177" y="166"/>
                </a:cxn>
                <a:cxn ang="0">
                  <a:pos x="139" y="132"/>
                </a:cxn>
                <a:cxn ang="0">
                  <a:pos x="101" y="140"/>
                </a:cxn>
                <a:cxn ang="0">
                  <a:pos x="64" y="106"/>
                </a:cxn>
                <a:cxn ang="0">
                  <a:pos x="86" y="76"/>
                </a:cxn>
                <a:cxn ang="0">
                  <a:pos x="79" y="34"/>
                </a:cxn>
                <a:cxn ang="0">
                  <a:pos x="113" y="8"/>
                </a:cxn>
                <a:cxn ang="0">
                  <a:pos x="154" y="49"/>
                </a:cxn>
                <a:cxn ang="0">
                  <a:pos x="173" y="15"/>
                </a:cxn>
                <a:cxn ang="0">
                  <a:pos x="231" y="0"/>
                </a:cxn>
                <a:cxn ang="0">
                  <a:pos x="265" y="30"/>
                </a:cxn>
                <a:cxn ang="0">
                  <a:pos x="363" y="15"/>
                </a:cxn>
                <a:cxn ang="0">
                  <a:pos x="423" y="19"/>
                </a:cxn>
                <a:cxn ang="0">
                  <a:pos x="477" y="59"/>
                </a:cxn>
                <a:cxn ang="0">
                  <a:pos x="370" y="103"/>
                </a:cxn>
              </a:cxnLst>
              <a:rect l="0" t="0" r="r" b="b"/>
              <a:pathLst>
                <a:path w="477" h="356">
                  <a:moveTo>
                    <a:pt x="370" y="103"/>
                  </a:moveTo>
                  <a:lnTo>
                    <a:pt x="405" y="118"/>
                  </a:lnTo>
                  <a:lnTo>
                    <a:pt x="402" y="245"/>
                  </a:lnTo>
                  <a:lnTo>
                    <a:pt x="366" y="260"/>
                  </a:lnTo>
                  <a:lnTo>
                    <a:pt x="350" y="289"/>
                  </a:lnTo>
                  <a:lnTo>
                    <a:pt x="271" y="304"/>
                  </a:lnTo>
                  <a:lnTo>
                    <a:pt x="275" y="332"/>
                  </a:lnTo>
                  <a:lnTo>
                    <a:pt x="255" y="356"/>
                  </a:lnTo>
                  <a:lnTo>
                    <a:pt x="212" y="243"/>
                  </a:lnTo>
                  <a:lnTo>
                    <a:pt x="158" y="280"/>
                  </a:lnTo>
                  <a:lnTo>
                    <a:pt x="113" y="288"/>
                  </a:lnTo>
                  <a:lnTo>
                    <a:pt x="0" y="269"/>
                  </a:lnTo>
                  <a:lnTo>
                    <a:pt x="52" y="231"/>
                  </a:lnTo>
                  <a:lnTo>
                    <a:pt x="162" y="192"/>
                  </a:lnTo>
                  <a:lnTo>
                    <a:pt x="177" y="166"/>
                  </a:lnTo>
                  <a:lnTo>
                    <a:pt x="139" y="132"/>
                  </a:lnTo>
                  <a:lnTo>
                    <a:pt x="101" y="140"/>
                  </a:lnTo>
                  <a:lnTo>
                    <a:pt x="64" y="106"/>
                  </a:lnTo>
                  <a:lnTo>
                    <a:pt x="86" y="76"/>
                  </a:lnTo>
                  <a:lnTo>
                    <a:pt x="79" y="34"/>
                  </a:lnTo>
                  <a:lnTo>
                    <a:pt x="113" y="8"/>
                  </a:lnTo>
                  <a:lnTo>
                    <a:pt x="154" y="49"/>
                  </a:lnTo>
                  <a:lnTo>
                    <a:pt x="173" y="15"/>
                  </a:lnTo>
                  <a:lnTo>
                    <a:pt x="231" y="0"/>
                  </a:lnTo>
                  <a:lnTo>
                    <a:pt x="265" y="30"/>
                  </a:lnTo>
                  <a:lnTo>
                    <a:pt x="363" y="15"/>
                  </a:lnTo>
                  <a:lnTo>
                    <a:pt x="423" y="19"/>
                  </a:lnTo>
                  <a:lnTo>
                    <a:pt x="477" y="59"/>
                  </a:lnTo>
                  <a:lnTo>
                    <a:pt x="370" y="10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34" name="Freeform 63"/>
            <p:cNvSpPr>
              <a:spLocks noChangeAspect="1"/>
            </p:cNvSpPr>
            <p:nvPr/>
          </p:nvSpPr>
          <p:spPr bwMode="auto">
            <a:xfrm>
              <a:off x="2536718" y="2971973"/>
              <a:ext cx="279559" cy="211221"/>
            </a:xfrm>
            <a:custGeom>
              <a:avLst/>
              <a:gdLst/>
              <a:ahLst/>
              <a:cxnLst>
                <a:cxn ang="0">
                  <a:pos x="370" y="103"/>
                </a:cxn>
                <a:cxn ang="0">
                  <a:pos x="405" y="118"/>
                </a:cxn>
                <a:cxn ang="0">
                  <a:pos x="402" y="245"/>
                </a:cxn>
                <a:cxn ang="0">
                  <a:pos x="366" y="260"/>
                </a:cxn>
                <a:cxn ang="0">
                  <a:pos x="350" y="289"/>
                </a:cxn>
                <a:cxn ang="0">
                  <a:pos x="271" y="304"/>
                </a:cxn>
                <a:cxn ang="0">
                  <a:pos x="275" y="332"/>
                </a:cxn>
                <a:cxn ang="0">
                  <a:pos x="255" y="356"/>
                </a:cxn>
                <a:cxn ang="0">
                  <a:pos x="212" y="243"/>
                </a:cxn>
                <a:cxn ang="0">
                  <a:pos x="158" y="280"/>
                </a:cxn>
                <a:cxn ang="0">
                  <a:pos x="113" y="288"/>
                </a:cxn>
                <a:cxn ang="0">
                  <a:pos x="0" y="269"/>
                </a:cxn>
                <a:cxn ang="0">
                  <a:pos x="52" y="231"/>
                </a:cxn>
                <a:cxn ang="0">
                  <a:pos x="162" y="192"/>
                </a:cxn>
                <a:cxn ang="0">
                  <a:pos x="177" y="166"/>
                </a:cxn>
                <a:cxn ang="0">
                  <a:pos x="139" y="132"/>
                </a:cxn>
                <a:cxn ang="0">
                  <a:pos x="101" y="140"/>
                </a:cxn>
                <a:cxn ang="0">
                  <a:pos x="64" y="106"/>
                </a:cxn>
                <a:cxn ang="0">
                  <a:pos x="86" y="76"/>
                </a:cxn>
                <a:cxn ang="0">
                  <a:pos x="79" y="34"/>
                </a:cxn>
                <a:cxn ang="0">
                  <a:pos x="113" y="8"/>
                </a:cxn>
                <a:cxn ang="0">
                  <a:pos x="154" y="49"/>
                </a:cxn>
                <a:cxn ang="0">
                  <a:pos x="173" y="15"/>
                </a:cxn>
                <a:cxn ang="0">
                  <a:pos x="231" y="0"/>
                </a:cxn>
                <a:cxn ang="0">
                  <a:pos x="265" y="30"/>
                </a:cxn>
                <a:cxn ang="0">
                  <a:pos x="363" y="15"/>
                </a:cxn>
                <a:cxn ang="0">
                  <a:pos x="423" y="19"/>
                </a:cxn>
                <a:cxn ang="0">
                  <a:pos x="477" y="59"/>
                </a:cxn>
              </a:cxnLst>
              <a:rect l="0" t="0" r="r" b="b"/>
              <a:pathLst>
                <a:path w="477" h="356">
                  <a:moveTo>
                    <a:pt x="370" y="103"/>
                  </a:moveTo>
                  <a:lnTo>
                    <a:pt x="405" y="118"/>
                  </a:lnTo>
                  <a:lnTo>
                    <a:pt x="402" y="245"/>
                  </a:lnTo>
                  <a:lnTo>
                    <a:pt x="366" y="260"/>
                  </a:lnTo>
                  <a:lnTo>
                    <a:pt x="350" y="289"/>
                  </a:lnTo>
                  <a:lnTo>
                    <a:pt x="271" y="304"/>
                  </a:lnTo>
                  <a:lnTo>
                    <a:pt x="275" y="332"/>
                  </a:lnTo>
                  <a:lnTo>
                    <a:pt x="255" y="356"/>
                  </a:lnTo>
                  <a:lnTo>
                    <a:pt x="212" y="243"/>
                  </a:lnTo>
                  <a:lnTo>
                    <a:pt x="158" y="280"/>
                  </a:lnTo>
                  <a:lnTo>
                    <a:pt x="113" y="288"/>
                  </a:lnTo>
                  <a:lnTo>
                    <a:pt x="0" y="269"/>
                  </a:lnTo>
                  <a:lnTo>
                    <a:pt x="52" y="231"/>
                  </a:lnTo>
                  <a:lnTo>
                    <a:pt x="162" y="192"/>
                  </a:lnTo>
                  <a:lnTo>
                    <a:pt x="177" y="166"/>
                  </a:lnTo>
                  <a:lnTo>
                    <a:pt x="139" y="132"/>
                  </a:lnTo>
                  <a:lnTo>
                    <a:pt x="101" y="140"/>
                  </a:lnTo>
                  <a:lnTo>
                    <a:pt x="64" y="106"/>
                  </a:lnTo>
                  <a:lnTo>
                    <a:pt x="86" y="76"/>
                  </a:lnTo>
                  <a:lnTo>
                    <a:pt x="79" y="34"/>
                  </a:lnTo>
                  <a:lnTo>
                    <a:pt x="113" y="8"/>
                  </a:lnTo>
                  <a:lnTo>
                    <a:pt x="154" y="49"/>
                  </a:lnTo>
                  <a:lnTo>
                    <a:pt x="173" y="15"/>
                  </a:lnTo>
                  <a:lnTo>
                    <a:pt x="231" y="0"/>
                  </a:lnTo>
                  <a:lnTo>
                    <a:pt x="265" y="30"/>
                  </a:lnTo>
                  <a:lnTo>
                    <a:pt x="363" y="15"/>
                  </a:lnTo>
                  <a:lnTo>
                    <a:pt x="423" y="19"/>
                  </a:lnTo>
                  <a:lnTo>
                    <a:pt x="477" y="59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35" name="Freeform 64"/>
            <p:cNvSpPr>
              <a:spLocks noChangeAspect="1"/>
            </p:cNvSpPr>
            <p:nvPr/>
          </p:nvSpPr>
          <p:spPr bwMode="auto">
            <a:xfrm>
              <a:off x="1713863" y="2961323"/>
              <a:ext cx="161757" cy="120698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98" y="0"/>
                </a:cxn>
                <a:cxn ang="0">
                  <a:pos x="154" y="30"/>
                </a:cxn>
                <a:cxn ang="0">
                  <a:pos x="192" y="30"/>
                </a:cxn>
                <a:cxn ang="0">
                  <a:pos x="233" y="68"/>
                </a:cxn>
                <a:cxn ang="0">
                  <a:pos x="278" y="121"/>
                </a:cxn>
                <a:cxn ang="0">
                  <a:pos x="248" y="177"/>
                </a:cxn>
                <a:cxn ang="0">
                  <a:pos x="200" y="201"/>
                </a:cxn>
                <a:cxn ang="0">
                  <a:pos x="141" y="206"/>
                </a:cxn>
                <a:cxn ang="0">
                  <a:pos x="131" y="160"/>
                </a:cxn>
                <a:cxn ang="0">
                  <a:pos x="108" y="120"/>
                </a:cxn>
                <a:cxn ang="0">
                  <a:pos x="45" y="101"/>
                </a:cxn>
                <a:cxn ang="0">
                  <a:pos x="0" y="57"/>
                </a:cxn>
              </a:cxnLst>
              <a:rect l="0" t="0" r="r" b="b"/>
              <a:pathLst>
                <a:path w="278" h="206">
                  <a:moveTo>
                    <a:pt x="0" y="57"/>
                  </a:moveTo>
                  <a:lnTo>
                    <a:pt x="98" y="0"/>
                  </a:lnTo>
                  <a:lnTo>
                    <a:pt x="154" y="30"/>
                  </a:lnTo>
                  <a:lnTo>
                    <a:pt x="192" y="30"/>
                  </a:lnTo>
                  <a:lnTo>
                    <a:pt x="233" y="68"/>
                  </a:lnTo>
                  <a:lnTo>
                    <a:pt x="278" y="121"/>
                  </a:lnTo>
                  <a:lnTo>
                    <a:pt x="248" y="177"/>
                  </a:lnTo>
                  <a:lnTo>
                    <a:pt x="200" y="201"/>
                  </a:lnTo>
                  <a:lnTo>
                    <a:pt x="141" y="206"/>
                  </a:lnTo>
                  <a:lnTo>
                    <a:pt x="131" y="160"/>
                  </a:lnTo>
                  <a:lnTo>
                    <a:pt x="108" y="120"/>
                  </a:lnTo>
                  <a:lnTo>
                    <a:pt x="45" y="101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36" name="Freeform 65"/>
            <p:cNvSpPr>
              <a:spLocks noChangeAspect="1"/>
            </p:cNvSpPr>
            <p:nvPr/>
          </p:nvSpPr>
          <p:spPr bwMode="auto">
            <a:xfrm>
              <a:off x="1065075" y="1985093"/>
              <a:ext cx="31648" cy="15975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24"/>
                </a:cxn>
                <a:cxn ang="0">
                  <a:pos x="38" y="28"/>
                </a:cxn>
                <a:cxn ang="0">
                  <a:pos x="55" y="0"/>
                </a:cxn>
                <a:cxn ang="0">
                  <a:pos x="20" y="0"/>
                </a:cxn>
              </a:cxnLst>
              <a:rect l="0" t="0" r="r" b="b"/>
              <a:pathLst>
                <a:path w="55" h="28">
                  <a:moveTo>
                    <a:pt x="20" y="0"/>
                  </a:moveTo>
                  <a:lnTo>
                    <a:pt x="0" y="24"/>
                  </a:lnTo>
                  <a:lnTo>
                    <a:pt x="38" y="28"/>
                  </a:lnTo>
                  <a:lnTo>
                    <a:pt x="55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37" name="Freeform 66"/>
            <p:cNvSpPr>
              <a:spLocks noChangeAspect="1"/>
            </p:cNvSpPr>
            <p:nvPr/>
          </p:nvSpPr>
          <p:spPr bwMode="auto">
            <a:xfrm>
              <a:off x="1121338" y="1960243"/>
              <a:ext cx="26373" cy="603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42"/>
                </a:cxn>
                <a:cxn ang="0">
                  <a:pos x="28" y="51"/>
                </a:cxn>
                <a:cxn ang="0">
                  <a:pos x="35" y="103"/>
                </a:cxn>
                <a:cxn ang="0">
                  <a:pos x="46" y="66"/>
                </a:cxn>
                <a:cxn ang="0">
                  <a:pos x="46" y="35"/>
                </a:cxn>
                <a:cxn ang="0">
                  <a:pos x="43" y="0"/>
                </a:cxn>
                <a:cxn ang="0">
                  <a:pos x="0" y="0"/>
                </a:cxn>
              </a:cxnLst>
              <a:rect l="0" t="0" r="r" b="b"/>
              <a:pathLst>
                <a:path w="46" h="103">
                  <a:moveTo>
                    <a:pt x="0" y="0"/>
                  </a:moveTo>
                  <a:lnTo>
                    <a:pt x="4" y="42"/>
                  </a:lnTo>
                  <a:lnTo>
                    <a:pt x="28" y="51"/>
                  </a:lnTo>
                  <a:lnTo>
                    <a:pt x="35" y="103"/>
                  </a:lnTo>
                  <a:lnTo>
                    <a:pt x="46" y="66"/>
                  </a:lnTo>
                  <a:lnTo>
                    <a:pt x="46" y="35"/>
                  </a:lnTo>
                  <a:lnTo>
                    <a:pt x="4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38" name="Freeform 67"/>
            <p:cNvSpPr>
              <a:spLocks noChangeAspect="1"/>
            </p:cNvSpPr>
            <p:nvPr/>
          </p:nvSpPr>
          <p:spPr bwMode="auto">
            <a:xfrm>
              <a:off x="1163535" y="1963793"/>
              <a:ext cx="21099" cy="1952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0" y="32"/>
                </a:cxn>
                <a:cxn ang="0">
                  <a:pos x="36" y="0"/>
                </a:cxn>
                <a:cxn ang="0">
                  <a:pos x="0" y="8"/>
                </a:cxn>
              </a:cxnLst>
              <a:rect l="0" t="0" r="r" b="b"/>
              <a:pathLst>
                <a:path w="36" h="32">
                  <a:moveTo>
                    <a:pt x="0" y="8"/>
                  </a:moveTo>
                  <a:lnTo>
                    <a:pt x="20" y="32"/>
                  </a:lnTo>
                  <a:lnTo>
                    <a:pt x="36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39" name="Freeform 68"/>
            <p:cNvSpPr>
              <a:spLocks noChangeAspect="1"/>
            </p:cNvSpPr>
            <p:nvPr/>
          </p:nvSpPr>
          <p:spPr bwMode="auto">
            <a:xfrm>
              <a:off x="3387703" y="4104401"/>
              <a:ext cx="133626" cy="257370"/>
            </a:xfrm>
            <a:custGeom>
              <a:avLst/>
              <a:gdLst/>
              <a:ahLst/>
              <a:cxnLst>
                <a:cxn ang="0">
                  <a:pos x="144" y="146"/>
                </a:cxn>
                <a:cxn ang="0">
                  <a:pos x="78" y="109"/>
                </a:cxn>
                <a:cxn ang="0">
                  <a:pos x="40" y="0"/>
                </a:cxn>
                <a:cxn ang="0">
                  <a:pos x="0" y="39"/>
                </a:cxn>
                <a:cxn ang="0">
                  <a:pos x="5" y="114"/>
                </a:cxn>
                <a:cxn ang="0">
                  <a:pos x="28" y="289"/>
                </a:cxn>
                <a:cxn ang="0">
                  <a:pos x="83" y="367"/>
                </a:cxn>
                <a:cxn ang="0">
                  <a:pos x="128" y="422"/>
                </a:cxn>
                <a:cxn ang="0">
                  <a:pos x="224" y="435"/>
                </a:cxn>
                <a:cxn ang="0">
                  <a:pos x="227" y="402"/>
                </a:cxn>
                <a:cxn ang="0">
                  <a:pos x="215" y="246"/>
                </a:cxn>
                <a:cxn ang="0">
                  <a:pos x="144" y="146"/>
                </a:cxn>
              </a:cxnLst>
              <a:rect l="0" t="0" r="r" b="b"/>
              <a:pathLst>
                <a:path w="227" h="435">
                  <a:moveTo>
                    <a:pt x="144" y="146"/>
                  </a:moveTo>
                  <a:lnTo>
                    <a:pt x="78" y="109"/>
                  </a:lnTo>
                  <a:lnTo>
                    <a:pt x="40" y="0"/>
                  </a:lnTo>
                  <a:lnTo>
                    <a:pt x="0" y="39"/>
                  </a:lnTo>
                  <a:lnTo>
                    <a:pt x="5" y="114"/>
                  </a:lnTo>
                  <a:lnTo>
                    <a:pt x="28" y="289"/>
                  </a:lnTo>
                  <a:lnTo>
                    <a:pt x="83" y="367"/>
                  </a:lnTo>
                  <a:lnTo>
                    <a:pt x="128" y="422"/>
                  </a:lnTo>
                  <a:lnTo>
                    <a:pt x="224" y="435"/>
                  </a:lnTo>
                  <a:lnTo>
                    <a:pt x="227" y="402"/>
                  </a:lnTo>
                  <a:lnTo>
                    <a:pt x="215" y="246"/>
                  </a:lnTo>
                  <a:lnTo>
                    <a:pt x="144" y="14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0" name="Freeform 69"/>
            <p:cNvSpPr>
              <a:spLocks noChangeAspect="1"/>
            </p:cNvSpPr>
            <p:nvPr/>
          </p:nvSpPr>
          <p:spPr bwMode="auto">
            <a:xfrm>
              <a:off x="3387703" y="4104401"/>
              <a:ext cx="133626" cy="257370"/>
            </a:xfrm>
            <a:custGeom>
              <a:avLst/>
              <a:gdLst/>
              <a:ahLst/>
              <a:cxnLst>
                <a:cxn ang="0">
                  <a:pos x="144" y="146"/>
                </a:cxn>
                <a:cxn ang="0">
                  <a:pos x="78" y="109"/>
                </a:cxn>
                <a:cxn ang="0">
                  <a:pos x="40" y="0"/>
                </a:cxn>
                <a:cxn ang="0">
                  <a:pos x="0" y="39"/>
                </a:cxn>
                <a:cxn ang="0">
                  <a:pos x="5" y="114"/>
                </a:cxn>
                <a:cxn ang="0">
                  <a:pos x="28" y="289"/>
                </a:cxn>
                <a:cxn ang="0">
                  <a:pos x="83" y="367"/>
                </a:cxn>
                <a:cxn ang="0">
                  <a:pos x="128" y="422"/>
                </a:cxn>
                <a:cxn ang="0">
                  <a:pos x="224" y="435"/>
                </a:cxn>
                <a:cxn ang="0">
                  <a:pos x="227" y="402"/>
                </a:cxn>
                <a:cxn ang="0">
                  <a:pos x="215" y="246"/>
                </a:cxn>
                <a:cxn ang="0">
                  <a:pos x="144" y="146"/>
                </a:cxn>
              </a:cxnLst>
              <a:rect l="0" t="0" r="r" b="b"/>
              <a:pathLst>
                <a:path w="227" h="435">
                  <a:moveTo>
                    <a:pt x="144" y="146"/>
                  </a:moveTo>
                  <a:lnTo>
                    <a:pt x="78" y="109"/>
                  </a:lnTo>
                  <a:lnTo>
                    <a:pt x="40" y="0"/>
                  </a:lnTo>
                  <a:lnTo>
                    <a:pt x="0" y="39"/>
                  </a:lnTo>
                  <a:lnTo>
                    <a:pt x="5" y="114"/>
                  </a:lnTo>
                  <a:lnTo>
                    <a:pt x="28" y="289"/>
                  </a:lnTo>
                  <a:lnTo>
                    <a:pt x="83" y="367"/>
                  </a:lnTo>
                  <a:lnTo>
                    <a:pt x="128" y="422"/>
                  </a:lnTo>
                  <a:lnTo>
                    <a:pt x="224" y="435"/>
                  </a:lnTo>
                  <a:lnTo>
                    <a:pt x="227" y="402"/>
                  </a:lnTo>
                  <a:lnTo>
                    <a:pt x="215" y="246"/>
                  </a:lnTo>
                  <a:lnTo>
                    <a:pt x="144" y="146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1" name="Freeform 70"/>
            <p:cNvSpPr>
              <a:spLocks noChangeAspect="1"/>
            </p:cNvSpPr>
            <p:nvPr/>
          </p:nvSpPr>
          <p:spPr bwMode="auto">
            <a:xfrm>
              <a:off x="1254965" y="4968810"/>
              <a:ext cx="254943" cy="294644"/>
            </a:xfrm>
            <a:custGeom>
              <a:avLst/>
              <a:gdLst/>
              <a:ahLst/>
              <a:cxnLst>
                <a:cxn ang="0">
                  <a:pos x="148" y="7"/>
                </a:cxn>
                <a:cxn ang="0">
                  <a:pos x="268" y="14"/>
                </a:cxn>
                <a:cxn ang="0">
                  <a:pos x="286" y="83"/>
                </a:cxn>
                <a:cxn ang="0">
                  <a:pos x="291" y="118"/>
                </a:cxn>
                <a:cxn ang="0">
                  <a:pos x="316" y="131"/>
                </a:cxn>
                <a:cxn ang="0">
                  <a:pos x="326" y="169"/>
                </a:cxn>
                <a:cxn ang="0">
                  <a:pos x="354" y="170"/>
                </a:cxn>
                <a:cxn ang="0">
                  <a:pos x="368" y="220"/>
                </a:cxn>
                <a:cxn ang="0">
                  <a:pos x="388" y="224"/>
                </a:cxn>
                <a:cxn ang="0">
                  <a:pos x="433" y="244"/>
                </a:cxn>
                <a:cxn ang="0">
                  <a:pos x="420" y="272"/>
                </a:cxn>
                <a:cxn ang="0">
                  <a:pos x="393" y="293"/>
                </a:cxn>
                <a:cxn ang="0">
                  <a:pos x="368" y="321"/>
                </a:cxn>
                <a:cxn ang="0">
                  <a:pos x="332" y="338"/>
                </a:cxn>
                <a:cxn ang="0">
                  <a:pos x="320" y="383"/>
                </a:cxn>
                <a:cxn ang="0">
                  <a:pos x="291" y="390"/>
                </a:cxn>
                <a:cxn ang="0">
                  <a:pos x="272" y="420"/>
                </a:cxn>
                <a:cxn ang="0">
                  <a:pos x="245" y="447"/>
                </a:cxn>
                <a:cxn ang="0">
                  <a:pos x="202" y="447"/>
                </a:cxn>
                <a:cxn ang="0">
                  <a:pos x="172" y="430"/>
                </a:cxn>
                <a:cxn ang="0">
                  <a:pos x="147" y="430"/>
                </a:cxn>
                <a:cxn ang="0">
                  <a:pos x="129" y="452"/>
                </a:cxn>
                <a:cxn ang="0">
                  <a:pos x="119" y="483"/>
                </a:cxn>
                <a:cxn ang="0">
                  <a:pos x="93" y="499"/>
                </a:cxn>
                <a:cxn ang="0">
                  <a:pos x="31" y="485"/>
                </a:cxn>
                <a:cxn ang="0">
                  <a:pos x="20" y="437"/>
                </a:cxn>
                <a:cxn ang="0">
                  <a:pos x="3" y="416"/>
                </a:cxn>
                <a:cxn ang="0">
                  <a:pos x="0" y="252"/>
                </a:cxn>
                <a:cxn ang="0">
                  <a:pos x="24" y="243"/>
                </a:cxn>
                <a:cxn ang="0">
                  <a:pos x="46" y="226"/>
                </a:cxn>
                <a:cxn ang="0">
                  <a:pos x="49" y="64"/>
                </a:cxn>
                <a:cxn ang="0">
                  <a:pos x="73" y="22"/>
                </a:cxn>
                <a:cxn ang="0">
                  <a:pos x="124" y="0"/>
                </a:cxn>
                <a:cxn ang="0">
                  <a:pos x="148" y="7"/>
                </a:cxn>
              </a:cxnLst>
              <a:rect l="0" t="0" r="r" b="b"/>
              <a:pathLst>
                <a:path w="433" h="499">
                  <a:moveTo>
                    <a:pt x="148" y="7"/>
                  </a:moveTo>
                  <a:lnTo>
                    <a:pt x="268" y="14"/>
                  </a:lnTo>
                  <a:lnTo>
                    <a:pt x="286" y="83"/>
                  </a:lnTo>
                  <a:lnTo>
                    <a:pt x="291" y="118"/>
                  </a:lnTo>
                  <a:lnTo>
                    <a:pt x="316" y="131"/>
                  </a:lnTo>
                  <a:lnTo>
                    <a:pt x="326" y="169"/>
                  </a:lnTo>
                  <a:lnTo>
                    <a:pt x="354" y="170"/>
                  </a:lnTo>
                  <a:lnTo>
                    <a:pt x="368" y="220"/>
                  </a:lnTo>
                  <a:lnTo>
                    <a:pt x="388" y="224"/>
                  </a:lnTo>
                  <a:lnTo>
                    <a:pt x="433" y="244"/>
                  </a:lnTo>
                  <a:lnTo>
                    <a:pt x="420" y="272"/>
                  </a:lnTo>
                  <a:lnTo>
                    <a:pt x="393" y="293"/>
                  </a:lnTo>
                  <a:lnTo>
                    <a:pt x="368" y="321"/>
                  </a:lnTo>
                  <a:lnTo>
                    <a:pt x="332" y="338"/>
                  </a:lnTo>
                  <a:lnTo>
                    <a:pt x="320" y="383"/>
                  </a:lnTo>
                  <a:lnTo>
                    <a:pt x="291" y="390"/>
                  </a:lnTo>
                  <a:lnTo>
                    <a:pt x="272" y="420"/>
                  </a:lnTo>
                  <a:lnTo>
                    <a:pt x="245" y="447"/>
                  </a:lnTo>
                  <a:lnTo>
                    <a:pt x="202" y="447"/>
                  </a:lnTo>
                  <a:lnTo>
                    <a:pt x="172" y="430"/>
                  </a:lnTo>
                  <a:lnTo>
                    <a:pt x="147" y="430"/>
                  </a:lnTo>
                  <a:lnTo>
                    <a:pt x="129" y="452"/>
                  </a:lnTo>
                  <a:lnTo>
                    <a:pt x="119" y="483"/>
                  </a:lnTo>
                  <a:lnTo>
                    <a:pt x="93" y="499"/>
                  </a:lnTo>
                  <a:lnTo>
                    <a:pt x="31" y="485"/>
                  </a:lnTo>
                  <a:lnTo>
                    <a:pt x="20" y="437"/>
                  </a:lnTo>
                  <a:lnTo>
                    <a:pt x="3" y="416"/>
                  </a:lnTo>
                  <a:lnTo>
                    <a:pt x="0" y="252"/>
                  </a:lnTo>
                  <a:lnTo>
                    <a:pt x="24" y="243"/>
                  </a:lnTo>
                  <a:lnTo>
                    <a:pt x="46" y="226"/>
                  </a:lnTo>
                  <a:lnTo>
                    <a:pt x="49" y="64"/>
                  </a:lnTo>
                  <a:lnTo>
                    <a:pt x="73" y="22"/>
                  </a:lnTo>
                  <a:lnTo>
                    <a:pt x="124" y="0"/>
                  </a:lnTo>
                  <a:lnTo>
                    <a:pt x="148" y="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2" name="Freeform 71"/>
            <p:cNvSpPr>
              <a:spLocks noChangeAspect="1"/>
            </p:cNvSpPr>
            <p:nvPr/>
          </p:nvSpPr>
          <p:spPr bwMode="auto">
            <a:xfrm>
              <a:off x="3704186" y="4734513"/>
              <a:ext cx="1063732" cy="919432"/>
            </a:xfrm>
            <a:custGeom>
              <a:avLst/>
              <a:gdLst/>
              <a:ahLst/>
              <a:cxnLst>
                <a:cxn ang="0">
                  <a:pos x="937" y="103"/>
                </a:cxn>
                <a:cxn ang="0">
                  <a:pos x="815" y="158"/>
                </a:cxn>
                <a:cxn ang="0">
                  <a:pos x="802" y="233"/>
                </a:cxn>
                <a:cxn ang="0">
                  <a:pos x="727" y="206"/>
                </a:cxn>
                <a:cxn ang="0">
                  <a:pos x="629" y="190"/>
                </a:cxn>
                <a:cxn ang="0">
                  <a:pos x="582" y="265"/>
                </a:cxn>
                <a:cxn ang="0">
                  <a:pos x="517" y="320"/>
                </a:cxn>
                <a:cxn ang="0">
                  <a:pos x="495" y="355"/>
                </a:cxn>
                <a:cxn ang="0">
                  <a:pos x="458" y="399"/>
                </a:cxn>
                <a:cxn ang="0">
                  <a:pos x="328" y="510"/>
                </a:cxn>
                <a:cxn ang="0">
                  <a:pos x="96" y="628"/>
                </a:cxn>
                <a:cxn ang="0">
                  <a:pos x="28" y="782"/>
                </a:cxn>
                <a:cxn ang="0">
                  <a:pos x="52" y="837"/>
                </a:cxn>
                <a:cxn ang="0">
                  <a:pos x="0" y="854"/>
                </a:cxn>
                <a:cxn ang="0">
                  <a:pos x="52" y="988"/>
                </a:cxn>
                <a:cxn ang="0">
                  <a:pos x="52" y="1091"/>
                </a:cxn>
                <a:cxn ang="0">
                  <a:pos x="79" y="1193"/>
                </a:cxn>
                <a:cxn ang="0">
                  <a:pos x="35" y="1233"/>
                </a:cxn>
                <a:cxn ang="0">
                  <a:pos x="111" y="1343"/>
                </a:cxn>
                <a:cxn ang="0">
                  <a:pos x="166" y="1327"/>
                </a:cxn>
                <a:cxn ang="0">
                  <a:pos x="261" y="1305"/>
                </a:cxn>
                <a:cxn ang="0">
                  <a:pos x="451" y="1237"/>
                </a:cxn>
                <a:cxn ang="0">
                  <a:pos x="644" y="1185"/>
                </a:cxn>
                <a:cxn ang="0">
                  <a:pos x="731" y="1154"/>
                </a:cxn>
                <a:cxn ang="0">
                  <a:pos x="775" y="1170"/>
                </a:cxn>
                <a:cxn ang="0">
                  <a:pos x="878" y="1209"/>
                </a:cxn>
                <a:cxn ang="0">
                  <a:pos x="917" y="1323"/>
                </a:cxn>
                <a:cxn ang="0">
                  <a:pos x="981" y="1296"/>
                </a:cxn>
                <a:cxn ang="0">
                  <a:pos x="1044" y="1209"/>
                </a:cxn>
                <a:cxn ang="0">
                  <a:pos x="1032" y="1292"/>
                </a:cxn>
                <a:cxn ang="0">
                  <a:pos x="1036" y="1336"/>
                </a:cxn>
                <a:cxn ang="0">
                  <a:pos x="1064" y="1284"/>
                </a:cxn>
                <a:cxn ang="0">
                  <a:pos x="1071" y="1336"/>
                </a:cxn>
                <a:cxn ang="0">
                  <a:pos x="1103" y="1399"/>
                </a:cxn>
                <a:cxn ang="0">
                  <a:pos x="1130" y="1489"/>
                </a:cxn>
                <a:cxn ang="0">
                  <a:pos x="1344" y="1553"/>
                </a:cxn>
                <a:cxn ang="0">
                  <a:pos x="1553" y="1458"/>
                </a:cxn>
                <a:cxn ang="0">
                  <a:pos x="1649" y="1312"/>
                </a:cxn>
                <a:cxn ang="0">
                  <a:pos x="1763" y="1158"/>
                </a:cxn>
                <a:cxn ang="0">
                  <a:pos x="1787" y="999"/>
                </a:cxn>
                <a:cxn ang="0">
                  <a:pos x="1811" y="795"/>
                </a:cxn>
                <a:cxn ang="0">
                  <a:pos x="1728" y="632"/>
                </a:cxn>
                <a:cxn ang="0">
                  <a:pos x="1652" y="521"/>
                </a:cxn>
                <a:cxn ang="0">
                  <a:pos x="1557" y="368"/>
                </a:cxn>
                <a:cxn ang="0">
                  <a:pos x="1470" y="190"/>
                </a:cxn>
                <a:cxn ang="0">
                  <a:pos x="1463" y="55"/>
                </a:cxn>
                <a:cxn ang="0">
                  <a:pos x="1384" y="55"/>
                </a:cxn>
                <a:cxn ang="0">
                  <a:pos x="1360" y="280"/>
                </a:cxn>
                <a:cxn ang="0">
                  <a:pos x="1316" y="359"/>
                </a:cxn>
                <a:cxn ang="0">
                  <a:pos x="1213" y="316"/>
                </a:cxn>
                <a:cxn ang="0">
                  <a:pos x="1115" y="256"/>
                </a:cxn>
                <a:cxn ang="0">
                  <a:pos x="1099" y="193"/>
                </a:cxn>
                <a:cxn ang="0">
                  <a:pos x="1139" y="142"/>
                </a:cxn>
                <a:cxn ang="0">
                  <a:pos x="1095" y="75"/>
                </a:cxn>
                <a:cxn ang="0">
                  <a:pos x="968" y="35"/>
                </a:cxn>
                <a:cxn ang="0">
                  <a:pos x="894" y="48"/>
                </a:cxn>
              </a:cxnLst>
              <a:rect l="0" t="0" r="r" b="b"/>
              <a:pathLst>
                <a:path w="1814" h="1553">
                  <a:moveTo>
                    <a:pt x="926" y="63"/>
                  </a:moveTo>
                  <a:lnTo>
                    <a:pt x="937" y="103"/>
                  </a:lnTo>
                  <a:lnTo>
                    <a:pt x="850" y="114"/>
                  </a:lnTo>
                  <a:lnTo>
                    <a:pt x="815" y="158"/>
                  </a:lnTo>
                  <a:lnTo>
                    <a:pt x="810" y="186"/>
                  </a:lnTo>
                  <a:lnTo>
                    <a:pt x="802" y="233"/>
                  </a:lnTo>
                  <a:lnTo>
                    <a:pt x="747" y="245"/>
                  </a:lnTo>
                  <a:lnTo>
                    <a:pt x="727" y="206"/>
                  </a:lnTo>
                  <a:lnTo>
                    <a:pt x="700" y="173"/>
                  </a:lnTo>
                  <a:lnTo>
                    <a:pt x="629" y="190"/>
                  </a:lnTo>
                  <a:lnTo>
                    <a:pt x="617" y="233"/>
                  </a:lnTo>
                  <a:lnTo>
                    <a:pt x="582" y="265"/>
                  </a:lnTo>
                  <a:lnTo>
                    <a:pt x="541" y="284"/>
                  </a:lnTo>
                  <a:lnTo>
                    <a:pt x="517" y="320"/>
                  </a:lnTo>
                  <a:lnTo>
                    <a:pt x="517" y="355"/>
                  </a:lnTo>
                  <a:lnTo>
                    <a:pt x="495" y="355"/>
                  </a:lnTo>
                  <a:lnTo>
                    <a:pt x="471" y="320"/>
                  </a:lnTo>
                  <a:lnTo>
                    <a:pt x="458" y="399"/>
                  </a:lnTo>
                  <a:lnTo>
                    <a:pt x="392" y="482"/>
                  </a:lnTo>
                  <a:lnTo>
                    <a:pt x="328" y="510"/>
                  </a:lnTo>
                  <a:lnTo>
                    <a:pt x="166" y="557"/>
                  </a:lnTo>
                  <a:lnTo>
                    <a:pt x="96" y="628"/>
                  </a:lnTo>
                  <a:lnTo>
                    <a:pt x="17" y="637"/>
                  </a:lnTo>
                  <a:lnTo>
                    <a:pt x="28" y="782"/>
                  </a:lnTo>
                  <a:lnTo>
                    <a:pt x="59" y="806"/>
                  </a:lnTo>
                  <a:lnTo>
                    <a:pt x="52" y="837"/>
                  </a:lnTo>
                  <a:lnTo>
                    <a:pt x="4" y="806"/>
                  </a:lnTo>
                  <a:lnTo>
                    <a:pt x="0" y="854"/>
                  </a:lnTo>
                  <a:lnTo>
                    <a:pt x="24" y="937"/>
                  </a:lnTo>
                  <a:lnTo>
                    <a:pt x="52" y="988"/>
                  </a:lnTo>
                  <a:lnTo>
                    <a:pt x="52" y="1047"/>
                  </a:lnTo>
                  <a:lnTo>
                    <a:pt x="52" y="1091"/>
                  </a:lnTo>
                  <a:lnTo>
                    <a:pt x="76" y="1102"/>
                  </a:lnTo>
                  <a:lnTo>
                    <a:pt x="79" y="1193"/>
                  </a:lnTo>
                  <a:lnTo>
                    <a:pt x="52" y="1198"/>
                  </a:lnTo>
                  <a:lnTo>
                    <a:pt x="35" y="1233"/>
                  </a:lnTo>
                  <a:lnTo>
                    <a:pt x="17" y="1261"/>
                  </a:lnTo>
                  <a:lnTo>
                    <a:pt x="111" y="1343"/>
                  </a:lnTo>
                  <a:lnTo>
                    <a:pt x="151" y="1351"/>
                  </a:lnTo>
                  <a:lnTo>
                    <a:pt x="166" y="1327"/>
                  </a:lnTo>
                  <a:lnTo>
                    <a:pt x="186" y="1296"/>
                  </a:lnTo>
                  <a:lnTo>
                    <a:pt x="261" y="1305"/>
                  </a:lnTo>
                  <a:lnTo>
                    <a:pt x="420" y="1281"/>
                  </a:lnTo>
                  <a:lnTo>
                    <a:pt x="451" y="1237"/>
                  </a:lnTo>
                  <a:lnTo>
                    <a:pt x="499" y="1202"/>
                  </a:lnTo>
                  <a:lnTo>
                    <a:pt x="644" y="1185"/>
                  </a:lnTo>
                  <a:lnTo>
                    <a:pt x="672" y="1158"/>
                  </a:lnTo>
                  <a:lnTo>
                    <a:pt x="731" y="1154"/>
                  </a:lnTo>
                  <a:lnTo>
                    <a:pt x="771" y="1146"/>
                  </a:lnTo>
                  <a:lnTo>
                    <a:pt x="775" y="1170"/>
                  </a:lnTo>
                  <a:lnTo>
                    <a:pt x="843" y="1174"/>
                  </a:lnTo>
                  <a:lnTo>
                    <a:pt x="878" y="1209"/>
                  </a:lnTo>
                  <a:lnTo>
                    <a:pt x="913" y="1264"/>
                  </a:lnTo>
                  <a:lnTo>
                    <a:pt x="917" y="1323"/>
                  </a:lnTo>
                  <a:lnTo>
                    <a:pt x="944" y="1320"/>
                  </a:lnTo>
                  <a:lnTo>
                    <a:pt x="981" y="1296"/>
                  </a:lnTo>
                  <a:lnTo>
                    <a:pt x="1016" y="1257"/>
                  </a:lnTo>
                  <a:lnTo>
                    <a:pt x="1044" y="1209"/>
                  </a:lnTo>
                  <a:lnTo>
                    <a:pt x="1047" y="1248"/>
                  </a:lnTo>
                  <a:lnTo>
                    <a:pt x="1032" y="1292"/>
                  </a:lnTo>
                  <a:lnTo>
                    <a:pt x="1005" y="1327"/>
                  </a:lnTo>
                  <a:lnTo>
                    <a:pt x="1036" y="1336"/>
                  </a:lnTo>
                  <a:lnTo>
                    <a:pt x="1047" y="1305"/>
                  </a:lnTo>
                  <a:lnTo>
                    <a:pt x="1064" y="1284"/>
                  </a:lnTo>
                  <a:lnTo>
                    <a:pt x="1064" y="1305"/>
                  </a:lnTo>
                  <a:lnTo>
                    <a:pt x="1071" y="1336"/>
                  </a:lnTo>
                  <a:lnTo>
                    <a:pt x="1099" y="1364"/>
                  </a:lnTo>
                  <a:lnTo>
                    <a:pt x="1103" y="1399"/>
                  </a:lnTo>
                  <a:lnTo>
                    <a:pt x="1087" y="1446"/>
                  </a:lnTo>
                  <a:lnTo>
                    <a:pt x="1130" y="1489"/>
                  </a:lnTo>
                  <a:lnTo>
                    <a:pt x="1229" y="1529"/>
                  </a:lnTo>
                  <a:lnTo>
                    <a:pt x="1344" y="1553"/>
                  </a:lnTo>
                  <a:lnTo>
                    <a:pt x="1423" y="1522"/>
                  </a:lnTo>
                  <a:lnTo>
                    <a:pt x="1553" y="1458"/>
                  </a:lnTo>
                  <a:lnTo>
                    <a:pt x="1588" y="1360"/>
                  </a:lnTo>
                  <a:lnTo>
                    <a:pt x="1649" y="1312"/>
                  </a:lnTo>
                  <a:lnTo>
                    <a:pt x="1688" y="1229"/>
                  </a:lnTo>
                  <a:lnTo>
                    <a:pt x="1763" y="1158"/>
                  </a:lnTo>
                  <a:lnTo>
                    <a:pt x="1787" y="1126"/>
                  </a:lnTo>
                  <a:lnTo>
                    <a:pt x="1787" y="999"/>
                  </a:lnTo>
                  <a:lnTo>
                    <a:pt x="1814" y="834"/>
                  </a:lnTo>
                  <a:lnTo>
                    <a:pt x="1811" y="795"/>
                  </a:lnTo>
                  <a:lnTo>
                    <a:pt x="1755" y="719"/>
                  </a:lnTo>
                  <a:lnTo>
                    <a:pt x="1728" y="632"/>
                  </a:lnTo>
                  <a:lnTo>
                    <a:pt x="1668" y="604"/>
                  </a:lnTo>
                  <a:lnTo>
                    <a:pt x="1652" y="521"/>
                  </a:lnTo>
                  <a:lnTo>
                    <a:pt x="1561" y="475"/>
                  </a:lnTo>
                  <a:lnTo>
                    <a:pt x="1557" y="368"/>
                  </a:lnTo>
                  <a:lnTo>
                    <a:pt x="1526" y="252"/>
                  </a:lnTo>
                  <a:lnTo>
                    <a:pt x="1470" y="190"/>
                  </a:lnTo>
                  <a:lnTo>
                    <a:pt x="1439" y="103"/>
                  </a:lnTo>
                  <a:lnTo>
                    <a:pt x="1463" y="55"/>
                  </a:lnTo>
                  <a:lnTo>
                    <a:pt x="1415" y="0"/>
                  </a:lnTo>
                  <a:lnTo>
                    <a:pt x="1384" y="55"/>
                  </a:lnTo>
                  <a:lnTo>
                    <a:pt x="1356" y="90"/>
                  </a:lnTo>
                  <a:lnTo>
                    <a:pt x="1360" y="280"/>
                  </a:lnTo>
                  <a:lnTo>
                    <a:pt x="1332" y="328"/>
                  </a:lnTo>
                  <a:lnTo>
                    <a:pt x="1316" y="359"/>
                  </a:lnTo>
                  <a:lnTo>
                    <a:pt x="1261" y="359"/>
                  </a:lnTo>
                  <a:lnTo>
                    <a:pt x="1213" y="316"/>
                  </a:lnTo>
                  <a:lnTo>
                    <a:pt x="1154" y="292"/>
                  </a:lnTo>
                  <a:lnTo>
                    <a:pt x="1115" y="256"/>
                  </a:lnTo>
                  <a:lnTo>
                    <a:pt x="1079" y="241"/>
                  </a:lnTo>
                  <a:lnTo>
                    <a:pt x="1099" y="193"/>
                  </a:lnTo>
                  <a:lnTo>
                    <a:pt x="1111" y="154"/>
                  </a:lnTo>
                  <a:lnTo>
                    <a:pt x="1139" y="142"/>
                  </a:lnTo>
                  <a:lnTo>
                    <a:pt x="1158" y="87"/>
                  </a:lnTo>
                  <a:lnTo>
                    <a:pt x="1095" y="75"/>
                  </a:lnTo>
                  <a:lnTo>
                    <a:pt x="1036" y="71"/>
                  </a:lnTo>
                  <a:lnTo>
                    <a:pt x="968" y="35"/>
                  </a:lnTo>
                  <a:lnTo>
                    <a:pt x="898" y="28"/>
                  </a:lnTo>
                  <a:lnTo>
                    <a:pt x="894" y="48"/>
                  </a:lnTo>
                  <a:lnTo>
                    <a:pt x="926" y="6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3" name="Freeform 72"/>
            <p:cNvSpPr>
              <a:spLocks noChangeAspect="1"/>
            </p:cNvSpPr>
            <p:nvPr/>
          </p:nvSpPr>
          <p:spPr bwMode="auto">
            <a:xfrm>
              <a:off x="5228575" y="5511949"/>
              <a:ext cx="121318" cy="244945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17" y="52"/>
                </a:cxn>
                <a:cxn ang="0">
                  <a:pos x="41" y="107"/>
                </a:cxn>
                <a:cxn ang="0">
                  <a:pos x="64" y="150"/>
                </a:cxn>
                <a:cxn ang="0">
                  <a:pos x="44" y="210"/>
                </a:cxn>
                <a:cxn ang="0">
                  <a:pos x="0" y="261"/>
                </a:cxn>
                <a:cxn ang="0">
                  <a:pos x="4" y="296"/>
                </a:cxn>
                <a:cxn ang="0">
                  <a:pos x="20" y="396"/>
                </a:cxn>
                <a:cxn ang="0">
                  <a:pos x="64" y="414"/>
                </a:cxn>
                <a:cxn ang="0">
                  <a:pos x="76" y="348"/>
                </a:cxn>
                <a:cxn ang="0">
                  <a:pos x="120" y="304"/>
                </a:cxn>
                <a:cxn ang="0">
                  <a:pos x="190" y="265"/>
                </a:cxn>
                <a:cxn ang="0">
                  <a:pos x="206" y="214"/>
                </a:cxn>
                <a:cxn ang="0">
                  <a:pos x="202" y="173"/>
                </a:cxn>
                <a:cxn ang="0">
                  <a:pos x="127" y="173"/>
                </a:cxn>
                <a:cxn ang="0">
                  <a:pos x="123" y="114"/>
                </a:cxn>
                <a:cxn ang="0">
                  <a:pos x="100" y="114"/>
                </a:cxn>
                <a:cxn ang="0">
                  <a:pos x="72" y="103"/>
                </a:cxn>
                <a:cxn ang="0">
                  <a:pos x="76" y="43"/>
                </a:cxn>
                <a:cxn ang="0">
                  <a:pos x="59" y="8"/>
                </a:cxn>
                <a:cxn ang="0">
                  <a:pos x="17" y="0"/>
                </a:cxn>
              </a:cxnLst>
              <a:rect l="0" t="0" r="r" b="b"/>
              <a:pathLst>
                <a:path w="206" h="414">
                  <a:moveTo>
                    <a:pt x="17" y="0"/>
                  </a:moveTo>
                  <a:lnTo>
                    <a:pt x="17" y="52"/>
                  </a:lnTo>
                  <a:lnTo>
                    <a:pt x="41" y="107"/>
                  </a:lnTo>
                  <a:lnTo>
                    <a:pt x="64" y="150"/>
                  </a:lnTo>
                  <a:lnTo>
                    <a:pt x="44" y="210"/>
                  </a:lnTo>
                  <a:lnTo>
                    <a:pt x="0" y="261"/>
                  </a:lnTo>
                  <a:lnTo>
                    <a:pt x="4" y="296"/>
                  </a:lnTo>
                  <a:lnTo>
                    <a:pt x="20" y="396"/>
                  </a:lnTo>
                  <a:lnTo>
                    <a:pt x="64" y="414"/>
                  </a:lnTo>
                  <a:lnTo>
                    <a:pt x="76" y="348"/>
                  </a:lnTo>
                  <a:lnTo>
                    <a:pt x="120" y="304"/>
                  </a:lnTo>
                  <a:lnTo>
                    <a:pt x="190" y="265"/>
                  </a:lnTo>
                  <a:lnTo>
                    <a:pt x="206" y="214"/>
                  </a:lnTo>
                  <a:lnTo>
                    <a:pt x="202" y="173"/>
                  </a:lnTo>
                  <a:lnTo>
                    <a:pt x="127" y="173"/>
                  </a:lnTo>
                  <a:lnTo>
                    <a:pt x="123" y="114"/>
                  </a:lnTo>
                  <a:lnTo>
                    <a:pt x="100" y="114"/>
                  </a:lnTo>
                  <a:lnTo>
                    <a:pt x="72" y="103"/>
                  </a:lnTo>
                  <a:lnTo>
                    <a:pt x="76" y="43"/>
                  </a:lnTo>
                  <a:lnTo>
                    <a:pt x="59" y="8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4" name="Freeform 73"/>
            <p:cNvSpPr>
              <a:spLocks noChangeAspect="1"/>
            </p:cNvSpPr>
            <p:nvPr/>
          </p:nvSpPr>
          <p:spPr bwMode="auto">
            <a:xfrm>
              <a:off x="4980664" y="5712520"/>
              <a:ext cx="232087" cy="236070"/>
            </a:xfrm>
            <a:custGeom>
              <a:avLst/>
              <a:gdLst/>
              <a:ahLst/>
              <a:cxnLst>
                <a:cxn ang="0">
                  <a:pos x="309" y="4"/>
                </a:cxn>
                <a:cxn ang="0">
                  <a:pos x="302" y="67"/>
                </a:cxn>
                <a:cxn ang="0">
                  <a:pos x="238" y="98"/>
                </a:cxn>
                <a:cxn ang="0">
                  <a:pos x="191" y="162"/>
                </a:cxn>
                <a:cxn ang="0">
                  <a:pos x="76" y="214"/>
                </a:cxn>
                <a:cxn ang="0">
                  <a:pos x="0" y="284"/>
                </a:cxn>
                <a:cxn ang="0">
                  <a:pos x="17" y="332"/>
                </a:cxn>
                <a:cxn ang="0">
                  <a:pos x="84" y="398"/>
                </a:cxn>
                <a:cxn ang="0">
                  <a:pos x="171" y="324"/>
                </a:cxn>
                <a:cxn ang="0">
                  <a:pos x="199" y="257"/>
                </a:cxn>
                <a:cxn ang="0">
                  <a:pos x="261" y="209"/>
                </a:cxn>
                <a:cxn ang="0">
                  <a:pos x="298" y="209"/>
                </a:cxn>
                <a:cxn ang="0">
                  <a:pos x="317" y="154"/>
                </a:cxn>
                <a:cxn ang="0">
                  <a:pos x="357" y="107"/>
                </a:cxn>
                <a:cxn ang="0">
                  <a:pos x="396" y="67"/>
                </a:cxn>
                <a:cxn ang="0">
                  <a:pos x="381" y="15"/>
                </a:cxn>
                <a:cxn ang="0">
                  <a:pos x="357" y="43"/>
                </a:cxn>
                <a:cxn ang="0">
                  <a:pos x="353" y="0"/>
                </a:cxn>
                <a:cxn ang="0">
                  <a:pos x="309" y="4"/>
                </a:cxn>
              </a:cxnLst>
              <a:rect l="0" t="0" r="r" b="b"/>
              <a:pathLst>
                <a:path w="396" h="398">
                  <a:moveTo>
                    <a:pt x="309" y="4"/>
                  </a:moveTo>
                  <a:lnTo>
                    <a:pt x="302" y="67"/>
                  </a:lnTo>
                  <a:lnTo>
                    <a:pt x="238" y="98"/>
                  </a:lnTo>
                  <a:lnTo>
                    <a:pt x="191" y="162"/>
                  </a:lnTo>
                  <a:lnTo>
                    <a:pt x="76" y="214"/>
                  </a:lnTo>
                  <a:lnTo>
                    <a:pt x="0" y="284"/>
                  </a:lnTo>
                  <a:lnTo>
                    <a:pt x="17" y="332"/>
                  </a:lnTo>
                  <a:lnTo>
                    <a:pt x="84" y="398"/>
                  </a:lnTo>
                  <a:lnTo>
                    <a:pt x="171" y="324"/>
                  </a:lnTo>
                  <a:lnTo>
                    <a:pt x="199" y="257"/>
                  </a:lnTo>
                  <a:lnTo>
                    <a:pt x="261" y="209"/>
                  </a:lnTo>
                  <a:lnTo>
                    <a:pt x="298" y="209"/>
                  </a:lnTo>
                  <a:lnTo>
                    <a:pt x="317" y="154"/>
                  </a:lnTo>
                  <a:lnTo>
                    <a:pt x="357" y="107"/>
                  </a:lnTo>
                  <a:lnTo>
                    <a:pt x="396" y="67"/>
                  </a:lnTo>
                  <a:lnTo>
                    <a:pt x="381" y="15"/>
                  </a:lnTo>
                  <a:lnTo>
                    <a:pt x="357" y="43"/>
                  </a:lnTo>
                  <a:lnTo>
                    <a:pt x="353" y="0"/>
                  </a:lnTo>
                  <a:lnTo>
                    <a:pt x="309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5" name="Freeform 74"/>
            <p:cNvSpPr>
              <a:spLocks noChangeAspect="1"/>
            </p:cNvSpPr>
            <p:nvPr/>
          </p:nvSpPr>
          <p:spPr bwMode="auto">
            <a:xfrm>
              <a:off x="4316052" y="2906300"/>
              <a:ext cx="128351" cy="165072"/>
            </a:xfrm>
            <a:custGeom>
              <a:avLst/>
              <a:gdLst/>
              <a:ahLst/>
              <a:cxnLst>
                <a:cxn ang="0">
                  <a:pos x="35" y="22"/>
                </a:cxn>
                <a:cxn ang="0">
                  <a:pos x="47" y="83"/>
                </a:cxn>
                <a:cxn ang="0">
                  <a:pos x="51" y="134"/>
                </a:cxn>
                <a:cxn ang="0">
                  <a:pos x="23" y="184"/>
                </a:cxn>
                <a:cxn ang="0">
                  <a:pos x="0" y="228"/>
                </a:cxn>
                <a:cxn ang="0">
                  <a:pos x="27" y="252"/>
                </a:cxn>
                <a:cxn ang="0">
                  <a:pos x="79" y="232"/>
                </a:cxn>
                <a:cxn ang="0">
                  <a:pos x="130" y="245"/>
                </a:cxn>
                <a:cxn ang="0">
                  <a:pos x="130" y="245"/>
                </a:cxn>
                <a:cxn ang="0">
                  <a:pos x="141" y="265"/>
                </a:cxn>
                <a:cxn ang="0">
                  <a:pos x="150" y="276"/>
                </a:cxn>
                <a:cxn ang="0">
                  <a:pos x="153" y="277"/>
                </a:cxn>
                <a:cxn ang="0">
                  <a:pos x="154" y="277"/>
                </a:cxn>
                <a:cxn ang="0">
                  <a:pos x="154" y="276"/>
                </a:cxn>
                <a:cxn ang="0">
                  <a:pos x="154" y="276"/>
                </a:cxn>
                <a:cxn ang="0">
                  <a:pos x="155" y="270"/>
                </a:cxn>
                <a:cxn ang="0">
                  <a:pos x="159" y="261"/>
                </a:cxn>
                <a:cxn ang="0">
                  <a:pos x="169" y="238"/>
                </a:cxn>
                <a:cxn ang="0">
                  <a:pos x="185" y="208"/>
                </a:cxn>
                <a:cxn ang="0">
                  <a:pos x="217" y="193"/>
                </a:cxn>
                <a:cxn ang="0">
                  <a:pos x="209" y="134"/>
                </a:cxn>
                <a:cxn ang="0">
                  <a:pos x="161" y="118"/>
                </a:cxn>
                <a:cxn ang="0">
                  <a:pos x="95" y="94"/>
                </a:cxn>
                <a:cxn ang="0">
                  <a:pos x="75" y="42"/>
                </a:cxn>
                <a:cxn ang="0">
                  <a:pos x="55" y="0"/>
                </a:cxn>
                <a:cxn ang="0">
                  <a:pos x="35" y="22"/>
                </a:cxn>
              </a:cxnLst>
              <a:rect l="0" t="0" r="r" b="b"/>
              <a:pathLst>
                <a:path w="217" h="277">
                  <a:moveTo>
                    <a:pt x="35" y="22"/>
                  </a:moveTo>
                  <a:lnTo>
                    <a:pt x="47" y="83"/>
                  </a:lnTo>
                  <a:lnTo>
                    <a:pt x="51" y="134"/>
                  </a:lnTo>
                  <a:lnTo>
                    <a:pt x="23" y="184"/>
                  </a:lnTo>
                  <a:lnTo>
                    <a:pt x="0" y="228"/>
                  </a:lnTo>
                  <a:lnTo>
                    <a:pt x="27" y="252"/>
                  </a:lnTo>
                  <a:lnTo>
                    <a:pt x="79" y="232"/>
                  </a:lnTo>
                  <a:lnTo>
                    <a:pt x="130" y="245"/>
                  </a:lnTo>
                  <a:lnTo>
                    <a:pt x="130" y="245"/>
                  </a:lnTo>
                  <a:lnTo>
                    <a:pt x="141" y="265"/>
                  </a:lnTo>
                  <a:lnTo>
                    <a:pt x="150" y="276"/>
                  </a:lnTo>
                  <a:lnTo>
                    <a:pt x="153" y="277"/>
                  </a:lnTo>
                  <a:lnTo>
                    <a:pt x="154" y="277"/>
                  </a:lnTo>
                  <a:lnTo>
                    <a:pt x="154" y="276"/>
                  </a:lnTo>
                  <a:lnTo>
                    <a:pt x="154" y="276"/>
                  </a:lnTo>
                  <a:lnTo>
                    <a:pt x="155" y="270"/>
                  </a:lnTo>
                  <a:lnTo>
                    <a:pt x="159" y="261"/>
                  </a:lnTo>
                  <a:lnTo>
                    <a:pt x="169" y="238"/>
                  </a:lnTo>
                  <a:lnTo>
                    <a:pt x="185" y="208"/>
                  </a:lnTo>
                  <a:lnTo>
                    <a:pt x="217" y="193"/>
                  </a:lnTo>
                  <a:lnTo>
                    <a:pt x="209" y="134"/>
                  </a:lnTo>
                  <a:lnTo>
                    <a:pt x="161" y="118"/>
                  </a:lnTo>
                  <a:lnTo>
                    <a:pt x="95" y="94"/>
                  </a:lnTo>
                  <a:lnTo>
                    <a:pt x="75" y="42"/>
                  </a:lnTo>
                  <a:lnTo>
                    <a:pt x="55" y="0"/>
                  </a:lnTo>
                  <a:lnTo>
                    <a:pt x="35" y="2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6" name="Freeform 75"/>
            <p:cNvSpPr>
              <a:spLocks noChangeAspect="1"/>
            </p:cNvSpPr>
            <p:nvPr/>
          </p:nvSpPr>
          <p:spPr bwMode="auto">
            <a:xfrm>
              <a:off x="4163085" y="3087346"/>
              <a:ext cx="249670" cy="264469"/>
            </a:xfrm>
            <a:custGeom>
              <a:avLst/>
              <a:gdLst/>
              <a:ahLst/>
              <a:cxnLst>
                <a:cxn ang="0">
                  <a:pos x="317" y="0"/>
                </a:cxn>
                <a:cxn ang="0">
                  <a:pos x="361" y="0"/>
                </a:cxn>
                <a:cxn ang="0">
                  <a:pos x="376" y="75"/>
                </a:cxn>
                <a:cxn ang="0">
                  <a:pos x="392" y="106"/>
                </a:cxn>
                <a:cxn ang="0">
                  <a:pos x="427" y="141"/>
                </a:cxn>
                <a:cxn ang="0">
                  <a:pos x="372" y="189"/>
                </a:cxn>
                <a:cxn ang="0">
                  <a:pos x="396" y="272"/>
                </a:cxn>
                <a:cxn ang="0">
                  <a:pos x="385" y="324"/>
                </a:cxn>
                <a:cxn ang="0">
                  <a:pos x="361" y="351"/>
                </a:cxn>
                <a:cxn ang="0">
                  <a:pos x="337" y="359"/>
                </a:cxn>
                <a:cxn ang="0">
                  <a:pos x="321" y="399"/>
                </a:cxn>
                <a:cxn ang="0">
                  <a:pos x="289" y="362"/>
                </a:cxn>
                <a:cxn ang="0">
                  <a:pos x="274" y="383"/>
                </a:cxn>
                <a:cxn ang="0">
                  <a:pos x="214" y="386"/>
                </a:cxn>
                <a:cxn ang="0">
                  <a:pos x="203" y="359"/>
                </a:cxn>
                <a:cxn ang="0">
                  <a:pos x="179" y="367"/>
                </a:cxn>
                <a:cxn ang="0">
                  <a:pos x="179" y="438"/>
                </a:cxn>
                <a:cxn ang="0">
                  <a:pos x="147" y="419"/>
                </a:cxn>
                <a:cxn ang="0">
                  <a:pos x="127" y="390"/>
                </a:cxn>
                <a:cxn ang="0">
                  <a:pos x="116" y="438"/>
                </a:cxn>
                <a:cxn ang="0">
                  <a:pos x="88" y="447"/>
                </a:cxn>
                <a:cxn ang="0">
                  <a:pos x="61" y="410"/>
                </a:cxn>
                <a:cxn ang="0">
                  <a:pos x="24" y="406"/>
                </a:cxn>
                <a:cxn ang="0">
                  <a:pos x="0" y="386"/>
                </a:cxn>
                <a:cxn ang="0">
                  <a:pos x="37" y="351"/>
                </a:cxn>
                <a:cxn ang="0">
                  <a:pos x="76" y="327"/>
                </a:cxn>
                <a:cxn ang="0">
                  <a:pos x="103" y="303"/>
                </a:cxn>
                <a:cxn ang="0">
                  <a:pos x="175" y="312"/>
                </a:cxn>
                <a:cxn ang="0">
                  <a:pos x="179" y="265"/>
                </a:cxn>
                <a:cxn ang="0">
                  <a:pos x="195" y="224"/>
                </a:cxn>
                <a:cxn ang="0">
                  <a:pos x="218" y="237"/>
                </a:cxn>
                <a:cxn ang="0">
                  <a:pos x="282" y="228"/>
                </a:cxn>
                <a:cxn ang="0">
                  <a:pos x="289" y="193"/>
                </a:cxn>
                <a:cxn ang="0">
                  <a:pos x="289" y="138"/>
                </a:cxn>
                <a:cxn ang="0">
                  <a:pos x="309" y="106"/>
                </a:cxn>
                <a:cxn ang="0">
                  <a:pos x="293" y="31"/>
                </a:cxn>
                <a:cxn ang="0">
                  <a:pos x="317" y="0"/>
                </a:cxn>
              </a:cxnLst>
              <a:rect l="0" t="0" r="r" b="b"/>
              <a:pathLst>
                <a:path w="427" h="447">
                  <a:moveTo>
                    <a:pt x="317" y="0"/>
                  </a:moveTo>
                  <a:lnTo>
                    <a:pt x="361" y="0"/>
                  </a:lnTo>
                  <a:lnTo>
                    <a:pt x="376" y="75"/>
                  </a:lnTo>
                  <a:lnTo>
                    <a:pt x="392" y="106"/>
                  </a:lnTo>
                  <a:lnTo>
                    <a:pt x="427" y="141"/>
                  </a:lnTo>
                  <a:lnTo>
                    <a:pt x="372" y="189"/>
                  </a:lnTo>
                  <a:lnTo>
                    <a:pt x="396" y="272"/>
                  </a:lnTo>
                  <a:lnTo>
                    <a:pt x="385" y="324"/>
                  </a:lnTo>
                  <a:lnTo>
                    <a:pt x="361" y="351"/>
                  </a:lnTo>
                  <a:lnTo>
                    <a:pt x="337" y="359"/>
                  </a:lnTo>
                  <a:lnTo>
                    <a:pt x="321" y="399"/>
                  </a:lnTo>
                  <a:lnTo>
                    <a:pt x="289" y="362"/>
                  </a:lnTo>
                  <a:lnTo>
                    <a:pt x="274" y="383"/>
                  </a:lnTo>
                  <a:lnTo>
                    <a:pt x="214" y="386"/>
                  </a:lnTo>
                  <a:lnTo>
                    <a:pt x="203" y="359"/>
                  </a:lnTo>
                  <a:lnTo>
                    <a:pt x="179" y="367"/>
                  </a:lnTo>
                  <a:lnTo>
                    <a:pt x="179" y="438"/>
                  </a:lnTo>
                  <a:lnTo>
                    <a:pt x="147" y="419"/>
                  </a:lnTo>
                  <a:lnTo>
                    <a:pt x="127" y="390"/>
                  </a:lnTo>
                  <a:lnTo>
                    <a:pt x="116" y="438"/>
                  </a:lnTo>
                  <a:lnTo>
                    <a:pt x="88" y="447"/>
                  </a:lnTo>
                  <a:lnTo>
                    <a:pt x="61" y="410"/>
                  </a:lnTo>
                  <a:lnTo>
                    <a:pt x="24" y="406"/>
                  </a:lnTo>
                  <a:lnTo>
                    <a:pt x="0" y="386"/>
                  </a:lnTo>
                  <a:lnTo>
                    <a:pt x="37" y="351"/>
                  </a:lnTo>
                  <a:lnTo>
                    <a:pt x="76" y="327"/>
                  </a:lnTo>
                  <a:lnTo>
                    <a:pt x="103" y="303"/>
                  </a:lnTo>
                  <a:lnTo>
                    <a:pt x="175" y="312"/>
                  </a:lnTo>
                  <a:lnTo>
                    <a:pt x="179" y="265"/>
                  </a:lnTo>
                  <a:lnTo>
                    <a:pt x="195" y="224"/>
                  </a:lnTo>
                  <a:lnTo>
                    <a:pt x="218" y="237"/>
                  </a:lnTo>
                  <a:lnTo>
                    <a:pt x="282" y="228"/>
                  </a:lnTo>
                  <a:lnTo>
                    <a:pt x="289" y="193"/>
                  </a:lnTo>
                  <a:lnTo>
                    <a:pt x="289" y="138"/>
                  </a:lnTo>
                  <a:lnTo>
                    <a:pt x="309" y="106"/>
                  </a:lnTo>
                  <a:lnTo>
                    <a:pt x="293" y="31"/>
                  </a:lnTo>
                  <a:lnTo>
                    <a:pt x="317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7" name="Freeform 76"/>
            <p:cNvSpPr>
              <a:spLocks noChangeAspect="1"/>
            </p:cNvSpPr>
            <p:nvPr/>
          </p:nvSpPr>
          <p:spPr bwMode="auto">
            <a:xfrm>
              <a:off x="4189459" y="3362466"/>
              <a:ext cx="29890" cy="28399"/>
            </a:xfrm>
            <a:custGeom>
              <a:avLst/>
              <a:gdLst/>
              <a:ahLst/>
              <a:cxnLst>
                <a:cxn ang="0">
                  <a:pos x="4" y="17"/>
                </a:cxn>
                <a:cxn ang="0">
                  <a:pos x="0" y="48"/>
                </a:cxn>
                <a:cxn ang="0">
                  <a:pos x="28" y="48"/>
                </a:cxn>
                <a:cxn ang="0">
                  <a:pos x="52" y="17"/>
                </a:cxn>
                <a:cxn ang="0">
                  <a:pos x="24" y="0"/>
                </a:cxn>
                <a:cxn ang="0">
                  <a:pos x="4" y="4"/>
                </a:cxn>
                <a:cxn ang="0">
                  <a:pos x="4" y="17"/>
                </a:cxn>
              </a:cxnLst>
              <a:rect l="0" t="0" r="r" b="b"/>
              <a:pathLst>
                <a:path w="52" h="48">
                  <a:moveTo>
                    <a:pt x="4" y="17"/>
                  </a:moveTo>
                  <a:lnTo>
                    <a:pt x="0" y="48"/>
                  </a:lnTo>
                  <a:lnTo>
                    <a:pt x="28" y="48"/>
                  </a:lnTo>
                  <a:lnTo>
                    <a:pt x="52" y="17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1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8" name="Freeform 77"/>
            <p:cNvSpPr>
              <a:spLocks noChangeAspect="1"/>
            </p:cNvSpPr>
            <p:nvPr/>
          </p:nvSpPr>
          <p:spPr bwMode="auto">
            <a:xfrm>
              <a:off x="4189459" y="3362466"/>
              <a:ext cx="29890" cy="28399"/>
            </a:xfrm>
            <a:custGeom>
              <a:avLst/>
              <a:gdLst/>
              <a:ahLst/>
              <a:cxnLst>
                <a:cxn ang="0">
                  <a:pos x="4" y="17"/>
                </a:cxn>
                <a:cxn ang="0">
                  <a:pos x="0" y="48"/>
                </a:cxn>
                <a:cxn ang="0">
                  <a:pos x="28" y="48"/>
                </a:cxn>
                <a:cxn ang="0">
                  <a:pos x="52" y="17"/>
                </a:cxn>
                <a:cxn ang="0">
                  <a:pos x="24" y="0"/>
                </a:cxn>
                <a:cxn ang="0">
                  <a:pos x="4" y="4"/>
                </a:cxn>
              </a:cxnLst>
              <a:rect l="0" t="0" r="r" b="b"/>
              <a:pathLst>
                <a:path w="52" h="48">
                  <a:moveTo>
                    <a:pt x="4" y="17"/>
                  </a:moveTo>
                  <a:lnTo>
                    <a:pt x="0" y="48"/>
                  </a:lnTo>
                  <a:lnTo>
                    <a:pt x="28" y="48"/>
                  </a:lnTo>
                  <a:lnTo>
                    <a:pt x="52" y="17"/>
                  </a:lnTo>
                  <a:lnTo>
                    <a:pt x="24" y="0"/>
                  </a:lnTo>
                  <a:lnTo>
                    <a:pt x="4" y="4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9" name="Freeform 78"/>
            <p:cNvSpPr>
              <a:spLocks noChangeAspect="1"/>
            </p:cNvSpPr>
            <p:nvPr/>
          </p:nvSpPr>
          <p:spPr bwMode="auto">
            <a:xfrm>
              <a:off x="4103305" y="3339391"/>
              <a:ext cx="63296" cy="97623"/>
            </a:xfrm>
            <a:custGeom>
              <a:avLst/>
              <a:gdLst/>
              <a:ahLst/>
              <a:cxnLst>
                <a:cxn ang="0">
                  <a:pos x="46" y="16"/>
                </a:cxn>
                <a:cxn ang="0">
                  <a:pos x="27" y="48"/>
                </a:cxn>
                <a:cxn ang="0">
                  <a:pos x="0" y="63"/>
                </a:cxn>
                <a:cxn ang="0">
                  <a:pos x="22" y="111"/>
                </a:cxn>
                <a:cxn ang="0">
                  <a:pos x="46" y="87"/>
                </a:cxn>
                <a:cxn ang="0">
                  <a:pos x="66" y="95"/>
                </a:cxn>
                <a:cxn ang="0">
                  <a:pos x="59" y="127"/>
                </a:cxn>
                <a:cxn ang="0">
                  <a:pos x="78" y="166"/>
                </a:cxn>
                <a:cxn ang="0">
                  <a:pos x="106" y="146"/>
                </a:cxn>
                <a:cxn ang="0">
                  <a:pos x="106" y="98"/>
                </a:cxn>
                <a:cxn ang="0">
                  <a:pos x="98" y="24"/>
                </a:cxn>
                <a:cxn ang="0">
                  <a:pos x="83" y="0"/>
                </a:cxn>
                <a:cxn ang="0">
                  <a:pos x="46" y="16"/>
                </a:cxn>
              </a:cxnLst>
              <a:rect l="0" t="0" r="r" b="b"/>
              <a:pathLst>
                <a:path w="106" h="166">
                  <a:moveTo>
                    <a:pt x="46" y="16"/>
                  </a:moveTo>
                  <a:lnTo>
                    <a:pt x="27" y="48"/>
                  </a:lnTo>
                  <a:lnTo>
                    <a:pt x="0" y="63"/>
                  </a:lnTo>
                  <a:lnTo>
                    <a:pt x="22" y="111"/>
                  </a:lnTo>
                  <a:lnTo>
                    <a:pt x="46" y="87"/>
                  </a:lnTo>
                  <a:lnTo>
                    <a:pt x="66" y="95"/>
                  </a:lnTo>
                  <a:lnTo>
                    <a:pt x="59" y="127"/>
                  </a:lnTo>
                  <a:lnTo>
                    <a:pt x="78" y="166"/>
                  </a:lnTo>
                  <a:lnTo>
                    <a:pt x="106" y="146"/>
                  </a:lnTo>
                  <a:lnTo>
                    <a:pt x="106" y="98"/>
                  </a:lnTo>
                  <a:lnTo>
                    <a:pt x="98" y="24"/>
                  </a:lnTo>
                  <a:lnTo>
                    <a:pt x="83" y="0"/>
                  </a:lnTo>
                  <a:lnTo>
                    <a:pt x="46" y="1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50" name="Freeform 79"/>
            <p:cNvSpPr>
              <a:spLocks noChangeAspect="1"/>
            </p:cNvSpPr>
            <p:nvPr/>
          </p:nvSpPr>
          <p:spPr bwMode="auto">
            <a:xfrm>
              <a:off x="5080884" y="5052233"/>
              <a:ext cx="66813" cy="55024"/>
            </a:xfrm>
            <a:custGeom>
              <a:avLst/>
              <a:gdLst/>
              <a:ahLst/>
              <a:cxnLst>
                <a:cxn ang="0">
                  <a:pos x="35" y="0"/>
                </a:cxn>
                <a:cxn ang="0">
                  <a:pos x="0" y="17"/>
                </a:cxn>
                <a:cxn ang="0">
                  <a:pos x="24" y="44"/>
                </a:cxn>
                <a:cxn ang="0">
                  <a:pos x="59" y="72"/>
                </a:cxn>
                <a:cxn ang="0">
                  <a:pos x="103" y="91"/>
                </a:cxn>
                <a:cxn ang="0">
                  <a:pos x="114" y="63"/>
                </a:cxn>
                <a:cxn ang="0">
                  <a:pos x="83" y="17"/>
                </a:cxn>
                <a:cxn ang="0">
                  <a:pos x="35" y="0"/>
                </a:cxn>
              </a:cxnLst>
              <a:rect l="0" t="0" r="r" b="b"/>
              <a:pathLst>
                <a:path w="114" h="91">
                  <a:moveTo>
                    <a:pt x="35" y="0"/>
                  </a:moveTo>
                  <a:lnTo>
                    <a:pt x="0" y="17"/>
                  </a:lnTo>
                  <a:lnTo>
                    <a:pt x="24" y="44"/>
                  </a:lnTo>
                  <a:lnTo>
                    <a:pt x="59" y="72"/>
                  </a:lnTo>
                  <a:lnTo>
                    <a:pt x="103" y="91"/>
                  </a:lnTo>
                  <a:lnTo>
                    <a:pt x="114" y="63"/>
                  </a:lnTo>
                  <a:lnTo>
                    <a:pt x="83" y="17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51" name="Freeform 80"/>
            <p:cNvSpPr>
              <a:spLocks noChangeAspect="1"/>
            </p:cNvSpPr>
            <p:nvPr/>
          </p:nvSpPr>
          <p:spPr bwMode="auto">
            <a:xfrm>
              <a:off x="968373" y="1449053"/>
              <a:ext cx="304174" cy="182821"/>
            </a:xfrm>
            <a:custGeom>
              <a:avLst/>
              <a:gdLst/>
              <a:ahLst/>
              <a:cxnLst>
                <a:cxn ang="0">
                  <a:pos x="204" y="8"/>
                </a:cxn>
                <a:cxn ang="0">
                  <a:pos x="189" y="71"/>
                </a:cxn>
                <a:cxn ang="0">
                  <a:pos x="134" y="32"/>
                </a:cxn>
                <a:cxn ang="0">
                  <a:pos x="86" y="63"/>
                </a:cxn>
                <a:cxn ang="0">
                  <a:pos x="63" y="8"/>
                </a:cxn>
                <a:cxn ang="0">
                  <a:pos x="0" y="56"/>
                </a:cxn>
                <a:cxn ang="0">
                  <a:pos x="15" y="87"/>
                </a:cxn>
                <a:cxn ang="0">
                  <a:pos x="24" y="142"/>
                </a:cxn>
                <a:cxn ang="0">
                  <a:pos x="94" y="150"/>
                </a:cxn>
                <a:cxn ang="0">
                  <a:pos x="134" y="111"/>
                </a:cxn>
                <a:cxn ang="0">
                  <a:pos x="166" y="118"/>
                </a:cxn>
                <a:cxn ang="0">
                  <a:pos x="149" y="166"/>
                </a:cxn>
                <a:cxn ang="0">
                  <a:pos x="142" y="205"/>
                </a:cxn>
                <a:cxn ang="0">
                  <a:pos x="182" y="236"/>
                </a:cxn>
                <a:cxn ang="0">
                  <a:pos x="213" y="293"/>
                </a:cxn>
                <a:cxn ang="0">
                  <a:pos x="261" y="308"/>
                </a:cxn>
                <a:cxn ang="0">
                  <a:pos x="276" y="229"/>
                </a:cxn>
                <a:cxn ang="0">
                  <a:pos x="339" y="159"/>
                </a:cxn>
                <a:cxn ang="0">
                  <a:pos x="379" y="181"/>
                </a:cxn>
                <a:cxn ang="0">
                  <a:pos x="379" y="236"/>
                </a:cxn>
                <a:cxn ang="0">
                  <a:pos x="458" y="229"/>
                </a:cxn>
                <a:cxn ang="0">
                  <a:pos x="489" y="245"/>
                </a:cxn>
                <a:cxn ang="0">
                  <a:pos x="521" y="190"/>
                </a:cxn>
                <a:cxn ang="0">
                  <a:pos x="339" y="94"/>
                </a:cxn>
                <a:cxn ang="0">
                  <a:pos x="284" y="0"/>
                </a:cxn>
                <a:cxn ang="0">
                  <a:pos x="204" y="8"/>
                </a:cxn>
              </a:cxnLst>
              <a:rect l="0" t="0" r="r" b="b"/>
              <a:pathLst>
                <a:path w="521" h="308">
                  <a:moveTo>
                    <a:pt x="204" y="8"/>
                  </a:moveTo>
                  <a:lnTo>
                    <a:pt x="189" y="71"/>
                  </a:lnTo>
                  <a:lnTo>
                    <a:pt x="134" y="32"/>
                  </a:lnTo>
                  <a:lnTo>
                    <a:pt x="86" y="63"/>
                  </a:lnTo>
                  <a:lnTo>
                    <a:pt x="63" y="8"/>
                  </a:lnTo>
                  <a:lnTo>
                    <a:pt x="0" y="56"/>
                  </a:lnTo>
                  <a:lnTo>
                    <a:pt x="15" y="87"/>
                  </a:lnTo>
                  <a:lnTo>
                    <a:pt x="24" y="142"/>
                  </a:lnTo>
                  <a:lnTo>
                    <a:pt x="94" y="150"/>
                  </a:lnTo>
                  <a:lnTo>
                    <a:pt x="134" y="111"/>
                  </a:lnTo>
                  <a:lnTo>
                    <a:pt x="166" y="118"/>
                  </a:lnTo>
                  <a:lnTo>
                    <a:pt x="149" y="166"/>
                  </a:lnTo>
                  <a:lnTo>
                    <a:pt x="142" y="205"/>
                  </a:lnTo>
                  <a:lnTo>
                    <a:pt x="182" y="236"/>
                  </a:lnTo>
                  <a:lnTo>
                    <a:pt x="213" y="293"/>
                  </a:lnTo>
                  <a:lnTo>
                    <a:pt x="261" y="308"/>
                  </a:lnTo>
                  <a:lnTo>
                    <a:pt x="276" y="229"/>
                  </a:lnTo>
                  <a:lnTo>
                    <a:pt x="339" y="159"/>
                  </a:lnTo>
                  <a:lnTo>
                    <a:pt x="379" y="181"/>
                  </a:lnTo>
                  <a:lnTo>
                    <a:pt x="379" y="236"/>
                  </a:lnTo>
                  <a:lnTo>
                    <a:pt x="458" y="229"/>
                  </a:lnTo>
                  <a:lnTo>
                    <a:pt x="489" y="245"/>
                  </a:lnTo>
                  <a:lnTo>
                    <a:pt x="521" y="190"/>
                  </a:lnTo>
                  <a:lnTo>
                    <a:pt x="339" y="94"/>
                  </a:lnTo>
                  <a:lnTo>
                    <a:pt x="284" y="0"/>
                  </a:lnTo>
                  <a:lnTo>
                    <a:pt x="204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52" name="Freeform 81"/>
            <p:cNvSpPr>
              <a:spLocks noChangeAspect="1"/>
            </p:cNvSpPr>
            <p:nvPr/>
          </p:nvSpPr>
          <p:spPr bwMode="auto">
            <a:xfrm>
              <a:off x="1172327" y="1425979"/>
              <a:ext cx="170549" cy="7099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5" y="87"/>
                </a:cxn>
                <a:cxn ang="0">
                  <a:pos x="134" y="119"/>
                </a:cxn>
                <a:cxn ang="0">
                  <a:pos x="221" y="87"/>
                </a:cxn>
                <a:cxn ang="0">
                  <a:pos x="292" y="16"/>
                </a:cxn>
                <a:cxn ang="0">
                  <a:pos x="165" y="16"/>
                </a:cxn>
                <a:cxn ang="0">
                  <a:pos x="94" y="0"/>
                </a:cxn>
                <a:cxn ang="0">
                  <a:pos x="0" y="8"/>
                </a:cxn>
              </a:cxnLst>
              <a:rect l="0" t="0" r="r" b="b"/>
              <a:pathLst>
                <a:path w="292" h="119">
                  <a:moveTo>
                    <a:pt x="0" y="8"/>
                  </a:moveTo>
                  <a:lnTo>
                    <a:pt x="15" y="87"/>
                  </a:lnTo>
                  <a:lnTo>
                    <a:pt x="134" y="119"/>
                  </a:lnTo>
                  <a:lnTo>
                    <a:pt x="221" y="87"/>
                  </a:lnTo>
                  <a:lnTo>
                    <a:pt x="292" y="16"/>
                  </a:lnTo>
                  <a:lnTo>
                    <a:pt x="165" y="16"/>
                  </a:lnTo>
                  <a:lnTo>
                    <a:pt x="94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53" name="Freeform 82"/>
            <p:cNvSpPr>
              <a:spLocks noChangeAspect="1"/>
            </p:cNvSpPr>
            <p:nvPr/>
          </p:nvSpPr>
          <p:spPr bwMode="auto">
            <a:xfrm>
              <a:off x="6919361" y="3830728"/>
              <a:ext cx="49231" cy="88748"/>
            </a:xfrm>
            <a:custGeom>
              <a:avLst/>
              <a:gdLst/>
              <a:ahLst/>
              <a:cxnLst>
                <a:cxn ang="0">
                  <a:pos x="5" y="40"/>
                </a:cxn>
                <a:cxn ang="0">
                  <a:pos x="29" y="33"/>
                </a:cxn>
                <a:cxn ang="0">
                  <a:pos x="84" y="0"/>
                </a:cxn>
                <a:cxn ang="0">
                  <a:pos x="75" y="62"/>
                </a:cxn>
                <a:cxn ang="0">
                  <a:pos x="84" y="127"/>
                </a:cxn>
                <a:cxn ang="0">
                  <a:pos x="53" y="147"/>
                </a:cxn>
                <a:cxn ang="0">
                  <a:pos x="25" y="151"/>
                </a:cxn>
                <a:cxn ang="0">
                  <a:pos x="0" y="144"/>
                </a:cxn>
                <a:cxn ang="0">
                  <a:pos x="0" y="100"/>
                </a:cxn>
                <a:cxn ang="0">
                  <a:pos x="5" y="40"/>
                </a:cxn>
              </a:cxnLst>
              <a:rect l="0" t="0" r="r" b="b"/>
              <a:pathLst>
                <a:path w="84" h="151">
                  <a:moveTo>
                    <a:pt x="5" y="40"/>
                  </a:moveTo>
                  <a:lnTo>
                    <a:pt x="29" y="33"/>
                  </a:lnTo>
                  <a:lnTo>
                    <a:pt x="84" y="0"/>
                  </a:lnTo>
                  <a:lnTo>
                    <a:pt x="75" y="62"/>
                  </a:lnTo>
                  <a:lnTo>
                    <a:pt x="84" y="127"/>
                  </a:lnTo>
                  <a:lnTo>
                    <a:pt x="53" y="147"/>
                  </a:lnTo>
                  <a:lnTo>
                    <a:pt x="25" y="151"/>
                  </a:lnTo>
                  <a:lnTo>
                    <a:pt x="0" y="144"/>
                  </a:lnTo>
                  <a:lnTo>
                    <a:pt x="0" y="100"/>
                  </a:lnTo>
                  <a:lnTo>
                    <a:pt x="5" y="4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54" name="Freeform 83"/>
            <p:cNvSpPr>
              <a:spLocks noChangeAspect="1"/>
            </p:cNvSpPr>
            <p:nvPr/>
          </p:nvSpPr>
          <p:spPr bwMode="auto">
            <a:xfrm>
              <a:off x="7001997" y="4066798"/>
              <a:ext cx="87911" cy="55024"/>
            </a:xfrm>
            <a:custGeom>
              <a:avLst/>
              <a:gdLst/>
              <a:ahLst/>
              <a:cxnLst>
                <a:cxn ang="0">
                  <a:pos x="103" y="4"/>
                </a:cxn>
                <a:cxn ang="0">
                  <a:pos x="5" y="0"/>
                </a:cxn>
                <a:cxn ang="0">
                  <a:pos x="0" y="36"/>
                </a:cxn>
                <a:cxn ang="0">
                  <a:pos x="24" y="72"/>
                </a:cxn>
                <a:cxn ang="0">
                  <a:pos x="111" y="95"/>
                </a:cxn>
                <a:cxn ang="0">
                  <a:pos x="150" y="75"/>
                </a:cxn>
                <a:cxn ang="0">
                  <a:pos x="147" y="33"/>
                </a:cxn>
                <a:cxn ang="0">
                  <a:pos x="103" y="4"/>
                </a:cxn>
              </a:cxnLst>
              <a:rect l="0" t="0" r="r" b="b"/>
              <a:pathLst>
                <a:path w="150" h="95">
                  <a:moveTo>
                    <a:pt x="103" y="4"/>
                  </a:moveTo>
                  <a:lnTo>
                    <a:pt x="5" y="0"/>
                  </a:lnTo>
                  <a:lnTo>
                    <a:pt x="0" y="36"/>
                  </a:lnTo>
                  <a:lnTo>
                    <a:pt x="24" y="72"/>
                  </a:lnTo>
                  <a:lnTo>
                    <a:pt x="111" y="95"/>
                  </a:lnTo>
                  <a:lnTo>
                    <a:pt x="150" y="75"/>
                  </a:lnTo>
                  <a:lnTo>
                    <a:pt x="147" y="33"/>
                  </a:lnTo>
                  <a:lnTo>
                    <a:pt x="103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55" name="Freeform 84"/>
            <p:cNvSpPr>
              <a:spLocks noChangeAspect="1"/>
            </p:cNvSpPr>
            <p:nvPr/>
          </p:nvSpPr>
          <p:spPr bwMode="auto">
            <a:xfrm>
              <a:off x="7336063" y="4017099"/>
              <a:ext cx="351647" cy="358543"/>
            </a:xfrm>
            <a:custGeom>
              <a:avLst/>
              <a:gdLst/>
              <a:ahLst/>
              <a:cxnLst>
                <a:cxn ang="0">
                  <a:pos x="86" y="17"/>
                </a:cxn>
                <a:cxn ang="0">
                  <a:pos x="51" y="59"/>
                </a:cxn>
                <a:cxn ang="0">
                  <a:pos x="31" y="135"/>
                </a:cxn>
                <a:cxn ang="0">
                  <a:pos x="0" y="155"/>
                </a:cxn>
                <a:cxn ang="0">
                  <a:pos x="39" y="210"/>
                </a:cxn>
                <a:cxn ang="0">
                  <a:pos x="27" y="265"/>
                </a:cxn>
                <a:cxn ang="0">
                  <a:pos x="110" y="269"/>
                </a:cxn>
                <a:cxn ang="0">
                  <a:pos x="114" y="300"/>
                </a:cxn>
                <a:cxn ang="0">
                  <a:pos x="180" y="333"/>
                </a:cxn>
                <a:cxn ang="0">
                  <a:pos x="252" y="357"/>
                </a:cxn>
                <a:cxn ang="0">
                  <a:pos x="252" y="447"/>
                </a:cxn>
                <a:cxn ang="0">
                  <a:pos x="237" y="502"/>
                </a:cxn>
                <a:cxn ang="0">
                  <a:pos x="244" y="546"/>
                </a:cxn>
                <a:cxn ang="0">
                  <a:pos x="272" y="558"/>
                </a:cxn>
                <a:cxn ang="0">
                  <a:pos x="296" y="589"/>
                </a:cxn>
                <a:cxn ang="0">
                  <a:pos x="331" y="607"/>
                </a:cxn>
                <a:cxn ang="0">
                  <a:pos x="379" y="602"/>
                </a:cxn>
                <a:cxn ang="0">
                  <a:pos x="418" y="569"/>
                </a:cxn>
                <a:cxn ang="0">
                  <a:pos x="416" y="536"/>
                </a:cxn>
                <a:cxn ang="0">
                  <a:pos x="385" y="516"/>
                </a:cxn>
                <a:cxn ang="0">
                  <a:pos x="380" y="489"/>
                </a:cxn>
                <a:cxn ang="0">
                  <a:pos x="389" y="447"/>
                </a:cxn>
                <a:cxn ang="0">
                  <a:pos x="408" y="440"/>
                </a:cxn>
                <a:cxn ang="0">
                  <a:pos x="448" y="475"/>
                </a:cxn>
                <a:cxn ang="0">
                  <a:pos x="473" y="457"/>
                </a:cxn>
                <a:cxn ang="0">
                  <a:pos x="552" y="453"/>
                </a:cxn>
                <a:cxn ang="0">
                  <a:pos x="566" y="421"/>
                </a:cxn>
                <a:cxn ang="0">
                  <a:pos x="565" y="389"/>
                </a:cxn>
                <a:cxn ang="0">
                  <a:pos x="545" y="362"/>
                </a:cxn>
                <a:cxn ang="0">
                  <a:pos x="547" y="317"/>
                </a:cxn>
                <a:cxn ang="0">
                  <a:pos x="572" y="292"/>
                </a:cxn>
                <a:cxn ang="0">
                  <a:pos x="582" y="268"/>
                </a:cxn>
                <a:cxn ang="0">
                  <a:pos x="600" y="248"/>
                </a:cxn>
                <a:cxn ang="0">
                  <a:pos x="599" y="202"/>
                </a:cxn>
                <a:cxn ang="0">
                  <a:pos x="580" y="192"/>
                </a:cxn>
                <a:cxn ang="0">
                  <a:pos x="565" y="148"/>
                </a:cxn>
                <a:cxn ang="0">
                  <a:pos x="542" y="125"/>
                </a:cxn>
                <a:cxn ang="0">
                  <a:pos x="556" y="109"/>
                </a:cxn>
                <a:cxn ang="0">
                  <a:pos x="556" y="87"/>
                </a:cxn>
                <a:cxn ang="0">
                  <a:pos x="486" y="86"/>
                </a:cxn>
                <a:cxn ang="0">
                  <a:pos x="434" y="93"/>
                </a:cxn>
                <a:cxn ang="0">
                  <a:pos x="404" y="117"/>
                </a:cxn>
                <a:cxn ang="0">
                  <a:pos x="366" y="111"/>
                </a:cxn>
                <a:cxn ang="0">
                  <a:pos x="270" y="106"/>
                </a:cxn>
                <a:cxn ang="0">
                  <a:pos x="260" y="78"/>
                </a:cxn>
                <a:cxn ang="0">
                  <a:pos x="234" y="69"/>
                </a:cxn>
                <a:cxn ang="0">
                  <a:pos x="194" y="55"/>
                </a:cxn>
                <a:cxn ang="0">
                  <a:pos x="185" y="28"/>
                </a:cxn>
                <a:cxn ang="0">
                  <a:pos x="152" y="18"/>
                </a:cxn>
                <a:cxn ang="0">
                  <a:pos x="152" y="0"/>
                </a:cxn>
                <a:cxn ang="0">
                  <a:pos x="138" y="18"/>
                </a:cxn>
                <a:cxn ang="0">
                  <a:pos x="86" y="17"/>
                </a:cxn>
              </a:cxnLst>
              <a:rect l="0" t="0" r="r" b="b"/>
              <a:pathLst>
                <a:path w="600" h="607">
                  <a:moveTo>
                    <a:pt x="86" y="17"/>
                  </a:moveTo>
                  <a:lnTo>
                    <a:pt x="51" y="59"/>
                  </a:lnTo>
                  <a:lnTo>
                    <a:pt x="31" y="135"/>
                  </a:lnTo>
                  <a:lnTo>
                    <a:pt x="0" y="155"/>
                  </a:lnTo>
                  <a:lnTo>
                    <a:pt x="39" y="210"/>
                  </a:lnTo>
                  <a:lnTo>
                    <a:pt x="27" y="265"/>
                  </a:lnTo>
                  <a:lnTo>
                    <a:pt x="110" y="269"/>
                  </a:lnTo>
                  <a:lnTo>
                    <a:pt x="114" y="300"/>
                  </a:lnTo>
                  <a:lnTo>
                    <a:pt x="180" y="333"/>
                  </a:lnTo>
                  <a:lnTo>
                    <a:pt x="252" y="357"/>
                  </a:lnTo>
                  <a:lnTo>
                    <a:pt x="252" y="447"/>
                  </a:lnTo>
                  <a:lnTo>
                    <a:pt x="237" y="502"/>
                  </a:lnTo>
                  <a:lnTo>
                    <a:pt x="244" y="546"/>
                  </a:lnTo>
                  <a:lnTo>
                    <a:pt x="272" y="558"/>
                  </a:lnTo>
                  <a:lnTo>
                    <a:pt x="296" y="589"/>
                  </a:lnTo>
                  <a:lnTo>
                    <a:pt x="331" y="607"/>
                  </a:lnTo>
                  <a:lnTo>
                    <a:pt x="379" y="602"/>
                  </a:lnTo>
                  <a:lnTo>
                    <a:pt x="418" y="569"/>
                  </a:lnTo>
                  <a:lnTo>
                    <a:pt x="416" y="536"/>
                  </a:lnTo>
                  <a:lnTo>
                    <a:pt x="385" y="516"/>
                  </a:lnTo>
                  <a:lnTo>
                    <a:pt x="380" y="489"/>
                  </a:lnTo>
                  <a:lnTo>
                    <a:pt x="389" y="447"/>
                  </a:lnTo>
                  <a:lnTo>
                    <a:pt x="408" y="440"/>
                  </a:lnTo>
                  <a:lnTo>
                    <a:pt x="448" y="475"/>
                  </a:lnTo>
                  <a:lnTo>
                    <a:pt x="473" y="457"/>
                  </a:lnTo>
                  <a:lnTo>
                    <a:pt x="552" y="453"/>
                  </a:lnTo>
                  <a:lnTo>
                    <a:pt x="566" y="421"/>
                  </a:lnTo>
                  <a:lnTo>
                    <a:pt x="565" y="389"/>
                  </a:lnTo>
                  <a:lnTo>
                    <a:pt x="545" y="362"/>
                  </a:lnTo>
                  <a:lnTo>
                    <a:pt x="547" y="317"/>
                  </a:lnTo>
                  <a:lnTo>
                    <a:pt x="572" y="292"/>
                  </a:lnTo>
                  <a:lnTo>
                    <a:pt x="582" y="268"/>
                  </a:lnTo>
                  <a:lnTo>
                    <a:pt x="600" y="248"/>
                  </a:lnTo>
                  <a:lnTo>
                    <a:pt x="599" y="202"/>
                  </a:lnTo>
                  <a:lnTo>
                    <a:pt x="580" y="192"/>
                  </a:lnTo>
                  <a:lnTo>
                    <a:pt x="565" y="148"/>
                  </a:lnTo>
                  <a:lnTo>
                    <a:pt x="542" y="125"/>
                  </a:lnTo>
                  <a:lnTo>
                    <a:pt x="556" y="109"/>
                  </a:lnTo>
                  <a:lnTo>
                    <a:pt x="556" y="87"/>
                  </a:lnTo>
                  <a:lnTo>
                    <a:pt x="486" y="86"/>
                  </a:lnTo>
                  <a:lnTo>
                    <a:pt x="434" y="93"/>
                  </a:lnTo>
                  <a:lnTo>
                    <a:pt x="404" y="117"/>
                  </a:lnTo>
                  <a:lnTo>
                    <a:pt x="366" y="111"/>
                  </a:lnTo>
                  <a:lnTo>
                    <a:pt x="270" y="106"/>
                  </a:lnTo>
                  <a:lnTo>
                    <a:pt x="260" y="78"/>
                  </a:lnTo>
                  <a:lnTo>
                    <a:pt x="234" y="69"/>
                  </a:lnTo>
                  <a:lnTo>
                    <a:pt x="194" y="55"/>
                  </a:lnTo>
                  <a:lnTo>
                    <a:pt x="185" y="28"/>
                  </a:lnTo>
                  <a:lnTo>
                    <a:pt x="152" y="18"/>
                  </a:lnTo>
                  <a:lnTo>
                    <a:pt x="152" y="0"/>
                  </a:lnTo>
                  <a:lnTo>
                    <a:pt x="138" y="18"/>
                  </a:lnTo>
                  <a:lnTo>
                    <a:pt x="86" y="1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56" name="Freeform 85"/>
            <p:cNvSpPr>
              <a:spLocks noChangeAspect="1"/>
            </p:cNvSpPr>
            <p:nvPr/>
          </p:nvSpPr>
          <p:spPr bwMode="auto">
            <a:xfrm>
              <a:off x="7566391" y="6166582"/>
              <a:ext cx="63296" cy="67448"/>
            </a:xfrm>
            <a:custGeom>
              <a:avLst/>
              <a:gdLst/>
              <a:ahLst/>
              <a:cxnLst>
                <a:cxn ang="0">
                  <a:pos x="98" y="13"/>
                </a:cxn>
                <a:cxn ang="0">
                  <a:pos x="67" y="114"/>
                </a:cxn>
                <a:cxn ang="0">
                  <a:pos x="0" y="74"/>
                </a:cxn>
                <a:cxn ang="0">
                  <a:pos x="16" y="18"/>
                </a:cxn>
                <a:cxn ang="0">
                  <a:pos x="47" y="0"/>
                </a:cxn>
                <a:cxn ang="0">
                  <a:pos x="106" y="15"/>
                </a:cxn>
                <a:cxn ang="0">
                  <a:pos x="98" y="13"/>
                </a:cxn>
              </a:cxnLst>
              <a:rect l="0" t="0" r="r" b="b"/>
              <a:pathLst>
                <a:path w="106" h="114">
                  <a:moveTo>
                    <a:pt x="98" y="13"/>
                  </a:moveTo>
                  <a:lnTo>
                    <a:pt x="67" y="114"/>
                  </a:lnTo>
                  <a:lnTo>
                    <a:pt x="0" y="74"/>
                  </a:lnTo>
                  <a:lnTo>
                    <a:pt x="16" y="18"/>
                  </a:lnTo>
                  <a:lnTo>
                    <a:pt x="47" y="0"/>
                  </a:lnTo>
                  <a:lnTo>
                    <a:pt x="106" y="15"/>
                  </a:lnTo>
                  <a:lnTo>
                    <a:pt x="98" y="1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57" name="Freeform 86"/>
            <p:cNvSpPr>
              <a:spLocks noChangeAspect="1"/>
            </p:cNvSpPr>
            <p:nvPr/>
          </p:nvSpPr>
          <p:spPr bwMode="auto">
            <a:xfrm>
              <a:off x="7768588" y="5346548"/>
              <a:ext cx="142417" cy="161522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76" y="22"/>
                </a:cxn>
                <a:cxn ang="0">
                  <a:pos x="120" y="41"/>
                </a:cxn>
                <a:cxn ang="0">
                  <a:pos x="217" y="132"/>
                </a:cxn>
                <a:cxn ang="0">
                  <a:pos x="238" y="167"/>
                </a:cxn>
                <a:cxn ang="0">
                  <a:pos x="244" y="203"/>
                </a:cxn>
                <a:cxn ang="0">
                  <a:pos x="217" y="221"/>
                </a:cxn>
                <a:cxn ang="0">
                  <a:pos x="204" y="235"/>
                </a:cxn>
                <a:cxn ang="0">
                  <a:pos x="201" y="252"/>
                </a:cxn>
                <a:cxn ang="0">
                  <a:pos x="163" y="259"/>
                </a:cxn>
                <a:cxn ang="0">
                  <a:pos x="155" y="272"/>
                </a:cxn>
                <a:cxn ang="0">
                  <a:pos x="135" y="262"/>
                </a:cxn>
                <a:cxn ang="0">
                  <a:pos x="90" y="245"/>
                </a:cxn>
                <a:cxn ang="0">
                  <a:pos x="55" y="227"/>
                </a:cxn>
                <a:cxn ang="0">
                  <a:pos x="39" y="246"/>
                </a:cxn>
                <a:cxn ang="0">
                  <a:pos x="18" y="252"/>
                </a:cxn>
                <a:cxn ang="0">
                  <a:pos x="5" y="200"/>
                </a:cxn>
                <a:cxn ang="0">
                  <a:pos x="0" y="125"/>
                </a:cxn>
                <a:cxn ang="0">
                  <a:pos x="7" y="76"/>
                </a:cxn>
                <a:cxn ang="0">
                  <a:pos x="32" y="33"/>
                </a:cxn>
                <a:cxn ang="0">
                  <a:pos x="56" y="0"/>
                </a:cxn>
              </a:cxnLst>
              <a:rect l="0" t="0" r="r" b="b"/>
              <a:pathLst>
                <a:path w="244" h="272">
                  <a:moveTo>
                    <a:pt x="56" y="0"/>
                  </a:moveTo>
                  <a:lnTo>
                    <a:pt x="76" y="22"/>
                  </a:lnTo>
                  <a:lnTo>
                    <a:pt x="120" y="41"/>
                  </a:lnTo>
                  <a:lnTo>
                    <a:pt x="217" y="132"/>
                  </a:lnTo>
                  <a:lnTo>
                    <a:pt x="238" y="167"/>
                  </a:lnTo>
                  <a:lnTo>
                    <a:pt x="244" y="203"/>
                  </a:lnTo>
                  <a:lnTo>
                    <a:pt x="217" y="221"/>
                  </a:lnTo>
                  <a:lnTo>
                    <a:pt x="204" y="235"/>
                  </a:lnTo>
                  <a:lnTo>
                    <a:pt x="201" y="252"/>
                  </a:lnTo>
                  <a:lnTo>
                    <a:pt x="163" y="259"/>
                  </a:lnTo>
                  <a:lnTo>
                    <a:pt x="155" y="272"/>
                  </a:lnTo>
                  <a:lnTo>
                    <a:pt x="135" y="262"/>
                  </a:lnTo>
                  <a:lnTo>
                    <a:pt x="90" y="245"/>
                  </a:lnTo>
                  <a:lnTo>
                    <a:pt x="55" y="227"/>
                  </a:lnTo>
                  <a:lnTo>
                    <a:pt x="39" y="246"/>
                  </a:lnTo>
                  <a:lnTo>
                    <a:pt x="18" y="252"/>
                  </a:lnTo>
                  <a:lnTo>
                    <a:pt x="5" y="200"/>
                  </a:lnTo>
                  <a:lnTo>
                    <a:pt x="0" y="125"/>
                  </a:lnTo>
                  <a:lnTo>
                    <a:pt x="7" y="76"/>
                  </a:lnTo>
                  <a:lnTo>
                    <a:pt x="32" y="33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58" name="Freeform 87"/>
            <p:cNvSpPr>
              <a:spLocks noChangeAspect="1"/>
            </p:cNvSpPr>
            <p:nvPr/>
          </p:nvSpPr>
          <p:spPr bwMode="auto">
            <a:xfrm>
              <a:off x="7439798" y="4707560"/>
              <a:ext cx="328790" cy="413567"/>
            </a:xfrm>
            <a:custGeom>
              <a:avLst/>
              <a:gdLst/>
              <a:ahLst/>
              <a:cxnLst>
                <a:cxn ang="0">
                  <a:pos x="516" y="537"/>
                </a:cxn>
                <a:cxn ang="0">
                  <a:pos x="539" y="532"/>
                </a:cxn>
                <a:cxn ang="0">
                  <a:pos x="558" y="505"/>
                </a:cxn>
                <a:cxn ang="0">
                  <a:pos x="562" y="444"/>
                </a:cxn>
                <a:cxn ang="0">
                  <a:pos x="545" y="433"/>
                </a:cxn>
                <a:cxn ang="0">
                  <a:pos x="539" y="398"/>
                </a:cxn>
                <a:cxn ang="0">
                  <a:pos x="514" y="393"/>
                </a:cxn>
                <a:cxn ang="0">
                  <a:pos x="510" y="358"/>
                </a:cxn>
                <a:cxn ang="0">
                  <a:pos x="446" y="360"/>
                </a:cxn>
                <a:cxn ang="0">
                  <a:pos x="432" y="344"/>
                </a:cxn>
                <a:cxn ang="0">
                  <a:pos x="419" y="338"/>
                </a:cxn>
                <a:cxn ang="0">
                  <a:pos x="417" y="275"/>
                </a:cxn>
                <a:cxn ang="0">
                  <a:pos x="441" y="257"/>
                </a:cxn>
                <a:cxn ang="0">
                  <a:pos x="417" y="254"/>
                </a:cxn>
                <a:cxn ang="0">
                  <a:pos x="411" y="208"/>
                </a:cxn>
                <a:cxn ang="0">
                  <a:pos x="386" y="202"/>
                </a:cxn>
                <a:cxn ang="0">
                  <a:pos x="339" y="196"/>
                </a:cxn>
                <a:cxn ang="0">
                  <a:pos x="334" y="168"/>
                </a:cxn>
                <a:cxn ang="0">
                  <a:pos x="303" y="161"/>
                </a:cxn>
                <a:cxn ang="0">
                  <a:pos x="294" y="151"/>
                </a:cxn>
                <a:cxn ang="0">
                  <a:pos x="224" y="148"/>
                </a:cxn>
                <a:cxn ang="0">
                  <a:pos x="214" y="134"/>
                </a:cxn>
                <a:cxn ang="0">
                  <a:pos x="198" y="99"/>
                </a:cxn>
                <a:cxn ang="0">
                  <a:pos x="190" y="6"/>
                </a:cxn>
                <a:cxn ang="0">
                  <a:pos x="131" y="0"/>
                </a:cxn>
                <a:cxn ang="0">
                  <a:pos x="125" y="34"/>
                </a:cxn>
                <a:cxn ang="0">
                  <a:pos x="101" y="30"/>
                </a:cxn>
                <a:cxn ang="0">
                  <a:pos x="90" y="51"/>
                </a:cxn>
                <a:cxn ang="0">
                  <a:pos x="73" y="65"/>
                </a:cxn>
                <a:cxn ang="0">
                  <a:pos x="46" y="78"/>
                </a:cxn>
                <a:cxn ang="0">
                  <a:pos x="12" y="73"/>
                </a:cxn>
                <a:cxn ang="0">
                  <a:pos x="47" y="128"/>
                </a:cxn>
                <a:cxn ang="0">
                  <a:pos x="42" y="175"/>
                </a:cxn>
                <a:cxn ang="0">
                  <a:pos x="19" y="193"/>
                </a:cxn>
                <a:cxn ang="0">
                  <a:pos x="22" y="255"/>
                </a:cxn>
                <a:cxn ang="0">
                  <a:pos x="14" y="334"/>
                </a:cxn>
                <a:cxn ang="0">
                  <a:pos x="29" y="362"/>
                </a:cxn>
                <a:cxn ang="0">
                  <a:pos x="14" y="368"/>
                </a:cxn>
                <a:cxn ang="0">
                  <a:pos x="0" y="406"/>
                </a:cxn>
                <a:cxn ang="0">
                  <a:pos x="26" y="429"/>
                </a:cxn>
                <a:cxn ang="0">
                  <a:pos x="29" y="477"/>
                </a:cxn>
                <a:cxn ang="0">
                  <a:pos x="73" y="516"/>
                </a:cxn>
                <a:cxn ang="0">
                  <a:pos x="73" y="615"/>
                </a:cxn>
                <a:cxn ang="0">
                  <a:pos x="108" y="678"/>
                </a:cxn>
                <a:cxn ang="0">
                  <a:pos x="140" y="698"/>
                </a:cxn>
                <a:cxn ang="0">
                  <a:pos x="169" y="639"/>
                </a:cxn>
                <a:cxn ang="0">
                  <a:pos x="211" y="674"/>
                </a:cxn>
                <a:cxn ang="0">
                  <a:pos x="267" y="694"/>
                </a:cxn>
                <a:cxn ang="0">
                  <a:pos x="322" y="650"/>
                </a:cxn>
                <a:cxn ang="0">
                  <a:pos x="338" y="571"/>
                </a:cxn>
                <a:cxn ang="0">
                  <a:pos x="353" y="532"/>
                </a:cxn>
                <a:cxn ang="0">
                  <a:pos x="405" y="512"/>
                </a:cxn>
                <a:cxn ang="0">
                  <a:pos x="441" y="485"/>
                </a:cxn>
                <a:cxn ang="0">
                  <a:pos x="496" y="505"/>
                </a:cxn>
                <a:cxn ang="0">
                  <a:pos x="516" y="537"/>
                </a:cxn>
              </a:cxnLst>
              <a:rect l="0" t="0" r="r" b="b"/>
              <a:pathLst>
                <a:path w="562" h="698">
                  <a:moveTo>
                    <a:pt x="516" y="537"/>
                  </a:moveTo>
                  <a:lnTo>
                    <a:pt x="539" y="532"/>
                  </a:lnTo>
                  <a:lnTo>
                    <a:pt x="558" y="505"/>
                  </a:lnTo>
                  <a:lnTo>
                    <a:pt x="562" y="444"/>
                  </a:lnTo>
                  <a:lnTo>
                    <a:pt x="545" y="433"/>
                  </a:lnTo>
                  <a:lnTo>
                    <a:pt x="539" y="398"/>
                  </a:lnTo>
                  <a:lnTo>
                    <a:pt x="514" y="393"/>
                  </a:lnTo>
                  <a:lnTo>
                    <a:pt x="510" y="358"/>
                  </a:lnTo>
                  <a:lnTo>
                    <a:pt x="446" y="360"/>
                  </a:lnTo>
                  <a:lnTo>
                    <a:pt x="432" y="344"/>
                  </a:lnTo>
                  <a:lnTo>
                    <a:pt x="419" y="338"/>
                  </a:lnTo>
                  <a:lnTo>
                    <a:pt x="417" y="275"/>
                  </a:lnTo>
                  <a:lnTo>
                    <a:pt x="441" y="257"/>
                  </a:lnTo>
                  <a:lnTo>
                    <a:pt x="417" y="254"/>
                  </a:lnTo>
                  <a:lnTo>
                    <a:pt x="411" y="208"/>
                  </a:lnTo>
                  <a:lnTo>
                    <a:pt x="386" y="202"/>
                  </a:lnTo>
                  <a:lnTo>
                    <a:pt x="339" y="196"/>
                  </a:lnTo>
                  <a:lnTo>
                    <a:pt x="334" y="168"/>
                  </a:lnTo>
                  <a:lnTo>
                    <a:pt x="303" y="161"/>
                  </a:lnTo>
                  <a:lnTo>
                    <a:pt x="294" y="151"/>
                  </a:lnTo>
                  <a:lnTo>
                    <a:pt x="224" y="148"/>
                  </a:lnTo>
                  <a:lnTo>
                    <a:pt x="214" y="134"/>
                  </a:lnTo>
                  <a:lnTo>
                    <a:pt x="198" y="99"/>
                  </a:lnTo>
                  <a:lnTo>
                    <a:pt x="190" y="6"/>
                  </a:lnTo>
                  <a:lnTo>
                    <a:pt x="131" y="0"/>
                  </a:lnTo>
                  <a:lnTo>
                    <a:pt x="125" y="34"/>
                  </a:lnTo>
                  <a:lnTo>
                    <a:pt x="101" y="30"/>
                  </a:lnTo>
                  <a:lnTo>
                    <a:pt x="90" y="51"/>
                  </a:lnTo>
                  <a:lnTo>
                    <a:pt x="73" y="65"/>
                  </a:lnTo>
                  <a:lnTo>
                    <a:pt x="46" y="78"/>
                  </a:lnTo>
                  <a:lnTo>
                    <a:pt x="12" y="73"/>
                  </a:lnTo>
                  <a:lnTo>
                    <a:pt x="47" y="128"/>
                  </a:lnTo>
                  <a:lnTo>
                    <a:pt x="42" y="175"/>
                  </a:lnTo>
                  <a:lnTo>
                    <a:pt x="19" y="193"/>
                  </a:lnTo>
                  <a:lnTo>
                    <a:pt x="22" y="255"/>
                  </a:lnTo>
                  <a:lnTo>
                    <a:pt x="14" y="334"/>
                  </a:lnTo>
                  <a:lnTo>
                    <a:pt x="29" y="362"/>
                  </a:lnTo>
                  <a:lnTo>
                    <a:pt x="14" y="368"/>
                  </a:lnTo>
                  <a:lnTo>
                    <a:pt x="0" y="406"/>
                  </a:lnTo>
                  <a:lnTo>
                    <a:pt x="26" y="429"/>
                  </a:lnTo>
                  <a:lnTo>
                    <a:pt x="29" y="477"/>
                  </a:lnTo>
                  <a:lnTo>
                    <a:pt x="73" y="516"/>
                  </a:lnTo>
                  <a:lnTo>
                    <a:pt x="73" y="615"/>
                  </a:lnTo>
                  <a:lnTo>
                    <a:pt x="108" y="678"/>
                  </a:lnTo>
                  <a:lnTo>
                    <a:pt x="140" y="698"/>
                  </a:lnTo>
                  <a:lnTo>
                    <a:pt x="169" y="639"/>
                  </a:lnTo>
                  <a:lnTo>
                    <a:pt x="211" y="674"/>
                  </a:lnTo>
                  <a:lnTo>
                    <a:pt x="267" y="694"/>
                  </a:lnTo>
                  <a:lnTo>
                    <a:pt x="322" y="650"/>
                  </a:lnTo>
                  <a:lnTo>
                    <a:pt x="338" y="571"/>
                  </a:lnTo>
                  <a:lnTo>
                    <a:pt x="353" y="532"/>
                  </a:lnTo>
                  <a:lnTo>
                    <a:pt x="405" y="512"/>
                  </a:lnTo>
                  <a:lnTo>
                    <a:pt x="441" y="485"/>
                  </a:lnTo>
                  <a:lnTo>
                    <a:pt x="496" y="505"/>
                  </a:lnTo>
                  <a:lnTo>
                    <a:pt x="516" y="53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59" name="Freeform 88"/>
            <p:cNvSpPr>
              <a:spLocks noChangeAspect="1"/>
            </p:cNvSpPr>
            <p:nvPr/>
          </p:nvSpPr>
          <p:spPr bwMode="auto">
            <a:xfrm>
              <a:off x="7383534" y="4948956"/>
              <a:ext cx="189889" cy="1258450"/>
            </a:xfrm>
            <a:custGeom>
              <a:avLst/>
              <a:gdLst/>
              <a:ahLst/>
              <a:cxnLst>
                <a:cxn ang="0">
                  <a:pos x="177" y="1976"/>
                </a:cxn>
                <a:cxn ang="0">
                  <a:pos x="128" y="1888"/>
                </a:cxn>
                <a:cxn ang="0">
                  <a:pos x="145" y="1740"/>
                </a:cxn>
                <a:cxn ang="0">
                  <a:pos x="155" y="1511"/>
                </a:cxn>
                <a:cxn ang="0">
                  <a:pos x="134" y="1381"/>
                </a:cxn>
                <a:cxn ang="0">
                  <a:pos x="101" y="1254"/>
                </a:cxn>
                <a:cxn ang="0">
                  <a:pos x="139" y="1174"/>
                </a:cxn>
                <a:cxn ang="0">
                  <a:pos x="130" y="1029"/>
                </a:cxn>
                <a:cxn ang="0">
                  <a:pos x="130" y="974"/>
                </a:cxn>
                <a:cxn ang="0">
                  <a:pos x="155" y="899"/>
                </a:cxn>
                <a:cxn ang="0">
                  <a:pos x="130" y="836"/>
                </a:cxn>
                <a:cxn ang="0">
                  <a:pos x="148" y="740"/>
                </a:cxn>
                <a:cxn ang="0">
                  <a:pos x="132" y="624"/>
                </a:cxn>
                <a:cxn ang="0">
                  <a:pos x="155" y="551"/>
                </a:cxn>
                <a:cxn ang="0">
                  <a:pos x="199" y="488"/>
                </a:cxn>
                <a:cxn ang="0">
                  <a:pos x="201" y="420"/>
                </a:cxn>
                <a:cxn ang="0">
                  <a:pos x="232" y="351"/>
                </a:cxn>
                <a:cxn ang="0">
                  <a:pos x="204" y="272"/>
                </a:cxn>
                <a:cxn ang="0">
                  <a:pos x="169" y="110"/>
                </a:cxn>
                <a:cxn ang="0">
                  <a:pos x="122" y="23"/>
                </a:cxn>
                <a:cxn ang="0">
                  <a:pos x="64" y="28"/>
                </a:cxn>
                <a:cxn ang="0">
                  <a:pos x="86" y="123"/>
                </a:cxn>
                <a:cxn ang="0">
                  <a:pos x="70" y="327"/>
                </a:cxn>
                <a:cxn ang="0">
                  <a:pos x="86" y="351"/>
                </a:cxn>
                <a:cxn ang="0">
                  <a:pos x="74" y="462"/>
                </a:cxn>
                <a:cxn ang="0">
                  <a:pos x="39" y="588"/>
                </a:cxn>
                <a:cxn ang="0">
                  <a:pos x="42" y="679"/>
                </a:cxn>
                <a:cxn ang="0">
                  <a:pos x="46" y="846"/>
                </a:cxn>
                <a:cxn ang="0">
                  <a:pos x="11" y="1074"/>
                </a:cxn>
                <a:cxn ang="0">
                  <a:pos x="31" y="1378"/>
                </a:cxn>
                <a:cxn ang="0">
                  <a:pos x="46" y="1422"/>
                </a:cxn>
                <a:cxn ang="0">
                  <a:pos x="63" y="1577"/>
                </a:cxn>
                <a:cxn ang="0">
                  <a:pos x="39" y="1691"/>
                </a:cxn>
                <a:cxn ang="0">
                  <a:pos x="39" y="1790"/>
                </a:cxn>
                <a:cxn ang="0">
                  <a:pos x="86" y="1912"/>
                </a:cxn>
                <a:cxn ang="0">
                  <a:pos x="125" y="1976"/>
                </a:cxn>
                <a:cxn ang="0">
                  <a:pos x="173" y="2015"/>
                </a:cxn>
                <a:cxn ang="0">
                  <a:pos x="228" y="2070"/>
                </a:cxn>
                <a:cxn ang="0">
                  <a:pos x="276" y="2129"/>
                </a:cxn>
                <a:cxn ang="0">
                  <a:pos x="324" y="2055"/>
                </a:cxn>
              </a:cxnLst>
              <a:rect l="0" t="0" r="r" b="b"/>
              <a:pathLst>
                <a:path w="324" h="2129">
                  <a:moveTo>
                    <a:pt x="315" y="1970"/>
                  </a:moveTo>
                  <a:lnTo>
                    <a:pt x="177" y="1976"/>
                  </a:lnTo>
                  <a:lnTo>
                    <a:pt x="167" y="1911"/>
                  </a:lnTo>
                  <a:lnTo>
                    <a:pt x="128" y="1888"/>
                  </a:lnTo>
                  <a:lnTo>
                    <a:pt x="120" y="1749"/>
                  </a:lnTo>
                  <a:lnTo>
                    <a:pt x="145" y="1740"/>
                  </a:lnTo>
                  <a:lnTo>
                    <a:pt x="153" y="1701"/>
                  </a:lnTo>
                  <a:lnTo>
                    <a:pt x="155" y="1511"/>
                  </a:lnTo>
                  <a:lnTo>
                    <a:pt x="135" y="1457"/>
                  </a:lnTo>
                  <a:lnTo>
                    <a:pt x="134" y="1381"/>
                  </a:lnTo>
                  <a:lnTo>
                    <a:pt x="122" y="1298"/>
                  </a:lnTo>
                  <a:lnTo>
                    <a:pt x="101" y="1254"/>
                  </a:lnTo>
                  <a:lnTo>
                    <a:pt x="106" y="1216"/>
                  </a:lnTo>
                  <a:lnTo>
                    <a:pt x="139" y="1174"/>
                  </a:lnTo>
                  <a:lnTo>
                    <a:pt x="96" y="1081"/>
                  </a:lnTo>
                  <a:lnTo>
                    <a:pt x="130" y="1029"/>
                  </a:lnTo>
                  <a:lnTo>
                    <a:pt x="149" y="998"/>
                  </a:lnTo>
                  <a:lnTo>
                    <a:pt x="130" y="974"/>
                  </a:lnTo>
                  <a:lnTo>
                    <a:pt x="130" y="905"/>
                  </a:lnTo>
                  <a:lnTo>
                    <a:pt x="155" y="899"/>
                  </a:lnTo>
                  <a:lnTo>
                    <a:pt x="152" y="843"/>
                  </a:lnTo>
                  <a:lnTo>
                    <a:pt x="130" y="836"/>
                  </a:lnTo>
                  <a:lnTo>
                    <a:pt x="125" y="758"/>
                  </a:lnTo>
                  <a:lnTo>
                    <a:pt x="148" y="740"/>
                  </a:lnTo>
                  <a:lnTo>
                    <a:pt x="144" y="703"/>
                  </a:lnTo>
                  <a:lnTo>
                    <a:pt x="132" y="624"/>
                  </a:lnTo>
                  <a:lnTo>
                    <a:pt x="149" y="595"/>
                  </a:lnTo>
                  <a:lnTo>
                    <a:pt x="155" y="551"/>
                  </a:lnTo>
                  <a:lnTo>
                    <a:pt x="183" y="529"/>
                  </a:lnTo>
                  <a:lnTo>
                    <a:pt x="199" y="488"/>
                  </a:lnTo>
                  <a:lnTo>
                    <a:pt x="176" y="454"/>
                  </a:lnTo>
                  <a:lnTo>
                    <a:pt x="201" y="420"/>
                  </a:lnTo>
                  <a:lnTo>
                    <a:pt x="203" y="361"/>
                  </a:lnTo>
                  <a:lnTo>
                    <a:pt x="232" y="351"/>
                  </a:lnTo>
                  <a:lnTo>
                    <a:pt x="236" y="292"/>
                  </a:lnTo>
                  <a:lnTo>
                    <a:pt x="204" y="272"/>
                  </a:lnTo>
                  <a:lnTo>
                    <a:pt x="169" y="209"/>
                  </a:lnTo>
                  <a:lnTo>
                    <a:pt x="169" y="110"/>
                  </a:lnTo>
                  <a:lnTo>
                    <a:pt x="125" y="71"/>
                  </a:lnTo>
                  <a:lnTo>
                    <a:pt x="122" y="23"/>
                  </a:lnTo>
                  <a:lnTo>
                    <a:pt x="96" y="0"/>
                  </a:lnTo>
                  <a:lnTo>
                    <a:pt x="64" y="28"/>
                  </a:lnTo>
                  <a:lnTo>
                    <a:pt x="74" y="99"/>
                  </a:lnTo>
                  <a:lnTo>
                    <a:pt x="86" y="123"/>
                  </a:lnTo>
                  <a:lnTo>
                    <a:pt x="90" y="303"/>
                  </a:lnTo>
                  <a:lnTo>
                    <a:pt x="70" y="327"/>
                  </a:lnTo>
                  <a:lnTo>
                    <a:pt x="70" y="351"/>
                  </a:lnTo>
                  <a:lnTo>
                    <a:pt x="86" y="351"/>
                  </a:lnTo>
                  <a:lnTo>
                    <a:pt x="86" y="462"/>
                  </a:lnTo>
                  <a:lnTo>
                    <a:pt x="74" y="462"/>
                  </a:lnTo>
                  <a:lnTo>
                    <a:pt x="70" y="588"/>
                  </a:lnTo>
                  <a:lnTo>
                    <a:pt x="39" y="588"/>
                  </a:lnTo>
                  <a:lnTo>
                    <a:pt x="55" y="620"/>
                  </a:lnTo>
                  <a:lnTo>
                    <a:pt x="42" y="679"/>
                  </a:lnTo>
                  <a:lnTo>
                    <a:pt x="31" y="837"/>
                  </a:lnTo>
                  <a:lnTo>
                    <a:pt x="46" y="846"/>
                  </a:lnTo>
                  <a:lnTo>
                    <a:pt x="27" y="1043"/>
                  </a:lnTo>
                  <a:lnTo>
                    <a:pt x="11" y="1074"/>
                  </a:lnTo>
                  <a:lnTo>
                    <a:pt x="0" y="1095"/>
                  </a:lnTo>
                  <a:lnTo>
                    <a:pt x="31" y="1378"/>
                  </a:lnTo>
                  <a:lnTo>
                    <a:pt x="15" y="1426"/>
                  </a:lnTo>
                  <a:lnTo>
                    <a:pt x="46" y="1422"/>
                  </a:lnTo>
                  <a:lnTo>
                    <a:pt x="59" y="1434"/>
                  </a:lnTo>
                  <a:lnTo>
                    <a:pt x="63" y="1577"/>
                  </a:lnTo>
                  <a:lnTo>
                    <a:pt x="42" y="1619"/>
                  </a:lnTo>
                  <a:lnTo>
                    <a:pt x="39" y="1691"/>
                  </a:lnTo>
                  <a:lnTo>
                    <a:pt x="70" y="1707"/>
                  </a:lnTo>
                  <a:lnTo>
                    <a:pt x="39" y="1790"/>
                  </a:lnTo>
                  <a:lnTo>
                    <a:pt x="63" y="1873"/>
                  </a:lnTo>
                  <a:lnTo>
                    <a:pt x="86" y="1912"/>
                  </a:lnTo>
                  <a:lnTo>
                    <a:pt x="118" y="1928"/>
                  </a:lnTo>
                  <a:lnTo>
                    <a:pt x="125" y="1976"/>
                  </a:lnTo>
                  <a:lnTo>
                    <a:pt x="142" y="2000"/>
                  </a:lnTo>
                  <a:lnTo>
                    <a:pt x="173" y="2015"/>
                  </a:lnTo>
                  <a:lnTo>
                    <a:pt x="189" y="2043"/>
                  </a:lnTo>
                  <a:lnTo>
                    <a:pt x="228" y="2070"/>
                  </a:lnTo>
                  <a:lnTo>
                    <a:pt x="256" y="2094"/>
                  </a:lnTo>
                  <a:lnTo>
                    <a:pt x="276" y="2129"/>
                  </a:lnTo>
                  <a:lnTo>
                    <a:pt x="292" y="2074"/>
                  </a:lnTo>
                  <a:lnTo>
                    <a:pt x="324" y="2055"/>
                  </a:lnTo>
                  <a:lnTo>
                    <a:pt x="315" y="197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0" name="Freeform 89"/>
            <p:cNvSpPr>
              <a:spLocks noChangeAspect="1"/>
            </p:cNvSpPr>
            <p:nvPr/>
          </p:nvSpPr>
          <p:spPr bwMode="auto">
            <a:xfrm>
              <a:off x="7833643" y="4222995"/>
              <a:ext cx="91428" cy="118923"/>
            </a:xfrm>
            <a:custGeom>
              <a:avLst/>
              <a:gdLst/>
              <a:ahLst/>
              <a:cxnLst>
                <a:cxn ang="0">
                  <a:pos x="27" y="4"/>
                </a:cxn>
                <a:cxn ang="0">
                  <a:pos x="14" y="29"/>
                </a:cxn>
                <a:cxn ang="0">
                  <a:pos x="14" y="163"/>
                </a:cxn>
                <a:cxn ang="0">
                  <a:pos x="0" y="176"/>
                </a:cxn>
                <a:cxn ang="0">
                  <a:pos x="20" y="197"/>
                </a:cxn>
                <a:cxn ang="0">
                  <a:pos x="66" y="201"/>
                </a:cxn>
                <a:cxn ang="0">
                  <a:pos x="79" y="173"/>
                </a:cxn>
                <a:cxn ang="0">
                  <a:pos x="93" y="148"/>
                </a:cxn>
                <a:cxn ang="0">
                  <a:pos x="120" y="122"/>
                </a:cxn>
                <a:cxn ang="0">
                  <a:pos x="155" y="124"/>
                </a:cxn>
                <a:cxn ang="0">
                  <a:pos x="145" y="90"/>
                </a:cxn>
                <a:cxn ang="0">
                  <a:pos x="117" y="70"/>
                </a:cxn>
                <a:cxn ang="0">
                  <a:pos x="110" y="42"/>
                </a:cxn>
                <a:cxn ang="0">
                  <a:pos x="86" y="31"/>
                </a:cxn>
                <a:cxn ang="0">
                  <a:pos x="58" y="25"/>
                </a:cxn>
                <a:cxn ang="0">
                  <a:pos x="48" y="0"/>
                </a:cxn>
                <a:cxn ang="0">
                  <a:pos x="27" y="4"/>
                </a:cxn>
              </a:cxnLst>
              <a:rect l="0" t="0" r="r" b="b"/>
              <a:pathLst>
                <a:path w="155" h="201">
                  <a:moveTo>
                    <a:pt x="27" y="4"/>
                  </a:moveTo>
                  <a:lnTo>
                    <a:pt x="14" y="29"/>
                  </a:lnTo>
                  <a:lnTo>
                    <a:pt x="14" y="163"/>
                  </a:lnTo>
                  <a:lnTo>
                    <a:pt x="0" y="176"/>
                  </a:lnTo>
                  <a:lnTo>
                    <a:pt x="20" y="197"/>
                  </a:lnTo>
                  <a:lnTo>
                    <a:pt x="66" y="201"/>
                  </a:lnTo>
                  <a:lnTo>
                    <a:pt x="79" y="173"/>
                  </a:lnTo>
                  <a:lnTo>
                    <a:pt x="93" y="148"/>
                  </a:lnTo>
                  <a:lnTo>
                    <a:pt x="120" y="122"/>
                  </a:lnTo>
                  <a:lnTo>
                    <a:pt x="155" y="124"/>
                  </a:lnTo>
                  <a:lnTo>
                    <a:pt x="145" y="90"/>
                  </a:lnTo>
                  <a:lnTo>
                    <a:pt x="117" y="70"/>
                  </a:lnTo>
                  <a:lnTo>
                    <a:pt x="110" y="42"/>
                  </a:lnTo>
                  <a:lnTo>
                    <a:pt x="86" y="31"/>
                  </a:lnTo>
                  <a:lnTo>
                    <a:pt x="58" y="25"/>
                  </a:lnTo>
                  <a:lnTo>
                    <a:pt x="48" y="0"/>
                  </a:lnTo>
                  <a:lnTo>
                    <a:pt x="27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1" name="Freeform 90"/>
            <p:cNvSpPr>
              <a:spLocks noChangeAspect="1"/>
            </p:cNvSpPr>
            <p:nvPr/>
          </p:nvSpPr>
          <p:spPr bwMode="auto">
            <a:xfrm>
              <a:off x="7766830" y="6070733"/>
              <a:ext cx="100219" cy="67448"/>
            </a:xfrm>
            <a:custGeom>
              <a:avLst/>
              <a:gdLst/>
              <a:ahLst/>
              <a:cxnLst>
                <a:cxn ang="0">
                  <a:pos x="52" y="28"/>
                </a:cxn>
                <a:cxn ang="0">
                  <a:pos x="4" y="35"/>
                </a:cxn>
                <a:cxn ang="0">
                  <a:pos x="0" y="79"/>
                </a:cxn>
                <a:cxn ang="0">
                  <a:pos x="8" y="114"/>
                </a:cxn>
                <a:cxn ang="0">
                  <a:pos x="44" y="79"/>
                </a:cxn>
                <a:cxn ang="0">
                  <a:pos x="68" y="94"/>
                </a:cxn>
                <a:cxn ang="0">
                  <a:pos x="131" y="75"/>
                </a:cxn>
                <a:cxn ang="0">
                  <a:pos x="170" y="55"/>
                </a:cxn>
                <a:cxn ang="0">
                  <a:pos x="123" y="28"/>
                </a:cxn>
                <a:cxn ang="0">
                  <a:pos x="96" y="0"/>
                </a:cxn>
                <a:cxn ang="0">
                  <a:pos x="92" y="31"/>
                </a:cxn>
                <a:cxn ang="0">
                  <a:pos x="52" y="28"/>
                </a:cxn>
              </a:cxnLst>
              <a:rect l="0" t="0" r="r" b="b"/>
              <a:pathLst>
                <a:path w="170" h="114">
                  <a:moveTo>
                    <a:pt x="52" y="28"/>
                  </a:moveTo>
                  <a:lnTo>
                    <a:pt x="4" y="35"/>
                  </a:lnTo>
                  <a:lnTo>
                    <a:pt x="0" y="79"/>
                  </a:lnTo>
                  <a:lnTo>
                    <a:pt x="8" y="114"/>
                  </a:lnTo>
                  <a:lnTo>
                    <a:pt x="44" y="79"/>
                  </a:lnTo>
                  <a:lnTo>
                    <a:pt x="68" y="94"/>
                  </a:lnTo>
                  <a:lnTo>
                    <a:pt x="131" y="75"/>
                  </a:lnTo>
                  <a:lnTo>
                    <a:pt x="170" y="55"/>
                  </a:lnTo>
                  <a:lnTo>
                    <a:pt x="123" y="28"/>
                  </a:lnTo>
                  <a:lnTo>
                    <a:pt x="96" y="0"/>
                  </a:lnTo>
                  <a:lnTo>
                    <a:pt x="92" y="31"/>
                  </a:lnTo>
                  <a:lnTo>
                    <a:pt x="52" y="2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2" name="Freeform 91"/>
            <p:cNvSpPr>
              <a:spLocks noChangeAspect="1"/>
            </p:cNvSpPr>
            <p:nvPr/>
          </p:nvSpPr>
          <p:spPr bwMode="auto">
            <a:xfrm>
              <a:off x="7995400" y="1927965"/>
              <a:ext cx="65055" cy="31949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0" y="55"/>
                </a:cxn>
                <a:cxn ang="0">
                  <a:pos x="56" y="55"/>
                </a:cxn>
                <a:cxn ang="0">
                  <a:pos x="111" y="31"/>
                </a:cxn>
                <a:cxn ang="0">
                  <a:pos x="32" y="0"/>
                </a:cxn>
              </a:cxnLst>
              <a:rect l="0" t="0" r="r" b="b"/>
              <a:pathLst>
                <a:path w="111" h="55">
                  <a:moveTo>
                    <a:pt x="32" y="0"/>
                  </a:moveTo>
                  <a:lnTo>
                    <a:pt x="0" y="55"/>
                  </a:lnTo>
                  <a:lnTo>
                    <a:pt x="56" y="55"/>
                  </a:lnTo>
                  <a:lnTo>
                    <a:pt x="111" y="31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3" name="Freeform 92"/>
            <p:cNvSpPr>
              <a:spLocks noChangeAspect="1"/>
            </p:cNvSpPr>
            <p:nvPr/>
          </p:nvSpPr>
          <p:spPr bwMode="auto">
            <a:xfrm>
              <a:off x="5205082" y="1878266"/>
              <a:ext cx="882634" cy="729511"/>
            </a:xfrm>
            <a:custGeom>
              <a:avLst/>
              <a:gdLst/>
              <a:ahLst/>
              <a:cxnLst>
                <a:cxn ang="0">
                  <a:pos x="723" y="31"/>
                </a:cxn>
                <a:cxn ang="0">
                  <a:pos x="605" y="79"/>
                </a:cxn>
                <a:cxn ang="0">
                  <a:pos x="454" y="174"/>
                </a:cxn>
                <a:cxn ang="0">
                  <a:pos x="280" y="237"/>
                </a:cxn>
                <a:cxn ang="0">
                  <a:pos x="502" y="356"/>
                </a:cxn>
                <a:cxn ang="0">
                  <a:pos x="344" y="388"/>
                </a:cxn>
                <a:cxn ang="0">
                  <a:pos x="265" y="364"/>
                </a:cxn>
                <a:cxn ang="0">
                  <a:pos x="186" y="395"/>
                </a:cxn>
                <a:cxn ang="0">
                  <a:pos x="209" y="451"/>
                </a:cxn>
                <a:cxn ang="0">
                  <a:pos x="233" y="522"/>
                </a:cxn>
                <a:cxn ang="0">
                  <a:pos x="391" y="482"/>
                </a:cxn>
                <a:cxn ang="0">
                  <a:pos x="383" y="530"/>
                </a:cxn>
                <a:cxn ang="0">
                  <a:pos x="304" y="585"/>
                </a:cxn>
                <a:cxn ang="0">
                  <a:pos x="248" y="601"/>
                </a:cxn>
                <a:cxn ang="0">
                  <a:pos x="178" y="680"/>
                </a:cxn>
                <a:cxn ang="0">
                  <a:pos x="138" y="751"/>
                </a:cxn>
                <a:cxn ang="0">
                  <a:pos x="123" y="798"/>
                </a:cxn>
                <a:cxn ang="0">
                  <a:pos x="209" y="839"/>
                </a:cxn>
                <a:cxn ang="0">
                  <a:pos x="233" y="861"/>
                </a:cxn>
                <a:cxn ang="0">
                  <a:pos x="217" y="949"/>
                </a:cxn>
                <a:cxn ang="0">
                  <a:pos x="312" y="945"/>
                </a:cxn>
                <a:cxn ang="0">
                  <a:pos x="375" y="1001"/>
                </a:cxn>
                <a:cxn ang="0">
                  <a:pos x="63" y="1178"/>
                </a:cxn>
                <a:cxn ang="0">
                  <a:pos x="4" y="1233"/>
                </a:cxn>
                <a:cxn ang="0">
                  <a:pos x="438" y="1043"/>
                </a:cxn>
                <a:cxn ang="0">
                  <a:pos x="498" y="996"/>
                </a:cxn>
                <a:cxn ang="0">
                  <a:pos x="548" y="913"/>
                </a:cxn>
                <a:cxn ang="0">
                  <a:pos x="707" y="743"/>
                </a:cxn>
                <a:cxn ang="0">
                  <a:pos x="664" y="850"/>
                </a:cxn>
                <a:cxn ang="0">
                  <a:pos x="651" y="901"/>
                </a:cxn>
                <a:cxn ang="0">
                  <a:pos x="688" y="925"/>
                </a:cxn>
                <a:cxn ang="0">
                  <a:pos x="705" y="925"/>
                </a:cxn>
                <a:cxn ang="0">
                  <a:pos x="724" y="916"/>
                </a:cxn>
                <a:cxn ang="0">
                  <a:pos x="743" y="904"/>
                </a:cxn>
                <a:cxn ang="0">
                  <a:pos x="776" y="871"/>
                </a:cxn>
                <a:cxn ang="0">
                  <a:pos x="798" y="842"/>
                </a:cxn>
                <a:cxn ang="0">
                  <a:pos x="846" y="771"/>
                </a:cxn>
                <a:cxn ang="0">
                  <a:pos x="916" y="782"/>
                </a:cxn>
                <a:cxn ang="0">
                  <a:pos x="960" y="826"/>
                </a:cxn>
                <a:cxn ang="0">
                  <a:pos x="1115" y="846"/>
                </a:cxn>
                <a:cxn ang="0">
                  <a:pos x="1165" y="885"/>
                </a:cxn>
                <a:cxn ang="0">
                  <a:pos x="1209" y="916"/>
                </a:cxn>
                <a:cxn ang="0">
                  <a:pos x="1257" y="968"/>
                </a:cxn>
                <a:cxn ang="0">
                  <a:pos x="1295" y="968"/>
                </a:cxn>
                <a:cxn ang="0">
                  <a:pos x="1339" y="968"/>
                </a:cxn>
                <a:cxn ang="0">
                  <a:pos x="1356" y="996"/>
                </a:cxn>
                <a:cxn ang="0">
                  <a:pos x="1375" y="1060"/>
                </a:cxn>
                <a:cxn ang="0">
                  <a:pos x="1402" y="1099"/>
                </a:cxn>
                <a:cxn ang="0">
                  <a:pos x="1474" y="1119"/>
                </a:cxn>
                <a:cxn ang="0">
                  <a:pos x="1442" y="1071"/>
                </a:cxn>
                <a:cxn ang="0">
                  <a:pos x="1402" y="984"/>
                </a:cxn>
                <a:cxn ang="0">
                  <a:pos x="1323" y="854"/>
                </a:cxn>
                <a:cxn ang="0">
                  <a:pos x="1288" y="881"/>
                </a:cxn>
                <a:cxn ang="0">
                  <a:pos x="1249" y="909"/>
                </a:cxn>
                <a:cxn ang="0">
                  <a:pos x="1198" y="822"/>
                </a:cxn>
                <a:cxn ang="0">
                  <a:pos x="1137" y="822"/>
                </a:cxn>
                <a:cxn ang="0">
                  <a:pos x="1292" y="83"/>
                </a:cxn>
                <a:cxn ang="0">
                  <a:pos x="1133" y="99"/>
                </a:cxn>
                <a:cxn ang="0">
                  <a:pos x="960" y="79"/>
                </a:cxn>
                <a:cxn ang="0">
                  <a:pos x="865" y="55"/>
                </a:cxn>
                <a:cxn ang="0">
                  <a:pos x="794" y="4"/>
                </a:cxn>
              </a:cxnLst>
              <a:rect l="0" t="0" r="r" b="b"/>
              <a:pathLst>
                <a:path w="1505" h="1233">
                  <a:moveTo>
                    <a:pt x="762" y="0"/>
                  </a:moveTo>
                  <a:lnTo>
                    <a:pt x="723" y="31"/>
                  </a:lnTo>
                  <a:lnTo>
                    <a:pt x="628" y="31"/>
                  </a:lnTo>
                  <a:lnTo>
                    <a:pt x="605" y="79"/>
                  </a:lnTo>
                  <a:lnTo>
                    <a:pt x="493" y="86"/>
                  </a:lnTo>
                  <a:lnTo>
                    <a:pt x="454" y="174"/>
                  </a:lnTo>
                  <a:lnTo>
                    <a:pt x="296" y="198"/>
                  </a:lnTo>
                  <a:lnTo>
                    <a:pt x="280" y="237"/>
                  </a:lnTo>
                  <a:lnTo>
                    <a:pt x="368" y="300"/>
                  </a:lnTo>
                  <a:lnTo>
                    <a:pt x="502" y="356"/>
                  </a:lnTo>
                  <a:lnTo>
                    <a:pt x="407" y="372"/>
                  </a:lnTo>
                  <a:lnTo>
                    <a:pt x="344" y="388"/>
                  </a:lnTo>
                  <a:lnTo>
                    <a:pt x="312" y="348"/>
                  </a:lnTo>
                  <a:lnTo>
                    <a:pt x="265" y="364"/>
                  </a:lnTo>
                  <a:lnTo>
                    <a:pt x="265" y="388"/>
                  </a:lnTo>
                  <a:lnTo>
                    <a:pt x="186" y="395"/>
                  </a:lnTo>
                  <a:lnTo>
                    <a:pt x="162" y="427"/>
                  </a:lnTo>
                  <a:lnTo>
                    <a:pt x="209" y="451"/>
                  </a:lnTo>
                  <a:lnTo>
                    <a:pt x="201" y="498"/>
                  </a:lnTo>
                  <a:lnTo>
                    <a:pt x="233" y="522"/>
                  </a:lnTo>
                  <a:lnTo>
                    <a:pt x="327" y="522"/>
                  </a:lnTo>
                  <a:lnTo>
                    <a:pt x="391" y="482"/>
                  </a:lnTo>
                  <a:lnTo>
                    <a:pt x="414" y="506"/>
                  </a:lnTo>
                  <a:lnTo>
                    <a:pt x="383" y="530"/>
                  </a:lnTo>
                  <a:lnTo>
                    <a:pt x="375" y="585"/>
                  </a:lnTo>
                  <a:lnTo>
                    <a:pt x="304" y="585"/>
                  </a:lnTo>
                  <a:lnTo>
                    <a:pt x="289" y="633"/>
                  </a:lnTo>
                  <a:lnTo>
                    <a:pt x="248" y="601"/>
                  </a:lnTo>
                  <a:lnTo>
                    <a:pt x="186" y="633"/>
                  </a:lnTo>
                  <a:lnTo>
                    <a:pt x="178" y="680"/>
                  </a:lnTo>
                  <a:lnTo>
                    <a:pt x="114" y="712"/>
                  </a:lnTo>
                  <a:lnTo>
                    <a:pt x="138" y="751"/>
                  </a:lnTo>
                  <a:lnTo>
                    <a:pt x="178" y="767"/>
                  </a:lnTo>
                  <a:lnTo>
                    <a:pt x="123" y="798"/>
                  </a:lnTo>
                  <a:lnTo>
                    <a:pt x="162" y="846"/>
                  </a:lnTo>
                  <a:lnTo>
                    <a:pt x="209" y="839"/>
                  </a:lnTo>
                  <a:lnTo>
                    <a:pt x="233" y="798"/>
                  </a:lnTo>
                  <a:lnTo>
                    <a:pt x="233" y="861"/>
                  </a:lnTo>
                  <a:lnTo>
                    <a:pt x="209" y="901"/>
                  </a:lnTo>
                  <a:lnTo>
                    <a:pt x="217" y="949"/>
                  </a:lnTo>
                  <a:lnTo>
                    <a:pt x="289" y="925"/>
                  </a:lnTo>
                  <a:lnTo>
                    <a:pt x="312" y="945"/>
                  </a:lnTo>
                  <a:lnTo>
                    <a:pt x="368" y="925"/>
                  </a:lnTo>
                  <a:lnTo>
                    <a:pt x="375" y="1001"/>
                  </a:lnTo>
                  <a:lnTo>
                    <a:pt x="193" y="1119"/>
                  </a:lnTo>
                  <a:lnTo>
                    <a:pt x="63" y="1178"/>
                  </a:lnTo>
                  <a:lnTo>
                    <a:pt x="0" y="1205"/>
                  </a:lnTo>
                  <a:lnTo>
                    <a:pt x="4" y="1233"/>
                  </a:lnTo>
                  <a:lnTo>
                    <a:pt x="213" y="1194"/>
                  </a:lnTo>
                  <a:lnTo>
                    <a:pt x="438" y="1043"/>
                  </a:lnTo>
                  <a:lnTo>
                    <a:pt x="462" y="1019"/>
                  </a:lnTo>
                  <a:lnTo>
                    <a:pt x="498" y="996"/>
                  </a:lnTo>
                  <a:lnTo>
                    <a:pt x="561" y="957"/>
                  </a:lnTo>
                  <a:lnTo>
                    <a:pt x="548" y="913"/>
                  </a:lnTo>
                  <a:lnTo>
                    <a:pt x="620" y="850"/>
                  </a:lnTo>
                  <a:lnTo>
                    <a:pt x="707" y="743"/>
                  </a:lnTo>
                  <a:lnTo>
                    <a:pt x="782" y="763"/>
                  </a:lnTo>
                  <a:lnTo>
                    <a:pt x="664" y="850"/>
                  </a:lnTo>
                  <a:lnTo>
                    <a:pt x="684" y="878"/>
                  </a:lnTo>
                  <a:lnTo>
                    <a:pt x="651" y="901"/>
                  </a:lnTo>
                  <a:lnTo>
                    <a:pt x="688" y="925"/>
                  </a:lnTo>
                  <a:lnTo>
                    <a:pt x="688" y="925"/>
                  </a:lnTo>
                  <a:lnTo>
                    <a:pt x="697" y="927"/>
                  </a:lnTo>
                  <a:lnTo>
                    <a:pt x="705" y="925"/>
                  </a:lnTo>
                  <a:lnTo>
                    <a:pt x="715" y="922"/>
                  </a:lnTo>
                  <a:lnTo>
                    <a:pt x="724" y="916"/>
                  </a:lnTo>
                  <a:lnTo>
                    <a:pt x="734" y="911"/>
                  </a:lnTo>
                  <a:lnTo>
                    <a:pt x="743" y="904"/>
                  </a:lnTo>
                  <a:lnTo>
                    <a:pt x="761" y="888"/>
                  </a:lnTo>
                  <a:lnTo>
                    <a:pt x="776" y="871"/>
                  </a:lnTo>
                  <a:lnTo>
                    <a:pt x="787" y="856"/>
                  </a:lnTo>
                  <a:lnTo>
                    <a:pt x="798" y="842"/>
                  </a:lnTo>
                  <a:lnTo>
                    <a:pt x="837" y="822"/>
                  </a:lnTo>
                  <a:lnTo>
                    <a:pt x="846" y="771"/>
                  </a:lnTo>
                  <a:lnTo>
                    <a:pt x="905" y="751"/>
                  </a:lnTo>
                  <a:lnTo>
                    <a:pt x="916" y="782"/>
                  </a:lnTo>
                  <a:lnTo>
                    <a:pt x="960" y="787"/>
                  </a:lnTo>
                  <a:lnTo>
                    <a:pt x="960" y="826"/>
                  </a:lnTo>
                  <a:lnTo>
                    <a:pt x="1098" y="834"/>
                  </a:lnTo>
                  <a:lnTo>
                    <a:pt x="1115" y="846"/>
                  </a:lnTo>
                  <a:lnTo>
                    <a:pt x="1118" y="874"/>
                  </a:lnTo>
                  <a:lnTo>
                    <a:pt x="1165" y="885"/>
                  </a:lnTo>
                  <a:lnTo>
                    <a:pt x="1174" y="922"/>
                  </a:lnTo>
                  <a:lnTo>
                    <a:pt x="1209" y="916"/>
                  </a:lnTo>
                  <a:lnTo>
                    <a:pt x="1221" y="949"/>
                  </a:lnTo>
                  <a:lnTo>
                    <a:pt x="1257" y="968"/>
                  </a:lnTo>
                  <a:lnTo>
                    <a:pt x="1277" y="937"/>
                  </a:lnTo>
                  <a:lnTo>
                    <a:pt x="1295" y="968"/>
                  </a:lnTo>
                  <a:lnTo>
                    <a:pt x="1323" y="984"/>
                  </a:lnTo>
                  <a:lnTo>
                    <a:pt x="1339" y="968"/>
                  </a:lnTo>
                  <a:lnTo>
                    <a:pt x="1359" y="977"/>
                  </a:lnTo>
                  <a:lnTo>
                    <a:pt x="1356" y="996"/>
                  </a:lnTo>
                  <a:lnTo>
                    <a:pt x="1356" y="1036"/>
                  </a:lnTo>
                  <a:lnTo>
                    <a:pt x="1375" y="1060"/>
                  </a:lnTo>
                  <a:lnTo>
                    <a:pt x="1402" y="1063"/>
                  </a:lnTo>
                  <a:lnTo>
                    <a:pt x="1402" y="1099"/>
                  </a:lnTo>
                  <a:lnTo>
                    <a:pt x="1439" y="1119"/>
                  </a:lnTo>
                  <a:lnTo>
                    <a:pt x="1474" y="1119"/>
                  </a:lnTo>
                  <a:lnTo>
                    <a:pt x="1505" y="1087"/>
                  </a:lnTo>
                  <a:lnTo>
                    <a:pt x="1442" y="1071"/>
                  </a:lnTo>
                  <a:lnTo>
                    <a:pt x="1426" y="996"/>
                  </a:lnTo>
                  <a:lnTo>
                    <a:pt x="1402" y="984"/>
                  </a:lnTo>
                  <a:lnTo>
                    <a:pt x="1391" y="929"/>
                  </a:lnTo>
                  <a:lnTo>
                    <a:pt x="1323" y="854"/>
                  </a:lnTo>
                  <a:lnTo>
                    <a:pt x="1295" y="850"/>
                  </a:lnTo>
                  <a:lnTo>
                    <a:pt x="1288" y="881"/>
                  </a:lnTo>
                  <a:lnTo>
                    <a:pt x="1260" y="881"/>
                  </a:lnTo>
                  <a:lnTo>
                    <a:pt x="1249" y="909"/>
                  </a:lnTo>
                  <a:lnTo>
                    <a:pt x="1209" y="881"/>
                  </a:lnTo>
                  <a:lnTo>
                    <a:pt x="1198" y="822"/>
                  </a:lnTo>
                  <a:lnTo>
                    <a:pt x="1177" y="806"/>
                  </a:lnTo>
                  <a:lnTo>
                    <a:pt x="1137" y="822"/>
                  </a:lnTo>
                  <a:lnTo>
                    <a:pt x="1339" y="127"/>
                  </a:lnTo>
                  <a:lnTo>
                    <a:pt x="1292" y="83"/>
                  </a:lnTo>
                  <a:lnTo>
                    <a:pt x="1181" y="95"/>
                  </a:lnTo>
                  <a:lnTo>
                    <a:pt x="1133" y="99"/>
                  </a:lnTo>
                  <a:lnTo>
                    <a:pt x="1102" y="68"/>
                  </a:lnTo>
                  <a:lnTo>
                    <a:pt x="960" y="79"/>
                  </a:lnTo>
                  <a:lnTo>
                    <a:pt x="913" y="16"/>
                  </a:lnTo>
                  <a:lnTo>
                    <a:pt x="865" y="55"/>
                  </a:lnTo>
                  <a:lnTo>
                    <a:pt x="798" y="48"/>
                  </a:lnTo>
                  <a:lnTo>
                    <a:pt x="794" y="4"/>
                  </a:lnTo>
                  <a:lnTo>
                    <a:pt x="762" y="0"/>
                  </a:lnTo>
                  <a:close/>
                </a:path>
              </a:pathLst>
            </a:custGeom>
            <a:solidFill>
              <a:srgbClr val="A0AEC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4" name="Freeform 93"/>
            <p:cNvSpPr>
              <a:spLocks noChangeAspect="1"/>
            </p:cNvSpPr>
            <p:nvPr/>
          </p:nvSpPr>
          <p:spPr bwMode="auto">
            <a:xfrm>
              <a:off x="6094748" y="2801249"/>
              <a:ext cx="1494499" cy="844883"/>
            </a:xfrm>
            <a:custGeom>
              <a:avLst/>
              <a:gdLst/>
              <a:ahLst/>
              <a:cxnLst>
                <a:cxn ang="0">
                  <a:pos x="1374" y="31"/>
                </a:cxn>
                <a:cxn ang="0">
                  <a:pos x="1663" y="43"/>
                </a:cxn>
                <a:cxn ang="0">
                  <a:pos x="1849" y="221"/>
                </a:cxn>
                <a:cxn ang="0">
                  <a:pos x="1813" y="426"/>
                </a:cxn>
                <a:cxn ang="0">
                  <a:pos x="2018" y="331"/>
                </a:cxn>
                <a:cxn ang="0">
                  <a:pos x="2177" y="232"/>
                </a:cxn>
                <a:cxn ang="0">
                  <a:pos x="2418" y="157"/>
                </a:cxn>
                <a:cxn ang="0">
                  <a:pos x="2517" y="221"/>
                </a:cxn>
                <a:cxn ang="0">
                  <a:pos x="2480" y="272"/>
                </a:cxn>
                <a:cxn ang="0">
                  <a:pos x="2421" y="319"/>
                </a:cxn>
                <a:cxn ang="0">
                  <a:pos x="2362" y="394"/>
                </a:cxn>
                <a:cxn ang="0">
                  <a:pos x="2271" y="458"/>
                </a:cxn>
                <a:cxn ang="0">
                  <a:pos x="2192" y="525"/>
                </a:cxn>
                <a:cxn ang="0">
                  <a:pos x="2125" y="648"/>
                </a:cxn>
                <a:cxn ang="0">
                  <a:pos x="2109" y="714"/>
                </a:cxn>
                <a:cxn ang="0">
                  <a:pos x="2066" y="861"/>
                </a:cxn>
                <a:cxn ang="0">
                  <a:pos x="1943" y="904"/>
                </a:cxn>
                <a:cxn ang="0">
                  <a:pos x="1853" y="992"/>
                </a:cxn>
                <a:cxn ang="0">
                  <a:pos x="1836" y="1165"/>
                </a:cxn>
                <a:cxn ang="0">
                  <a:pos x="1869" y="1272"/>
                </a:cxn>
                <a:cxn ang="0">
                  <a:pos x="1849" y="1399"/>
                </a:cxn>
                <a:cxn ang="0">
                  <a:pos x="1757" y="1241"/>
                </a:cxn>
                <a:cxn ang="0">
                  <a:pos x="1687" y="1099"/>
                </a:cxn>
                <a:cxn ang="0">
                  <a:pos x="1485" y="1094"/>
                </a:cxn>
                <a:cxn ang="0">
                  <a:pos x="1426" y="1169"/>
                </a:cxn>
                <a:cxn ang="0">
                  <a:pos x="1330" y="1106"/>
                </a:cxn>
                <a:cxn ang="0">
                  <a:pos x="1264" y="1106"/>
                </a:cxn>
                <a:cxn ang="0">
                  <a:pos x="1177" y="1197"/>
                </a:cxn>
                <a:cxn ang="0">
                  <a:pos x="1078" y="1327"/>
                </a:cxn>
                <a:cxn ang="0">
                  <a:pos x="964" y="1244"/>
                </a:cxn>
                <a:cxn ang="0">
                  <a:pos x="876" y="1106"/>
                </a:cxn>
                <a:cxn ang="0">
                  <a:pos x="789" y="1094"/>
                </a:cxn>
                <a:cxn ang="0">
                  <a:pos x="723" y="1035"/>
                </a:cxn>
                <a:cxn ang="0">
                  <a:pos x="635" y="1014"/>
                </a:cxn>
                <a:cxn ang="0">
                  <a:pos x="509" y="1062"/>
                </a:cxn>
                <a:cxn ang="0">
                  <a:pos x="351" y="983"/>
                </a:cxn>
                <a:cxn ang="0">
                  <a:pos x="244" y="913"/>
                </a:cxn>
                <a:cxn ang="0">
                  <a:pos x="101" y="841"/>
                </a:cxn>
                <a:cxn ang="0">
                  <a:pos x="59" y="731"/>
                </a:cxn>
                <a:cxn ang="0">
                  <a:pos x="7" y="611"/>
                </a:cxn>
                <a:cxn ang="0">
                  <a:pos x="7" y="434"/>
                </a:cxn>
                <a:cxn ang="0">
                  <a:pos x="24" y="335"/>
                </a:cxn>
                <a:cxn ang="0">
                  <a:pos x="70" y="221"/>
                </a:cxn>
                <a:cxn ang="0">
                  <a:pos x="83" y="83"/>
                </a:cxn>
                <a:cxn ang="0">
                  <a:pos x="149" y="66"/>
                </a:cxn>
              </a:cxnLst>
              <a:rect l="0" t="0" r="r" b="b"/>
              <a:pathLst>
                <a:path w="2548" h="1428">
                  <a:moveTo>
                    <a:pt x="177" y="4"/>
                  </a:moveTo>
                  <a:lnTo>
                    <a:pt x="1378" y="0"/>
                  </a:lnTo>
                  <a:lnTo>
                    <a:pt x="1374" y="31"/>
                  </a:lnTo>
                  <a:lnTo>
                    <a:pt x="1457" y="31"/>
                  </a:lnTo>
                  <a:lnTo>
                    <a:pt x="1584" y="43"/>
                  </a:lnTo>
                  <a:lnTo>
                    <a:pt x="1663" y="43"/>
                  </a:lnTo>
                  <a:lnTo>
                    <a:pt x="1726" y="90"/>
                  </a:lnTo>
                  <a:lnTo>
                    <a:pt x="1801" y="129"/>
                  </a:lnTo>
                  <a:lnTo>
                    <a:pt x="1849" y="221"/>
                  </a:lnTo>
                  <a:lnTo>
                    <a:pt x="1892" y="311"/>
                  </a:lnTo>
                  <a:lnTo>
                    <a:pt x="1836" y="390"/>
                  </a:lnTo>
                  <a:lnTo>
                    <a:pt x="1813" y="426"/>
                  </a:lnTo>
                  <a:lnTo>
                    <a:pt x="1880" y="453"/>
                  </a:lnTo>
                  <a:lnTo>
                    <a:pt x="1980" y="367"/>
                  </a:lnTo>
                  <a:lnTo>
                    <a:pt x="2018" y="331"/>
                  </a:lnTo>
                  <a:lnTo>
                    <a:pt x="2121" y="335"/>
                  </a:lnTo>
                  <a:lnTo>
                    <a:pt x="2142" y="269"/>
                  </a:lnTo>
                  <a:lnTo>
                    <a:pt x="2177" y="232"/>
                  </a:lnTo>
                  <a:lnTo>
                    <a:pt x="2362" y="245"/>
                  </a:lnTo>
                  <a:lnTo>
                    <a:pt x="2394" y="201"/>
                  </a:lnTo>
                  <a:lnTo>
                    <a:pt x="2418" y="157"/>
                  </a:lnTo>
                  <a:lnTo>
                    <a:pt x="2445" y="83"/>
                  </a:lnTo>
                  <a:lnTo>
                    <a:pt x="2508" y="94"/>
                  </a:lnTo>
                  <a:lnTo>
                    <a:pt x="2517" y="221"/>
                  </a:lnTo>
                  <a:lnTo>
                    <a:pt x="2548" y="236"/>
                  </a:lnTo>
                  <a:lnTo>
                    <a:pt x="2521" y="269"/>
                  </a:lnTo>
                  <a:lnTo>
                    <a:pt x="2480" y="272"/>
                  </a:lnTo>
                  <a:lnTo>
                    <a:pt x="2462" y="300"/>
                  </a:lnTo>
                  <a:lnTo>
                    <a:pt x="2429" y="296"/>
                  </a:lnTo>
                  <a:lnTo>
                    <a:pt x="2421" y="319"/>
                  </a:lnTo>
                  <a:lnTo>
                    <a:pt x="2386" y="319"/>
                  </a:lnTo>
                  <a:lnTo>
                    <a:pt x="2370" y="359"/>
                  </a:lnTo>
                  <a:lnTo>
                    <a:pt x="2362" y="394"/>
                  </a:lnTo>
                  <a:lnTo>
                    <a:pt x="2394" y="426"/>
                  </a:lnTo>
                  <a:lnTo>
                    <a:pt x="2355" y="449"/>
                  </a:lnTo>
                  <a:lnTo>
                    <a:pt x="2271" y="458"/>
                  </a:lnTo>
                  <a:lnTo>
                    <a:pt x="2256" y="493"/>
                  </a:lnTo>
                  <a:lnTo>
                    <a:pt x="2239" y="517"/>
                  </a:lnTo>
                  <a:lnTo>
                    <a:pt x="2192" y="525"/>
                  </a:lnTo>
                  <a:lnTo>
                    <a:pt x="2169" y="556"/>
                  </a:lnTo>
                  <a:lnTo>
                    <a:pt x="2157" y="635"/>
                  </a:lnTo>
                  <a:lnTo>
                    <a:pt x="2125" y="648"/>
                  </a:lnTo>
                  <a:lnTo>
                    <a:pt x="2105" y="672"/>
                  </a:lnTo>
                  <a:lnTo>
                    <a:pt x="2086" y="699"/>
                  </a:lnTo>
                  <a:lnTo>
                    <a:pt x="2109" y="714"/>
                  </a:lnTo>
                  <a:lnTo>
                    <a:pt x="2105" y="810"/>
                  </a:lnTo>
                  <a:lnTo>
                    <a:pt x="2074" y="825"/>
                  </a:lnTo>
                  <a:lnTo>
                    <a:pt x="2066" y="861"/>
                  </a:lnTo>
                  <a:lnTo>
                    <a:pt x="2015" y="858"/>
                  </a:lnTo>
                  <a:lnTo>
                    <a:pt x="1991" y="889"/>
                  </a:lnTo>
                  <a:lnTo>
                    <a:pt x="1943" y="904"/>
                  </a:lnTo>
                  <a:lnTo>
                    <a:pt x="1928" y="948"/>
                  </a:lnTo>
                  <a:lnTo>
                    <a:pt x="1892" y="955"/>
                  </a:lnTo>
                  <a:lnTo>
                    <a:pt x="1853" y="992"/>
                  </a:lnTo>
                  <a:lnTo>
                    <a:pt x="1840" y="1035"/>
                  </a:lnTo>
                  <a:lnTo>
                    <a:pt x="1840" y="1106"/>
                  </a:lnTo>
                  <a:lnTo>
                    <a:pt x="1836" y="1165"/>
                  </a:lnTo>
                  <a:lnTo>
                    <a:pt x="1857" y="1173"/>
                  </a:lnTo>
                  <a:lnTo>
                    <a:pt x="1860" y="1252"/>
                  </a:lnTo>
                  <a:lnTo>
                    <a:pt x="1869" y="1272"/>
                  </a:lnTo>
                  <a:lnTo>
                    <a:pt x="1890" y="1385"/>
                  </a:lnTo>
                  <a:lnTo>
                    <a:pt x="1872" y="1428"/>
                  </a:lnTo>
                  <a:lnTo>
                    <a:pt x="1849" y="1399"/>
                  </a:lnTo>
                  <a:lnTo>
                    <a:pt x="1801" y="1371"/>
                  </a:lnTo>
                  <a:lnTo>
                    <a:pt x="1777" y="1307"/>
                  </a:lnTo>
                  <a:lnTo>
                    <a:pt x="1757" y="1241"/>
                  </a:lnTo>
                  <a:lnTo>
                    <a:pt x="1766" y="1169"/>
                  </a:lnTo>
                  <a:lnTo>
                    <a:pt x="1730" y="1134"/>
                  </a:lnTo>
                  <a:lnTo>
                    <a:pt x="1687" y="1099"/>
                  </a:lnTo>
                  <a:lnTo>
                    <a:pt x="1632" y="1110"/>
                  </a:lnTo>
                  <a:lnTo>
                    <a:pt x="1588" y="1086"/>
                  </a:lnTo>
                  <a:lnTo>
                    <a:pt x="1485" y="1094"/>
                  </a:lnTo>
                  <a:lnTo>
                    <a:pt x="1454" y="1117"/>
                  </a:lnTo>
                  <a:lnTo>
                    <a:pt x="1474" y="1165"/>
                  </a:lnTo>
                  <a:lnTo>
                    <a:pt x="1426" y="1169"/>
                  </a:lnTo>
                  <a:lnTo>
                    <a:pt x="1374" y="1158"/>
                  </a:lnTo>
                  <a:lnTo>
                    <a:pt x="1367" y="1094"/>
                  </a:lnTo>
                  <a:lnTo>
                    <a:pt x="1330" y="1106"/>
                  </a:lnTo>
                  <a:lnTo>
                    <a:pt x="1319" y="1154"/>
                  </a:lnTo>
                  <a:lnTo>
                    <a:pt x="1292" y="1145"/>
                  </a:lnTo>
                  <a:lnTo>
                    <a:pt x="1264" y="1106"/>
                  </a:lnTo>
                  <a:lnTo>
                    <a:pt x="1233" y="1126"/>
                  </a:lnTo>
                  <a:lnTo>
                    <a:pt x="1205" y="1154"/>
                  </a:lnTo>
                  <a:lnTo>
                    <a:pt x="1177" y="1197"/>
                  </a:lnTo>
                  <a:lnTo>
                    <a:pt x="1150" y="1228"/>
                  </a:lnTo>
                  <a:lnTo>
                    <a:pt x="1098" y="1252"/>
                  </a:lnTo>
                  <a:lnTo>
                    <a:pt x="1078" y="1327"/>
                  </a:lnTo>
                  <a:lnTo>
                    <a:pt x="1015" y="1327"/>
                  </a:lnTo>
                  <a:lnTo>
                    <a:pt x="1003" y="1264"/>
                  </a:lnTo>
                  <a:lnTo>
                    <a:pt x="964" y="1244"/>
                  </a:lnTo>
                  <a:lnTo>
                    <a:pt x="951" y="1176"/>
                  </a:lnTo>
                  <a:lnTo>
                    <a:pt x="924" y="1141"/>
                  </a:lnTo>
                  <a:lnTo>
                    <a:pt x="876" y="1106"/>
                  </a:lnTo>
                  <a:lnTo>
                    <a:pt x="861" y="1169"/>
                  </a:lnTo>
                  <a:lnTo>
                    <a:pt x="813" y="1169"/>
                  </a:lnTo>
                  <a:lnTo>
                    <a:pt x="789" y="1094"/>
                  </a:lnTo>
                  <a:lnTo>
                    <a:pt x="762" y="1086"/>
                  </a:lnTo>
                  <a:lnTo>
                    <a:pt x="758" y="1042"/>
                  </a:lnTo>
                  <a:lnTo>
                    <a:pt x="723" y="1035"/>
                  </a:lnTo>
                  <a:lnTo>
                    <a:pt x="706" y="987"/>
                  </a:lnTo>
                  <a:lnTo>
                    <a:pt x="675" y="1011"/>
                  </a:lnTo>
                  <a:lnTo>
                    <a:pt x="635" y="1014"/>
                  </a:lnTo>
                  <a:lnTo>
                    <a:pt x="627" y="1042"/>
                  </a:lnTo>
                  <a:lnTo>
                    <a:pt x="561" y="1042"/>
                  </a:lnTo>
                  <a:lnTo>
                    <a:pt x="509" y="1062"/>
                  </a:lnTo>
                  <a:lnTo>
                    <a:pt x="438" y="1047"/>
                  </a:lnTo>
                  <a:lnTo>
                    <a:pt x="390" y="999"/>
                  </a:lnTo>
                  <a:lnTo>
                    <a:pt x="351" y="983"/>
                  </a:lnTo>
                  <a:lnTo>
                    <a:pt x="339" y="955"/>
                  </a:lnTo>
                  <a:lnTo>
                    <a:pt x="241" y="952"/>
                  </a:lnTo>
                  <a:lnTo>
                    <a:pt x="244" y="913"/>
                  </a:lnTo>
                  <a:lnTo>
                    <a:pt x="185" y="893"/>
                  </a:lnTo>
                  <a:lnTo>
                    <a:pt x="145" y="861"/>
                  </a:lnTo>
                  <a:lnTo>
                    <a:pt x="101" y="841"/>
                  </a:lnTo>
                  <a:lnTo>
                    <a:pt x="110" y="778"/>
                  </a:lnTo>
                  <a:lnTo>
                    <a:pt x="55" y="766"/>
                  </a:lnTo>
                  <a:lnTo>
                    <a:pt x="59" y="731"/>
                  </a:lnTo>
                  <a:lnTo>
                    <a:pt x="74" y="687"/>
                  </a:lnTo>
                  <a:lnTo>
                    <a:pt x="46" y="652"/>
                  </a:lnTo>
                  <a:lnTo>
                    <a:pt x="7" y="611"/>
                  </a:lnTo>
                  <a:lnTo>
                    <a:pt x="0" y="477"/>
                  </a:lnTo>
                  <a:lnTo>
                    <a:pt x="27" y="453"/>
                  </a:lnTo>
                  <a:lnTo>
                    <a:pt x="7" y="434"/>
                  </a:lnTo>
                  <a:lnTo>
                    <a:pt x="3" y="411"/>
                  </a:lnTo>
                  <a:lnTo>
                    <a:pt x="15" y="387"/>
                  </a:lnTo>
                  <a:lnTo>
                    <a:pt x="24" y="335"/>
                  </a:lnTo>
                  <a:lnTo>
                    <a:pt x="46" y="319"/>
                  </a:lnTo>
                  <a:lnTo>
                    <a:pt x="46" y="241"/>
                  </a:lnTo>
                  <a:lnTo>
                    <a:pt x="70" y="221"/>
                  </a:lnTo>
                  <a:lnTo>
                    <a:pt x="90" y="129"/>
                  </a:lnTo>
                  <a:lnTo>
                    <a:pt x="114" y="122"/>
                  </a:lnTo>
                  <a:lnTo>
                    <a:pt x="83" y="83"/>
                  </a:lnTo>
                  <a:lnTo>
                    <a:pt x="83" y="43"/>
                  </a:lnTo>
                  <a:lnTo>
                    <a:pt x="121" y="35"/>
                  </a:lnTo>
                  <a:lnTo>
                    <a:pt x="149" y="66"/>
                  </a:lnTo>
                  <a:lnTo>
                    <a:pt x="169" y="94"/>
                  </a:lnTo>
                  <a:lnTo>
                    <a:pt x="177" y="4"/>
                  </a:lnTo>
                  <a:close/>
                </a:path>
              </a:pathLst>
            </a:custGeom>
            <a:solidFill>
              <a:srgbClr val="A0AEC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5" name="Freeform 94"/>
            <p:cNvSpPr>
              <a:spLocks noChangeAspect="1"/>
            </p:cNvSpPr>
            <p:nvPr/>
          </p:nvSpPr>
          <p:spPr bwMode="auto">
            <a:xfrm>
              <a:off x="5871452" y="1856966"/>
              <a:ext cx="2025487" cy="1212301"/>
            </a:xfrm>
            <a:custGeom>
              <a:avLst/>
              <a:gdLst/>
              <a:ahLst/>
              <a:cxnLst>
                <a:cxn ang="0">
                  <a:pos x="3226" y="948"/>
                </a:cxn>
                <a:cxn ang="0">
                  <a:pos x="3237" y="1075"/>
                </a:cxn>
                <a:cxn ang="0">
                  <a:pos x="3347" y="1181"/>
                </a:cxn>
                <a:cxn ang="0">
                  <a:pos x="3344" y="1280"/>
                </a:cxn>
                <a:cxn ang="0">
                  <a:pos x="3399" y="1272"/>
                </a:cxn>
                <a:cxn ang="0">
                  <a:pos x="3454" y="1402"/>
                </a:cxn>
                <a:cxn ang="0">
                  <a:pos x="3285" y="1494"/>
                </a:cxn>
                <a:cxn ang="0">
                  <a:pos x="2972" y="1533"/>
                </a:cxn>
                <a:cxn ang="0">
                  <a:pos x="3008" y="1564"/>
                </a:cxn>
                <a:cxn ang="0">
                  <a:pos x="3206" y="1770"/>
                </a:cxn>
                <a:cxn ang="0">
                  <a:pos x="3091" y="1754"/>
                </a:cxn>
                <a:cxn ang="0">
                  <a:pos x="2898" y="1818"/>
                </a:cxn>
                <a:cxn ang="0">
                  <a:pos x="2775" y="1798"/>
                </a:cxn>
                <a:cxn ang="0">
                  <a:pos x="2502" y="1932"/>
                </a:cxn>
                <a:cxn ang="0">
                  <a:pos x="2194" y="2023"/>
                </a:cxn>
                <a:cxn ang="0">
                  <a:pos x="2182" y="1726"/>
                </a:cxn>
                <a:cxn ang="0">
                  <a:pos x="1838" y="1628"/>
                </a:cxn>
                <a:cxn ang="0">
                  <a:pos x="499" y="1525"/>
                </a:cxn>
                <a:cxn ang="0">
                  <a:pos x="384" y="1308"/>
                </a:cxn>
                <a:cxn ang="0">
                  <a:pos x="317" y="1189"/>
                </a:cxn>
                <a:cxn ang="0">
                  <a:pos x="289" y="1031"/>
                </a:cxn>
                <a:cxn ang="0">
                  <a:pos x="158" y="885"/>
                </a:cxn>
                <a:cxn ang="0">
                  <a:pos x="72" y="916"/>
                </a:cxn>
                <a:cxn ang="0">
                  <a:pos x="202" y="162"/>
                </a:cxn>
                <a:cxn ang="0">
                  <a:pos x="502" y="197"/>
                </a:cxn>
                <a:cxn ang="0">
                  <a:pos x="609" y="165"/>
                </a:cxn>
                <a:cxn ang="0">
                  <a:pos x="771" y="83"/>
                </a:cxn>
                <a:cxn ang="0">
                  <a:pos x="918" y="178"/>
                </a:cxn>
                <a:cxn ang="0">
                  <a:pos x="1312" y="245"/>
                </a:cxn>
                <a:cxn ang="0">
                  <a:pos x="1534" y="340"/>
                </a:cxn>
                <a:cxn ang="0">
                  <a:pos x="1858" y="300"/>
                </a:cxn>
                <a:cxn ang="0">
                  <a:pos x="2032" y="268"/>
                </a:cxn>
                <a:cxn ang="0">
                  <a:pos x="2040" y="79"/>
                </a:cxn>
                <a:cxn ang="0">
                  <a:pos x="2170" y="106"/>
                </a:cxn>
                <a:cxn ang="0">
                  <a:pos x="2289" y="186"/>
                </a:cxn>
                <a:cxn ang="0">
                  <a:pos x="2368" y="280"/>
                </a:cxn>
                <a:cxn ang="0">
                  <a:pos x="2573" y="233"/>
                </a:cxn>
                <a:cxn ang="0">
                  <a:pos x="2407" y="383"/>
                </a:cxn>
                <a:cxn ang="0">
                  <a:pos x="2226" y="419"/>
                </a:cxn>
                <a:cxn ang="0">
                  <a:pos x="2254" y="553"/>
                </a:cxn>
                <a:cxn ang="0">
                  <a:pos x="2028" y="710"/>
                </a:cxn>
                <a:cxn ang="0">
                  <a:pos x="1949" y="944"/>
                </a:cxn>
                <a:cxn ang="0">
                  <a:pos x="2226" y="1154"/>
                </a:cxn>
                <a:cxn ang="0">
                  <a:pos x="2340" y="1383"/>
                </a:cxn>
                <a:cxn ang="0">
                  <a:pos x="2471" y="1446"/>
                </a:cxn>
                <a:cxn ang="0">
                  <a:pos x="2510" y="1205"/>
                </a:cxn>
                <a:cxn ang="0">
                  <a:pos x="2585" y="1105"/>
                </a:cxn>
                <a:cxn ang="0">
                  <a:pos x="2585" y="1005"/>
                </a:cxn>
                <a:cxn ang="0">
                  <a:pos x="2568" y="953"/>
                </a:cxn>
                <a:cxn ang="0">
                  <a:pos x="2597" y="920"/>
                </a:cxn>
                <a:cxn ang="0">
                  <a:pos x="2661" y="655"/>
                </a:cxn>
                <a:cxn ang="0">
                  <a:pos x="2909" y="778"/>
                </a:cxn>
                <a:cxn ang="0">
                  <a:pos x="3016" y="980"/>
                </a:cxn>
              </a:cxnLst>
              <a:rect l="0" t="0" r="r" b="b"/>
              <a:pathLst>
                <a:path w="3454" h="2050">
                  <a:moveTo>
                    <a:pt x="3154" y="850"/>
                  </a:moveTo>
                  <a:lnTo>
                    <a:pt x="3177" y="887"/>
                  </a:lnTo>
                  <a:lnTo>
                    <a:pt x="3190" y="948"/>
                  </a:lnTo>
                  <a:lnTo>
                    <a:pt x="3226" y="948"/>
                  </a:lnTo>
                  <a:lnTo>
                    <a:pt x="3237" y="1027"/>
                  </a:lnTo>
                  <a:lnTo>
                    <a:pt x="3261" y="1023"/>
                  </a:lnTo>
                  <a:lnTo>
                    <a:pt x="3261" y="1058"/>
                  </a:lnTo>
                  <a:lnTo>
                    <a:pt x="3237" y="1075"/>
                  </a:lnTo>
                  <a:lnTo>
                    <a:pt x="3241" y="1106"/>
                  </a:lnTo>
                  <a:lnTo>
                    <a:pt x="3273" y="1115"/>
                  </a:lnTo>
                  <a:lnTo>
                    <a:pt x="3288" y="1189"/>
                  </a:lnTo>
                  <a:lnTo>
                    <a:pt x="3347" y="1181"/>
                  </a:lnTo>
                  <a:lnTo>
                    <a:pt x="3340" y="1213"/>
                  </a:lnTo>
                  <a:lnTo>
                    <a:pt x="3388" y="1205"/>
                  </a:lnTo>
                  <a:lnTo>
                    <a:pt x="3356" y="1249"/>
                  </a:lnTo>
                  <a:lnTo>
                    <a:pt x="3344" y="1280"/>
                  </a:lnTo>
                  <a:lnTo>
                    <a:pt x="3281" y="1296"/>
                  </a:lnTo>
                  <a:lnTo>
                    <a:pt x="3308" y="1312"/>
                  </a:lnTo>
                  <a:lnTo>
                    <a:pt x="3356" y="1296"/>
                  </a:lnTo>
                  <a:lnTo>
                    <a:pt x="3399" y="1272"/>
                  </a:lnTo>
                  <a:lnTo>
                    <a:pt x="3443" y="1277"/>
                  </a:lnTo>
                  <a:lnTo>
                    <a:pt x="3450" y="1316"/>
                  </a:lnTo>
                  <a:lnTo>
                    <a:pt x="3450" y="1371"/>
                  </a:lnTo>
                  <a:lnTo>
                    <a:pt x="3454" y="1402"/>
                  </a:lnTo>
                  <a:lnTo>
                    <a:pt x="3450" y="1426"/>
                  </a:lnTo>
                  <a:lnTo>
                    <a:pt x="3395" y="1442"/>
                  </a:lnTo>
                  <a:lnTo>
                    <a:pt x="3347" y="1439"/>
                  </a:lnTo>
                  <a:lnTo>
                    <a:pt x="3285" y="1494"/>
                  </a:lnTo>
                  <a:lnTo>
                    <a:pt x="3178" y="1505"/>
                  </a:lnTo>
                  <a:lnTo>
                    <a:pt x="3067" y="1505"/>
                  </a:lnTo>
                  <a:lnTo>
                    <a:pt x="3012" y="1498"/>
                  </a:lnTo>
                  <a:lnTo>
                    <a:pt x="2972" y="1533"/>
                  </a:lnTo>
                  <a:lnTo>
                    <a:pt x="2913" y="1560"/>
                  </a:lnTo>
                  <a:lnTo>
                    <a:pt x="2858" y="1632"/>
                  </a:lnTo>
                  <a:lnTo>
                    <a:pt x="2953" y="1592"/>
                  </a:lnTo>
                  <a:lnTo>
                    <a:pt x="3008" y="1564"/>
                  </a:lnTo>
                  <a:lnTo>
                    <a:pt x="3064" y="1597"/>
                  </a:lnTo>
                  <a:lnTo>
                    <a:pt x="3027" y="1652"/>
                  </a:lnTo>
                  <a:lnTo>
                    <a:pt x="3079" y="1707"/>
                  </a:lnTo>
                  <a:lnTo>
                    <a:pt x="3206" y="1770"/>
                  </a:lnTo>
                  <a:lnTo>
                    <a:pt x="3091" y="1833"/>
                  </a:lnTo>
                  <a:lnTo>
                    <a:pt x="2981" y="1908"/>
                  </a:lnTo>
                  <a:lnTo>
                    <a:pt x="2957" y="1881"/>
                  </a:lnTo>
                  <a:lnTo>
                    <a:pt x="3091" y="1754"/>
                  </a:lnTo>
                  <a:lnTo>
                    <a:pt x="3084" y="1735"/>
                  </a:lnTo>
                  <a:lnTo>
                    <a:pt x="3044" y="1735"/>
                  </a:lnTo>
                  <a:lnTo>
                    <a:pt x="2929" y="1833"/>
                  </a:lnTo>
                  <a:lnTo>
                    <a:pt x="2898" y="1818"/>
                  </a:lnTo>
                  <a:lnTo>
                    <a:pt x="2889" y="1691"/>
                  </a:lnTo>
                  <a:lnTo>
                    <a:pt x="2826" y="1680"/>
                  </a:lnTo>
                  <a:lnTo>
                    <a:pt x="2799" y="1754"/>
                  </a:lnTo>
                  <a:lnTo>
                    <a:pt x="2775" y="1798"/>
                  </a:lnTo>
                  <a:lnTo>
                    <a:pt x="2743" y="1842"/>
                  </a:lnTo>
                  <a:lnTo>
                    <a:pt x="2558" y="1829"/>
                  </a:lnTo>
                  <a:lnTo>
                    <a:pt x="2523" y="1866"/>
                  </a:lnTo>
                  <a:lnTo>
                    <a:pt x="2502" y="1932"/>
                  </a:lnTo>
                  <a:lnTo>
                    <a:pt x="2399" y="1928"/>
                  </a:lnTo>
                  <a:lnTo>
                    <a:pt x="2361" y="1964"/>
                  </a:lnTo>
                  <a:lnTo>
                    <a:pt x="2261" y="2050"/>
                  </a:lnTo>
                  <a:lnTo>
                    <a:pt x="2194" y="2023"/>
                  </a:lnTo>
                  <a:lnTo>
                    <a:pt x="2217" y="1987"/>
                  </a:lnTo>
                  <a:lnTo>
                    <a:pt x="2273" y="1908"/>
                  </a:lnTo>
                  <a:lnTo>
                    <a:pt x="2230" y="1818"/>
                  </a:lnTo>
                  <a:lnTo>
                    <a:pt x="2182" y="1726"/>
                  </a:lnTo>
                  <a:lnTo>
                    <a:pt x="2107" y="1687"/>
                  </a:lnTo>
                  <a:lnTo>
                    <a:pt x="2044" y="1640"/>
                  </a:lnTo>
                  <a:lnTo>
                    <a:pt x="1965" y="1640"/>
                  </a:lnTo>
                  <a:lnTo>
                    <a:pt x="1838" y="1628"/>
                  </a:lnTo>
                  <a:lnTo>
                    <a:pt x="1755" y="1628"/>
                  </a:lnTo>
                  <a:lnTo>
                    <a:pt x="1759" y="1597"/>
                  </a:lnTo>
                  <a:lnTo>
                    <a:pt x="558" y="1601"/>
                  </a:lnTo>
                  <a:lnTo>
                    <a:pt x="499" y="1525"/>
                  </a:lnTo>
                  <a:lnTo>
                    <a:pt x="440" y="1485"/>
                  </a:lnTo>
                  <a:lnTo>
                    <a:pt x="392" y="1430"/>
                  </a:lnTo>
                  <a:lnTo>
                    <a:pt x="388" y="1363"/>
                  </a:lnTo>
                  <a:lnTo>
                    <a:pt x="384" y="1308"/>
                  </a:lnTo>
                  <a:lnTo>
                    <a:pt x="340" y="1312"/>
                  </a:lnTo>
                  <a:lnTo>
                    <a:pt x="337" y="1268"/>
                  </a:lnTo>
                  <a:lnTo>
                    <a:pt x="309" y="1257"/>
                  </a:lnTo>
                  <a:lnTo>
                    <a:pt x="317" y="1189"/>
                  </a:lnTo>
                  <a:lnTo>
                    <a:pt x="337" y="1154"/>
                  </a:lnTo>
                  <a:lnTo>
                    <a:pt x="368" y="1122"/>
                  </a:lnTo>
                  <a:lnTo>
                    <a:pt x="305" y="1106"/>
                  </a:lnTo>
                  <a:lnTo>
                    <a:pt x="289" y="1031"/>
                  </a:lnTo>
                  <a:lnTo>
                    <a:pt x="265" y="1019"/>
                  </a:lnTo>
                  <a:lnTo>
                    <a:pt x="254" y="964"/>
                  </a:lnTo>
                  <a:lnTo>
                    <a:pt x="186" y="889"/>
                  </a:lnTo>
                  <a:lnTo>
                    <a:pt x="158" y="885"/>
                  </a:lnTo>
                  <a:lnTo>
                    <a:pt x="151" y="916"/>
                  </a:lnTo>
                  <a:lnTo>
                    <a:pt x="123" y="916"/>
                  </a:lnTo>
                  <a:lnTo>
                    <a:pt x="112" y="944"/>
                  </a:lnTo>
                  <a:lnTo>
                    <a:pt x="72" y="916"/>
                  </a:lnTo>
                  <a:lnTo>
                    <a:pt x="61" y="857"/>
                  </a:lnTo>
                  <a:lnTo>
                    <a:pt x="40" y="841"/>
                  </a:lnTo>
                  <a:lnTo>
                    <a:pt x="0" y="857"/>
                  </a:lnTo>
                  <a:lnTo>
                    <a:pt x="202" y="162"/>
                  </a:lnTo>
                  <a:lnTo>
                    <a:pt x="333" y="186"/>
                  </a:lnTo>
                  <a:lnTo>
                    <a:pt x="451" y="241"/>
                  </a:lnTo>
                  <a:lnTo>
                    <a:pt x="499" y="245"/>
                  </a:lnTo>
                  <a:lnTo>
                    <a:pt x="502" y="197"/>
                  </a:lnTo>
                  <a:lnTo>
                    <a:pt x="546" y="165"/>
                  </a:lnTo>
                  <a:lnTo>
                    <a:pt x="657" y="94"/>
                  </a:lnTo>
                  <a:lnTo>
                    <a:pt x="688" y="114"/>
                  </a:lnTo>
                  <a:lnTo>
                    <a:pt x="609" y="165"/>
                  </a:lnTo>
                  <a:lnTo>
                    <a:pt x="692" y="162"/>
                  </a:lnTo>
                  <a:lnTo>
                    <a:pt x="723" y="130"/>
                  </a:lnTo>
                  <a:lnTo>
                    <a:pt x="743" y="94"/>
                  </a:lnTo>
                  <a:lnTo>
                    <a:pt x="771" y="83"/>
                  </a:lnTo>
                  <a:lnTo>
                    <a:pt x="811" y="150"/>
                  </a:lnTo>
                  <a:lnTo>
                    <a:pt x="863" y="158"/>
                  </a:lnTo>
                  <a:lnTo>
                    <a:pt x="885" y="130"/>
                  </a:lnTo>
                  <a:lnTo>
                    <a:pt x="918" y="178"/>
                  </a:lnTo>
                  <a:lnTo>
                    <a:pt x="957" y="145"/>
                  </a:lnTo>
                  <a:lnTo>
                    <a:pt x="1128" y="201"/>
                  </a:lnTo>
                  <a:lnTo>
                    <a:pt x="1233" y="206"/>
                  </a:lnTo>
                  <a:lnTo>
                    <a:pt x="1312" y="245"/>
                  </a:lnTo>
                  <a:lnTo>
                    <a:pt x="1297" y="300"/>
                  </a:lnTo>
                  <a:lnTo>
                    <a:pt x="1404" y="268"/>
                  </a:lnTo>
                  <a:lnTo>
                    <a:pt x="1479" y="344"/>
                  </a:lnTo>
                  <a:lnTo>
                    <a:pt x="1534" y="340"/>
                  </a:lnTo>
                  <a:lnTo>
                    <a:pt x="1526" y="300"/>
                  </a:lnTo>
                  <a:lnTo>
                    <a:pt x="1590" y="237"/>
                  </a:lnTo>
                  <a:lnTo>
                    <a:pt x="1656" y="288"/>
                  </a:lnTo>
                  <a:lnTo>
                    <a:pt x="1858" y="300"/>
                  </a:lnTo>
                  <a:lnTo>
                    <a:pt x="1894" y="257"/>
                  </a:lnTo>
                  <a:lnTo>
                    <a:pt x="1953" y="248"/>
                  </a:lnTo>
                  <a:lnTo>
                    <a:pt x="1985" y="296"/>
                  </a:lnTo>
                  <a:lnTo>
                    <a:pt x="2032" y="268"/>
                  </a:lnTo>
                  <a:lnTo>
                    <a:pt x="2076" y="237"/>
                  </a:lnTo>
                  <a:lnTo>
                    <a:pt x="2052" y="145"/>
                  </a:lnTo>
                  <a:lnTo>
                    <a:pt x="1996" y="106"/>
                  </a:lnTo>
                  <a:lnTo>
                    <a:pt x="2040" y="79"/>
                  </a:lnTo>
                  <a:lnTo>
                    <a:pt x="2063" y="39"/>
                  </a:lnTo>
                  <a:lnTo>
                    <a:pt x="2123" y="0"/>
                  </a:lnTo>
                  <a:lnTo>
                    <a:pt x="2186" y="55"/>
                  </a:lnTo>
                  <a:lnTo>
                    <a:pt x="2170" y="106"/>
                  </a:lnTo>
                  <a:lnTo>
                    <a:pt x="2179" y="150"/>
                  </a:lnTo>
                  <a:lnTo>
                    <a:pt x="2217" y="186"/>
                  </a:lnTo>
                  <a:lnTo>
                    <a:pt x="2238" y="248"/>
                  </a:lnTo>
                  <a:lnTo>
                    <a:pt x="2289" y="186"/>
                  </a:lnTo>
                  <a:lnTo>
                    <a:pt x="2317" y="241"/>
                  </a:lnTo>
                  <a:lnTo>
                    <a:pt x="2313" y="331"/>
                  </a:lnTo>
                  <a:lnTo>
                    <a:pt x="2352" y="331"/>
                  </a:lnTo>
                  <a:lnTo>
                    <a:pt x="2368" y="280"/>
                  </a:lnTo>
                  <a:lnTo>
                    <a:pt x="2423" y="224"/>
                  </a:lnTo>
                  <a:lnTo>
                    <a:pt x="2447" y="150"/>
                  </a:lnTo>
                  <a:lnTo>
                    <a:pt x="2545" y="162"/>
                  </a:lnTo>
                  <a:lnTo>
                    <a:pt x="2573" y="233"/>
                  </a:lnTo>
                  <a:lnTo>
                    <a:pt x="2534" y="257"/>
                  </a:lnTo>
                  <a:lnTo>
                    <a:pt x="2554" y="347"/>
                  </a:lnTo>
                  <a:lnTo>
                    <a:pt x="2427" y="414"/>
                  </a:lnTo>
                  <a:lnTo>
                    <a:pt x="2407" y="383"/>
                  </a:lnTo>
                  <a:lnTo>
                    <a:pt x="2340" y="386"/>
                  </a:lnTo>
                  <a:lnTo>
                    <a:pt x="2328" y="442"/>
                  </a:lnTo>
                  <a:lnTo>
                    <a:pt x="2249" y="442"/>
                  </a:lnTo>
                  <a:lnTo>
                    <a:pt x="2226" y="419"/>
                  </a:lnTo>
                  <a:lnTo>
                    <a:pt x="2194" y="423"/>
                  </a:lnTo>
                  <a:lnTo>
                    <a:pt x="2197" y="454"/>
                  </a:lnTo>
                  <a:lnTo>
                    <a:pt x="2273" y="482"/>
                  </a:lnTo>
                  <a:lnTo>
                    <a:pt x="2254" y="553"/>
                  </a:lnTo>
                  <a:lnTo>
                    <a:pt x="2214" y="581"/>
                  </a:lnTo>
                  <a:lnTo>
                    <a:pt x="2151" y="589"/>
                  </a:lnTo>
                  <a:lnTo>
                    <a:pt x="2114" y="644"/>
                  </a:lnTo>
                  <a:lnTo>
                    <a:pt x="2028" y="710"/>
                  </a:lnTo>
                  <a:lnTo>
                    <a:pt x="1956" y="774"/>
                  </a:lnTo>
                  <a:lnTo>
                    <a:pt x="1897" y="865"/>
                  </a:lnTo>
                  <a:lnTo>
                    <a:pt x="1894" y="933"/>
                  </a:lnTo>
                  <a:lnTo>
                    <a:pt x="1949" y="944"/>
                  </a:lnTo>
                  <a:lnTo>
                    <a:pt x="1976" y="1054"/>
                  </a:lnTo>
                  <a:lnTo>
                    <a:pt x="2099" y="1071"/>
                  </a:lnTo>
                  <a:lnTo>
                    <a:pt x="2179" y="1146"/>
                  </a:lnTo>
                  <a:lnTo>
                    <a:pt x="2226" y="1154"/>
                  </a:lnTo>
                  <a:lnTo>
                    <a:pt x="2273" y="1205"/>
                  </a:lnTo>
                  <a:lnTo>
                    <a:pt x="2356" y="1198"/>
                  </a:lnTo>
                  <a:lnTo>
                    <a:pt x="2348" y="1296"/>
                  </a:lnTo>
                  <a:lnTo>
                    <a:pt x="2340" y="1383"/>
                  </a:lnTo>
                  <a:lnTo>
                    <a:pt x="2372" y="1446"/>
                  </a:lnTo>
                  <a:lnTo>
                    <a:pt x="2407" y="1450"/>
                  </a:lnTo>
                  <a:lnTo>
                    <a:pt x="2435" y="1419"/>
                  </a:lnTo>
                  <a:lnTo>
                    <a:pt x="2471" y="1446"/>
                  </a:lnTo>
                  <a:lnTo>
                    <a:pt x="2486" y="1411"/>
                  </a:lnTo>
                  <a:lnTo>
                    <a:pt x="2506" y="1312"/>
                  </a:lnTo>
                  <a:lnTo>
                    <a:pt x="2502" y="1272"/>
                  </a:lnTo>
                  <a:lnTo>
                    <a:pt x="2510" y="1205"/>
                  </a:lnTo>
                  <a:lnTo>
                    <a:pt x="2578" y="1170"/>
                  </a:lnTo>
                  <a:lnTo>
                    <a:pt x="2578" y="1170"/>
                  </a:lnTo>
                  <a:lnTo>
                    <a:pt x="2582" y="1137"/>
                  </a:lnTo>
                  <a:lnTo>
                    <a:pt x="2585" y="1105"/>
                  </a:lnTo>
                  <a:lnTo>
                    <a:pt x="2588" y="1066"/>
                  </a:lnTo>
                  <a:lnTo>
                    <a:pt x="2588" y="1044"/>
                  </a:lnTo>
                  <a:lnTo>
                    <a:pt x="2587" y="1024"/>
                  </a:lnTo>
                  <a:lnTo>
                    <a:pt x="2585" y="1005"/>
                  </a:lnTo>
                  <a:lnTo>
                    <a:pt x="2583" y="988"/>
                  </a:lnTo>
                  <a:lnTo>
                    <a:pt x="2578" y="972"/>
                  </a:lnTo>
                  <a:lnTo>
                    <a:pt x="2571" y="958"/>
                  </a:lnTo>
                  <a:lnTo>
                    <a:pt x="2568" y="953"/>
                  </a:lnTo>
                  <a:lnTo>
                    <a:pt x="2564" y="948"/>
                  </a:lnTo>
                  <a:lnTo>
                    <a:pt x="2559" y="943"/>
                  </a:lnTo>
                  <a:lnTo>
                    <a:pt x="2554" y="940"/>
                  </a:lnTo>
                  <a:lnTo>
                    <a:pt x="2597" y="920"/>
                  </a:lnTo>
                  <a:lnTo>
                    <a:pt x="2613" y="830"/>
                  </a:lnTo>
                  <a:lnTo>
                    <a:pt x="2602" y="798"/>
                  </a:lnTo>
                  <a:lnTo>
                    <a:pt x="2613" y="727"/>
                  </a:lnTo>
                  <a:lnTo>
                    <a:pt x="2661" y="655"/>
                  </a:lnTo>
                  <a:lnTo>
                    <a:pt x="2731" y="695"/>
                  </a:lnTo>
                  <a:lnTo>
                    <a:pt x="2830" y="695"/>
                  </a:lnTo>
                  <a:lnTo>
                    <a:pt x="2870" y="734"/>
                  </a:lnTo>
                  <a:lnTo>
                    <a:pt x="2909" y="778"/>
                  </a:lnTo>
                  <a:lnTo>
                    <a:pt x="2972" y="802"/>
                  </a:lnTo>
                  <a:lnTo>
                    <a:pt x="2944" y="837"/>
                  </a:lnTo>
                  <a:lnTo>
                    <a:pt x="2949" y="960"/>
                  </a:lnTo>
                  <a:lnTo>
                    <a:pt x="3016" y="980"/>
                  </a:lnTo>
                  <a:lnTo>
                    <a:pt x="3087" y="957"/>
                  </a:lnTo>
                  <a:lnTo>
                    <a:pt x="3115" y="916"/>
                  </a:lnTo>
                  <a:lnTo>
                    <a:pt x="3154" y="85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6" name="Freeform 95"/>
            <p:cNvSpPr>
              <a:spLocks noChangeAspect="1"/>
            </p:cNvSpPr>
            <p:nvPr/>
          </p:nvSpPr>
          <p:spPr bwMode="auto">
            <a:xfrm>
              <a:off x="5491674" y="2469329"/>
              <a:ext cx="52747" cy="53249"/>
            </a:xfrm>
            <a:custGeom>
              <a:avLst/>
              <a:gdLst/>
              <a:ahLst/>
              <a:cxnLst>
                <a:cxn ang="0">
                  <a:pos x="28" y="27"/>
                </a:cxn>
                <a:cxn ang="0">
                  <a:pos x="44" y="0"/>
                </a:cxn>
                <a:cxn ang="0">
                  <a:pos x="88" y="0"/>
                </a:cxn>
                <a:cxn ang="0">
                  <a:pos x="88" y="39"/>
                </a:cxn>
                <a:cxn ang="0">
                  <a:pos x="37" y="90"/>
                </a:cxn>
                <a:cxn ang="0">
                  <a:pos x="0" y="55"/>
                </a:cxn>
                <a:cxn ang="0">
                  <a:pos x="28" y="27"/>
                </a:cxn>
              </a:cxnLst>
              <a:rect l="0" t="0" r="r" b="b"/>
              <a:pathLst>
                <a:path w="88" h="90">
                  <a:moveTo>
                    <a:pt x="28" y="27"/>
                  </a:moveTo>
                  <a:lnTo>
                    <a:pt x="44" y="0"/>
                  </a:lnTo>
                  <a:lnTo>
                    <a:pt x="88" y="0"/>
                  </a:lnTo>
                  <a:lnTo>
                    <a:pt x="88" y="39"/>
                  </a:lnTo>
                  <a:lnTo>
                    <a:pt x="37" y="90"/>
                  </a:lnTo>
                  <a:lnTo>
                    <a:pt x="0" y="55"/>
                  </a:lnTo>
                  <a:lnTo>
                    <a:pt x="28" y="2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7" name="Freeform 96"/>
            <p:cNvSpPr>
              <a:spLocks noChangeAspect="1"/>
            </p:cNvSpPr>
            <p:nvPr/>
          </p:nvSpPr>
          <p:spPr bwMode="auto">
            <a:xfrm>
              <a:off x="7794961" y="2724924"/>
              <a:ext cx="147692" cy="156197"/>
            </a:xfrm>
            <a:custGeom>
              <a:avLst/>
              <a:gdLst/>
              <a:ahLst/>
              <a:cxnLst>
                <a:cxn ang="0">
                  <a:pos x="138" y="0"/>
                </a:cxn>
                <a:cxn ang="0">
                  <a:pos x="107" y="12"/>
                </a:cxn>
                <a:cxn ang="0">
                  <a:pos x="86" y="43"/>
                </a:cxn>
                <a:cxn ang="0">
                  <a:pos x="59" y="79"/>
                </a:cxn>
                <a:cxn ang="0">
                  <a:pos x="20" y="98"/>
                </a:cxn>
                <a:cxn ang="0">
                  <a:pos x="0" y="142"/>
                </a:cxn>
                <a:cxn ang="0">
                  <a:pos x="0" y="205"/>
                </a:cxn>
                <a:cxn ang="0">
                  <a:pos x="51" y="214"/>
                </a:cxn>
                <a:cxn ang="0">
                  <a:pos x="94" y="194"/>
                </a:cxn>
                <a:cxn ang="0">
                  <a:pos x="130" y="194"/>
                </a:cxn>
                <a:cxn ang="0">
                  <a:pos x="138" y="253"/>
                </a:cxn>
                <a:cxn ang="0">
                  <a:pos x="169" y="265"/>
                </a:cxn>
                <a:cxn ang="0">
                  <a:pos x="169" y="221"/>
                </a:cxn>
                <a:cxn ang="0">
                  <a:pos x="197" y="229"/>
                </a:cxn>
                <a:cxn ang="0">
                  <a:pos x="209" y="265"/>
                </a:cxn>
                <a:cxn ang="0">
                  <a:pos x="233" y="209"/>
                </a:cxn>
                <a:cxn ang="0">
                  <a:pos x="252" y="162"/>
                </a:cxn>
                <a:cxn ang="0">
                  <a:pos x="241" y="94"/>
                </a:cxn>
                <a:cxn ang="0">
                  <a:pos x="209" y="83"/>
                </a:cxn>
                <a:cxn ang="0">
                  <a:pos x="169" y="83"/>
                </a:cxn>
                <a:cxn ang="0">
                  <a:pos x="154" y="43"/>
                </a:cxn>
                <a:cxn ang="0">
                  <a:pos x="158" y="15"/>
                </a:cxn>
                <a:cxn ang="0">
                  <a:pos x="127" y="0"/>
                </a:cxn>
                <a:cxn ang="0">
                  <a:pos x="138" y="0"/>
                </a:cxn>
              </a:cxnLst>
              <a:rect l="0" t="0" r="r" b="b"/>
              <a:pathLst>
                <a:path w="252" h="265">
                  <a:moveTo>
                    <a:pt x="138" y="0"/>
                  </a:moveTo>
                  <a:lnTo>
                    <a:pt x="107" y="12"/>
                  </a:lnTo>
                  <a:lnTo>
                    <a:pt x="86" y="43"/>
                  </a:lnTo>
                  <a:lnTo>
                    <a:pt x="59" y="79"/>
                  </a:lnTo>
                  <a:lnTo>
                    <a:pt x="20" y="98"/>
                  </a:lnTo>
                  <a:lnTo>
                    <a:pt x="0" y="142"/>
                  </a:lnTo>
                  <a:lnTo>
                    <a:pt x="0" y="205"/>
                  </a:lnTo>
                  <a:lnTo>
                    <a:pt x="51" y="214"/>
                  </a:lnTo>
                  <a:lnTo>
                    <a:pt x="94" y="194"/>
                  </a:lnTo>
                  <a:lnTo>
                    <a:pt x="130" y="194"/>
                  </a:lnTo>
                  <a:lnTo>
                    <a:pt x="138" y="253"/>
                  </a:lnTo>
                  <a:lnTo>
                    <a:pt x="169" y="265"/>
                  </a:lnTo>
                  <a:lnTo>
                    <a:pt x="169" y="221"/>
                  </a:lnTo>
                  <a:lnTo>
                    <a:pt x="197" y="229"/>
                  </a:lnTo>
                  <a:lnTo>
                    <a:pt x="209" y="265"/>
                  </a:lnTo>
                  <a:lnTo>
                    <a:pt x="233" y="209"/>
                  </a:lnTo>
                  <a:lnTo>
                    <a:pt x="252" y="162"/>
                  </a:lnTo>
                  <a:lnTo>
                    <a:pt x="241" y="94"/>
                  </a:lnTo>
                  <a:lnTo>
                    <a:pt x="209" y="83"/>
                  </a:lnTo>
                  <a:lnTo>
                    <a:pt x="169" y="83"/>
                  </a:lnTo>
                  <a:lnTo>
                    <a:pt x="154" y="43"/>
                  </a:lnTo>
                  <a:lnTo>
                    <a:pt x="158" y="15"/>
                  </a:lnTo>
                  <a:lnTo>
                    <a:pt x="127" y="0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8" name="Freeform 97"/>
            <p:cNvSpPr>
              <a:spLocks noChangeAspect="1"/>
            </p:cNvSpPr>
            <p:nvPr/>
          </p:nvSpPr>
          <p:spPr bwMode="auto">
            <a:xfrm>
              <a:off x="7794961" y="2724924"/>
              <a:ext cx="147692" cy="156197"/>
            </a:xfrm>
            <a:custGeom>
              <a:avLst/>
              <a:gdLst/>
              <a:ahLst/>
              <a:cxnLst>
                <a:cxn ang="0">
                  <a:pos x="138" y="0"/>
                </a:cxn>
                <a:cxn ang="0">
                  <a:pos x="107" y="12"/>
                </a:cxn>
                <a:cxn ang="0">
                  <a:pos x="86" y="43"/>
                </a:cxn>
                <a:cxn ang="0">
                  <a:pos x="59" y="79"/>
                </a:cxn>
                <a:cxn ang="0">
                  <a:pos x="20" y="98"/>
                </a:cxn>
                <a:cxn ang="0">
                  <a:pos x="0" y="142"/>
                </a:cxn>
                <a:cxn ang="0">
                  <a:pos x="0" y="205"/>
                </a:cxn>
                <a:cxn ang="0">
                  <a:pos x="51" y="214"/>
                </a:cxn>
                <a:cxn ang="0">
                  <a:pos x="94" y="194"/>
                </a:cxn>
                <a:cxn ang="0">
                  <a:pos x="130" y="194"/>
                </a:cxn>
                <a:cxn ang="0">
                  <a:pos x="138" y="253"/>
                </a:cxn>
                <a:cxn ang="0">
                  <a:pos x="169" y="265"/>
                </a:cxn>
                <a:cxn ang="0">
                  <a:pos x="169" y="221"/>
                </a:cxn>
                <a:cxn ang="0">
                  <a:pos x="197" y="229"/>
                </a:cxn>
                <a:cxn ang="0">
                  <a:pos x="209" y="265"/>
                </a:cxn>
                <a:cxn ang="0">
                  <a:pos x="233" y="209"/>
                </a:cxn>
                <a:cxn ang="0">
                  <a:pos x="252" y="162"/>
                </a:cxn>
                <a:cxn ang="0">
                  <a:pos x="241" y="94"/>
                </a:cxn>
                <a:cxn ang="0">
                  <a:pos x="209" y="83"/>
                </a:cxn>
                <a:cxn ang="0">
                  <a:pos x="169" y="83"/>
                </a:cxn>
                <a:cxn ang="0">
                  <a:pos x="154" y="43"/>
                </a:cxn>
                <a:cxn ang="0">
                  <a:pos x="158" y="15"/>
                </a:cxn>
                <a:cxn ang="0">
                  <a:pos x="127" y="0"/>
                </a:cxn>
              </a:cxnLst>
              <a:rect l="0" t="0" r="r" b="b"/>
              <a:pathLst>
                <a:path w="252" h="265">
                  <a:moveTo>
                    <a:pt x="138" y="0"/>
                  </a:moveTo>
                  <a:lnTo>
                    <a:pt x="107" y="12"/>
                  </a:lnTo>
                  <a:lnTo>
                    <a:pt x="86" y="43"/>
                  </a:lnTo>
                  <a:lnTo>
                    <a:pt x="59" y="79"/>
                  </a:lnTo>
                  <a:lnTo>
                    <a:pt x="20" y="98"/>
                  </a:lnTo>
                  <a:lnTo>
                    <a:pt x="0" y="142"/>
                  </a:lnTo>
                  <a:lnTo>
                    <a:pt x="0" y="205"/>
                  </a:lnTo>
                  <a:lnTo>
                    <a:pt x="51" y="214"/>
                  </a:lnTo>
                  <a:lnTo>
                    <a:pt x="94" y="194"/>
                  </a:lnTo>
                  <a:lnTo>
                    <a:pt x="130" y="194"/>
                  </a:lnTo>
                  <a:lnTo>
                    <a:pt x="138" y="253"/>
                  </a:lnTo>
                  <a:lnTo>
                    <a:pt x="169" y="265"/>
                  </a:lnTo>
                  <a:lnTo>
                    <a:pt x="169" y="221"/>
                  </a:lnTo>
                  <a:lnTo>
                    <a:pt x="197" y="229"/>
                  </a:lnTo>
                  <a:lnTo>
                    <a:pt x="209" y="265"/>
                  </a:lnTo>
                  <a:lnTo>
                    <a:pt x="233" y="209"/>
                  </a:lnTo>
                  <a:lnTo>
                    <a:pt x="252" y="162"/>
                  </a:lnTo>
                  <a:lnTo>
                    <a:pt x="241" y="94"/>
                  </a:lnTo>
                  <a:lnTo>
                    <a:pt x="209" y="83"/>
                  </a:lnTo>
                  <a:lnTo>
                    <a:pt x="169" y="83"/>
                  </a:lnTo>
                  <a:lnTo>
                    <a:pt x="154" y="43"/>
                  </a:lnTo>
                  <a:lnTo>
                    <a:pt x="158" y="15"/>
                  </a:lnTo>
                  <a:lnTo>
                    <a:pt x="127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69" name="Freeform 98"/>
            <p:cNvSpPr>
              <a:spLocks noChangeAspect="1"/>
            </p:cNvSpPr>
            <p:nvPr/>
          </p:nvSpPr>
          <p:spPr bwMode="auto">
            <a:xfrm>
              <a:off x="7928588" y="2843847"/>
              <a:ext cx="24615" cy="42599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37" y="32"/>
                </a:cxn>
                <a:cxn ang="0">
                  <a:pos x="33" y="64"/>
                </a:cxn>
                <a:cxn ang="0">
                  <a:pos x="0" y="72"/>
                </a:cxn>
                <a:cxn ang="0">
                  <a:pos x="41" y="0"/>
                </a:cxn>
              </a:cxnLst>
              <a:rect l="0" t="0" r="r" b="b"/>
              <a:pathLst>
                <a:path w="41" h="72">
                  <a:moveTo>
                    <a:pt x="41" y="0"/>
                  </a:moveTo>
                  <a:lnTo>
                    <a:pt x="37" y="32"/>
                  </a:lnTo>
                  <a:lnTo>
                    <a:pt x="33" y="64"/>
                  </a:lnTo>
                  <a:lnTo>
                    <a:pt x="0" y="72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0" name="Freeform 99"/>
            <p:cNvSpPr>
              <a:spLocks noChangeAspect="1"/>
            </p:cNvSpPr>
            <p:nvPr/>
          </p:nvSpPr>
          <p:spPr bwMode="auto">
            <a:xfrm>
              <a:off x="6390131" y="1691894"/>
              <a:ext cx="258460" cy="182821"/>
            </a:xfrm>
            <a:custGeom>
              <a:avLst/>
              <a:gdLst/>
              <a:ahLst/>
              <a:cxnLst>
                <a:cxn ang="0">
                  <a:pos x="142" y="16"/>
                </a:cxn>
                <a:cxn ang="0">
                  <a:pos x="86" y="103"/>
                </a:cxn>
                <a:cxn ang="0">
                  <a:pos x="55" y="158"/>
                </a:cxn>
                <a:cxn ang="0">
                  <a:pos x="0" y="221"/>
                </a:cxn>
                <a:cxn ang="0">
                  <a:pos x="39" y="269"/>
                </a:cxn>
                <a:cxn ang="0">
                  <a:pos x="103" y="309"/>
                </a:cxn>
                <a:cxn ang="0">
                  <a:pos x="221" y="245"/>
                </a:cxn>
                <a:cxn ang="0">
                  <a:pos x="284" y="206"/>
                </a:cxn>
                <a:cxn ang="0">
                  <a:pos x="379" y="182"/>
                </a:cxn>
                <a:cxn ang="0">
                  <a:pos x="442" y="134"/>
                </a:cxn>
                <a:cxn ang="0">
                  <a:pos x="363" y="64"/>
                </a:cxn>
                <a:cxn ang="0">
                  <a:pos x="260" y="40"/>
                </a:cxn>
                <a:cxn ang="0">
                  <a:pos x="221" y="0"/>
                </a:cxn>
                <a:cxn ang="0">
                  <a:pos x="173" y="48"/>
                </a:cxn>
                <a:cxn ang="0">
                  <a:pos x="142" y="16"/>
                </a:cxn>
              </a:cxnLst>
              <a:rect l="0" t="0" r="r" b="b"/>
              <a:pathLst>
                <a:path w="442" h="309">
                  <a:moveTo>
                    <a:pt x="142" y="16"/>
                  </a:moveTo>
                  <a:lnTo>
                    <a:pt x="86" y="103"/>
                  </a:lnTo>
                  <a:lnTo>
                    <a:pt x="55" y="158"/>
                  </a:lnTo>
                  <a:lnTo>
                    <a:pt x="0" y="221"/>
                  </a:lnTo>
                  <a:lnTo>
                    <a:pt x="39" y="269"/>
                  </a:lnTo>
                  <a:lnTo>
                    <a:pt x="103" y="309"/>
                  </a:lnTo>
                  <a:lnTo>
                    <a:pt x="221" y="245"/>
                  </a:lnTo>
                  <a:lnTo>
                    <a:pt x="284" y="206"/>
                  </a:lnTo>
                  <a:lnTo>
                    <a:pt x="379" y="182"/>
                  </a:lnTo>
                  <a:lnTo>
                    <a:pt x="442" y="134"/>
                  </a:lnTo>
                  <a:lnTo>
                    <a:pt x="363" y="64"/>
                  </a:lnTo>
                  <a:lnTo>
                    <a:pt x="260" y="40"/>
                  </a:lnTo>
                  <a:lnTo>
                    <a:pt x="221" y="0"/>
                  </a:lnTo>
                  <a:lnTo>
                    <a:pt x="173" y="48"/>
                  </a:lnTo>
                  <a:lnTo>
                    <a:pt x="142" y="1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1" name="Freeform 100"/>
            <p:cNvSpPr>
              <a:spLocks noChangeAspect="1"/>
            </p:cNvSpPr>
            <p:nvPr/>
          </p:nvSpPr>
          <p:spPr bwMode="auto">
            <a:xfrm>
              <a:off x="6555406" y="1771768"/>
              <a:ext cx="376262" cy="200571"/>
            </a:xfrm>
            <a:custGeom>
              <a:avLst/>
              <a:gdLst/>
              <a:ahLst/>
              <a:cxnLst>
                <a:cxn ang="0">
                  <a:pos x="198" y="32"/>
                </a:cxn>
                <a:cxn ang="0">
                  <a:pos x="110" y="79"/>
                </a:cxn>
                <a:cxn ang="0">
                  <a:pos x="110" y="120"/>
                </a:cxn>
                <a:cxn ang="0">
                  <a:pos x="8" y="127"/>
                </a:cxn>
                <a:cxn ang="0">
                  <a:pos x="0" y="166"/>
                </a:cxn>
                <a:cxn ang="0">
                  <a:pos x="167" y="199"/>
                </a:cxn>
                <a:cxn ang="0">
                  <a:pos x="40" y="230"/>
                </a:cxn>
                <a:cxn ang="0">
                  <a:pos x="16" y="254"/>
                </a:cxn>
                <a:cxn ang="0">
                  <a:pos x="103" y="300"/>
                </a:cxn>
                <a:cxn ang="0">
                  <a:pos x="182" y="341"/>
                </a:cxn>
                <a:cxn ang="0">
                  <a:pos x="292" y="341"/>
                </a:cxn>
                <a:cxn ang="0">
                  <a:pos x="482" y="333"/>
                </a:cxn>
                <a:cxn ang="0">
                  <a:pos x="601" y="309"/>
                </a:cxn>
                <a:cxn ang="0">
                  <a:pos x="570" y="230"/>
                </a:cxn>
                <a:cxn ang="0">
                  <a:pos x="640" y="214"/>
                </a:cxn>
                <a:cxn ang="0">
                  <a:pos x="561" y="166"/>
                </a:cxn>
                <a:cxn ang="0">
                  <a:pos x="513" y="72"/>
                </a:cxn>
                <a:cxn ang="0">
                  <a:pos x="537" y="17"/>
                </a:cxn>
                <a:cxn ang="0">
                  <a:pos x="443" y="0"/>
                </a:cxn>
                <a:cxn ang="0">
                  <a:pos x="419" y="103"/>
                </a:cxn>
                <a:cxn ang="0">
                  <a:pos x="371" y="48"/>
                </a:cxn>
                <a:cxn ang="0">
                  <a:pos x="332" y="17"/>
                </a:cxn>
                <a:cxn ang="0">
                  <a:pos x="301" y="72"/>
                </a:cxn>
                <a:cxn ang="0">
                  <a:pos x="268" y="8"/>
                </a:cxn>
                <a:cxn ang="0">
                  <a:pos x="198" y="32"/>
                </a:cxn>
              </a:cxnLst>
              <a:rect l="0" t="0" r="r" b="b"/>
              <a:pathLst>
                <a:path w="640" h="341">
                  <a:moveTo>
                    <a:pt x="198" y="32"/>
                  </a:moveTo>
                  <a:lnTo>
                    <a:pt x="110" y="79"/>
                  </a:lnTo>
                  <a:lnTo>
                    <a:pt x="110" y="120"/>
                  </a:lnTo>
                  <a:lnTo>
                    <a:pt x="8" y="127"/>
                  </a:lnTo>
                  <a:lnTo>
                    <a:pt x="0" y="166"/>
                  </a:lnTo>
                  <a:lnTo>
                    <a:pt x="167" y="199"/>
                  </a:lnTo>
                  <a:lnTo>
                    <a:pt x="40" y="230"/>
                  </a:lnTo>
                  <a:lnTo>
                    <a:pt x="16" y="254"/>
                  </a:lnTo>
                  <a:lnTo>
                    <a:pt x="103" y="300"/>
                  </a:lnTo>
                  <a:lnTo>
                    <a:pt x="182" y="341"/>
                  </a:lnTo>
                  <a:lnTo>
                    <a:pt x="292" y="341"/>
                  </a:lnTo>
                  <a:lnTo>
                    <a:pt x="482" y="333"/>
                  </a:lnTo>
                  <a:lnTo>
                    <a:pt x="601" y="309"/>
                  </a:lnTo>
                  <a:lnTo>
                    <a:pt x="570" y="230"/>
                  </a:lnTo>
                  <a:lnTo>
                    <a:pt x="640" y="214"/>
                  </a:lnTo>
                  <a:lnTo>
                    <a:pt x="561" y="166"/>
                  </a:lnTo>
                  <a:lnTo>
                    <a:pt x="513" y="72"/>
                  </a:lnTo>
                  <a:lnTo>
                    <a:pt x="537" y="17"/>
                  </a:lnTo>
                  <a:lnTo>
                    <a:pt x="443" y="0"/>
                  </a:lnTo>
                  <a:lnTo>
                    <a:pt x="419" y="103"/>
                  </a:lnTo>
                  <a:lnTo>
                    <a:pt x="371" y="48"/>
                  </a:lnTo>
                  <a:lnTo>
                    <a:pt x="332" y="17"/>
                  </a:lnTo>
                  <a:lnTo>
                    <a:pt x="301" y="72"/>
                  </a:lnTo>
                  <a:lnTo>
                    <a:pt x="268" y="8"/>
                  </a:lnTo>
                  <a:lnTo>
                    <a:pt x="198" y="3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2" name="Freeform 101"/>
            <p:cNvSpPr>
              <a:spLocks noChangeAspect="1"/>
            </p:cNvSpPr>
            <p:nvPr/>
          </p:nvSpPr>
          <p:spPr bwMode="auto">
            <a:xfrm>
              <a:off x="6854306" y="1734494"/>
              <a:ext cx="52747" cy="26624"/>
            </a:xfrm>
            <a:custGeom>
              <a:avLst/>
              <a:gdLst/>
              <a:ahLst/>
              <a:cxnLst>
                <a:cxn ang="0">
                  <a:pos x="45" y="45"/>
                </a:cxn>
                <a:cxn ang="0">
                  <a:pos x="45" y="45"/>
                </a:cxn>
                <a:cxn ang="0">
                  <a:pos x="54" y="44"/>
                </a:cxn>
                <a:cxn ang="0">
                  <a:pos x="63" y="42"/>
                </a:cxn>
                <a:cxn ang="0">
                  <a:pos x="70" y="40"/>
                </a:cxn>
                <a:cxn ang="0">
                  <a:pos x="77" y="37"/>
                </a:cxn>
                <a:cxn ang="0">
                  <a:pos x="82" y="35"/>
                </a:cxn>
                <a:cxn ang="0">
                  <a:pos x="87" y="31"/>
                </a:cxn>
                <a:cxn ang="0">
                  <a:pos x="89" y="26"/>
                </a:cxn>
                <a:cxn ang="0">
                  <a:pos x="90" y="22"/>
                </a:cxn>
                <a:cxn ang="0">
                  <a:pos x="90" y="22"/>
                </a:cxn>
                <a:cxn ang="0">
                  <a:pos x="89" y="17"/>
                </a:cxn>
                <a:cxn ang="0">
                  <a:pos x="87" y="14"/>
                </a:cxn>
                <a:cxn ang="0">
                  <a:pos x="82" y="10"/>
                </a:cxn>
                <a:cxn ang="0">
                  <a:pos x="77" y="6"/>
                </a:cxn>
                <a:cxn ang="0">
                  <a:pos x="70" y="4"/>
                </a:cxn>
                <a:cxn ang="0">
                  <a:pos x="63" y="1"/>
                </a:cxn>
                <a:cxn ang="0">
                  <a:pos x="54" y="0"/>
                </a:cxn>
                <a:cxn ang="0">
                  <a:pos x="45" y="0"/>
                </a:cxn>
                <a:cxn ang="0">
                  <a:pos x="45" y="0"/>
                </a:cxn>
                <a:cxn ang="0">
                  <a:pos x="36" y="0"/>
                </a:cxn>
                <a:cxn ang="0">
                  <a:pos x="28" y="1"/>
                </a:cxn>
                <a:cxn ang="0">
                  <a:pos x="20" y="4"/>
                </a:cxn>
                <a:cxn ang="0">
                  <a:pos x="14" y="6"/>
                </a:cxn>
                <a:cxn ang="0">
                  <a:pos x="8" y="10"/>
                </a:cxn>
                <a:cxn ang="0">
                  <a:pos x="4" y="14"/>
                </a:cxn>
                <a:cxn ang="0">
                  <a:pos x="1" y="17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1" y="26"/>
                </a:cxn>
                <a:cxn ang="0">
                  <a:pos x="4" y="31"/>
                </a:cxn>
                <a:cxn ang="0">
                  <a:pos x="8" y="35"/>
                </a:cxn>
                <a:cxn ang="0">
                  <a:pos x="14" y="37"/>
                </a:cxn>
                <a:cxn ang="0">
                  <a:pos x="20" y="40"/>
                </a:cxn>
                <a:cxn ang="0">
                  <a:pos x="28" y="42"/>
                </a:cxn>
                <a:cxn ang="0">
                  <a:pos x="36" y="44"/>
                </a:cxn>
                <a:cxn ang="0">
                  <a:pos x="45" y="45"/>
                </a:cxn>
                <a:cxn ang="0">
                  <a:pos x="45" y="45"/>
                </a:cxn>
              </a:cxnLst>
              <a:rect l="0" t="0" r="r" b="b"/>
              <a:pathLst>
                <a:path w="90" h="45">
                  <a:moveTo>
                    <a:pt x="45" y="45"/>
                  </a:moveTo>
                  <a:lnTo>
                    <a:pt x="45" y="45"/>
                  </a:lnTo>
                  <a:lnTo>
                    <a:pt x="54" y="44"/>
                  </a:lnTo>
                  <a:lnTo>
                    <a:pt x="63" y="42"/>
                  </a:lnTo>
                  <a:lnTo>
                    <a:pt x="70" y="40"/>
                  </a:lnTo>
                  <a:lnTo>
                    <a:pt x="77" y="37"/>
                  </a:lnTo>
                  <a:lnTo>
                    <a:pt x="82" y="35"/>
                  </a:lnTo>
                  <a:lnTo>
                    <a:pt x="87" y="31"/>
                  </a:lnTo>
                  <a:lnTo>
                    <a:pt x="89" y="26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89" y="17"/>
                  </a:lnTo>
                  <a:lnTo>
                    <a:pt x="87" y="14"/>
                  </a:lnTo>
                  <a:lnTo>
                    <a:pt x="82" y="10"/>
                  </a:lnTo>
                  <a:lnTo>
                    <a:pt x="77" y="6"/>
                  </a:lnTo>
                  <a:lnTo>
                    <a:pt x="70" y="4"/>
                  </a:lnTo>
                  <a:lnTo>
                    <a:pt x="63" y="1"/>
                  </a:lnTo>
                  <a:lnTo>
                    <a:pt x="5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36" y="0"/>
                  </a:lnTo>
                  <a:lnTo>
                    <a:pt x="28" y="1"/>
                  </a:lnTo>
                  <a:lnTo>
                    <a:pt x="20" y="4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4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1" y="26"/>
                  </a:lnTo>
                  <a:lnTo>
                    <a:pt x="4" y="31"/>
                  </a:lnTo>
                  <a:lnTo>
                    <a:pt x="8" y="35"/>
                  </a:lnTo>
                  <a:lnTo>
                    <a:pt x="14" y="37"/>
                  </a:lnTo>
                  <a:lnTo>
                    <a:pt x="20" y="40"/>
                  </a:lnTo>
                  <a:lnTo>
                    <a:pt x="28" y="42"/>
                  </a:lnTo>
                  <a:lnTo>
                    <a:pt x="36" y="44"/>
                  </a:lnTo>
                  <a:lnTo>
                    <a:pt x="45" y="45"/>
                  </a:lnTo>
                  <a:lnTo>
                    <a:pt x="45" y="4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3" name="Freeform 102"/>
            <p:cNvSpPr>
              <a:spLocks noChangeAspect="1"/>
            </p:cNvSpPr>
            <p:nvPr/>
          </p:nvSpPr>
          <p:spPr bwMode="auto">
            <a:xfrm>
              <a:off x="6529032" y="1551673"/>
              <a:ext cx="156483" cy="99398"/>
            </a:xfrm>
            <a:custGeom>
              <a:avLst/>
              <a:gdLst/>
              <a:ahLst/>
              <a:cxnLst>
                <a:cxn ang="0">
                  <a:pos x="269" y="0"/>
                </a:cxn>
                <a:cxn ang="0">
                  <a:pos x="197" y="23"/>
                </a:cxn>
                <a:cxn ang="0">
                  <a:pos x="94" y="71"/>
                </a:cxn>
                <a:cxn ang="0">
                  <a:pos x="8" y="95"/>
                </a:cxn>
                <a:cxn ang="0">
                  <a:pos x="0" y="150"/>
                </a:cxn>
                <a:cxn ang="0">
                  <a:pos x="118" y="167"/>
                </a:cxn>
                <a:cxn ang="0">
                  <a:pos x="197" y="87"/>
                </a:cxn>
                <a:cxn ang="0">
                  <a:pos x="269" y="87"/>
                </a:cxn>
                <a:cxn ang="0">
                  <a:pos x="269" y="0"/>
                </a:cxn>
              </a:cxnLst>
              <a:rect l="0" t="0" r="r" b="b"/>
              <a:pathLst>
                <a:path w="269" h="167">
                  <a:moveTo>
                    <a:pt x="269" y="0"/>
                  </a:moveTo>
                  <a:lnTo>
                    <a:pt x="197" y="23"/>
                  </a:lnTo>
                  <a:lnTo>
                    <a:pt x="94" y="71"/>
                  </a:lnTo>
                  <a:lnTo>
                    <a:pt x="8" y="95"/>
                  </a:lnTo>
                  <a:lnTo>
                    <a:pt x="0" y="150"/>
                  </a:lnTo>
                  <a:lnTo>
                    <a:pt x="118" y="167"/>
                  </a:lnTo>
                  <a:lnTo>
                    <a:pt x="197" y="87"/>
                  </a:lnTo>
                  <a:lnTo>
                    <a:pt x="269" y="87"/>
                  </a:lnTo>
                  <a:lnTo>
                    <a:pt x="269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4" name="Freeform 103"/>
            <p:cNvSpPr>
              <a:spLocks noChangeAspect="1"/>
            </p:cNvSpPr>
            <p:nvPr/>
          </p:nvSpPr>
          <p:spPr bwMode="auto">
            <a:xfrm>
              <a:off x="6625735" y="1642195"/>
              <a:ext cx="26373" cy="47924"/>
            </a:xfrm>
            <a:custGeom>
              <a:avLst/>
              <a:gdLst/>
              <a:ahLst/>
              <a:cxnLst>
                <a:cxn ang="0">
                  <a:pos x="23" y="79"/>
                </a:cxn>
                <a:cxn ang="0">
                  <a:pos x="23" y="79"/>
                </a:cxn>
                <a:cxn ang="0">
                  <a:pos x="18" y="78"/>
                </a:cxn>
                <a:cxn ang="0">
                  <a:pos x="14" y="75"/>
                </a:cxn>
                <a:cxn ang="0">
                  <a:pos x="10" y="72"/>
                </a:cxn>
                <a:cxn ang="0">
                  <a:pos x="6" y="68"/>
                </a:cxn>
                <a:cxn ang="0">
                  <a:pos x="4" y="62"/>
                </a:cxn>
                <a:cxn ang="0">
                  <a:pos x="1" y="55"/>
                </a:cxn>
                <a:cxn ang="0">
                  <a:pos x="0" y="48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31"/>
                </a:cxn>
                <a:cxn ang="0">
                  <a:pos x="1" y="24"/>
                </a:cxn>
                <a:cxn ang="0">
                  <a:pos x="4" y="18"/>
                </a:cxn>
                <a:cxn ang="0">
                  <a:pos x="6" y="13"/>
                </a:cxn>
                <a:cxn ang="0">
                  <a:pos x="10" y="8"/>
                </a:cxn>
                <a:cxn ang="0">
                  <a:pos x="14" y="4"/>
                </a:cxn>
                <a:cxn ang="0">
                  <a:pos x="18" y="1"/>
                </a:cxn>
                <a:cxn ang="0">
                  <a:pos x="23" y="0"/>
                </a:cxn>
                <a:cxn ang="0">
                  <a:pos x="23" y="0"/>
                </a:cxn>
                <a:cxn ang="0">
                  <a:pos x="26" y="1"/>
                </a:cxn>
                <a:cxn ang="0">
                  <a:pos x="32" y="4"/>
                </a:cxn>
                <a:cxn ang="0">
                  <a:pos x="35" y="8"/>
                </a:cxn>
                <a:cxn ang="0">
                  <a:pos x="38" y="13"/>
                </a:cxn>
                <a:cxn ang="0">
                  <a:pos x="40" y="18"/>
                </a:cxn>
                <a:cxn ang="0">
                  <a:pos x="43" y="24"/>
                </a:cxn>
                <a:cxn ang="0">
                  <a:pos x="44" y="31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8"/>
                </a:cxn>
                <a:cxn ang="0">
                  <a:pos x="43" y="55"/>
                </a:cxn>
                <a:cxn ang="0">
                  <a:pos x="40" y="62"/>
                </a:cxn>
                <a:cxn ang="0">
                  <a:pos x="38" y="68"/>
                </a:cxn>
                <a:cxn ang="0">
                  <a:pos x="35" y="72"/>
                </a:cxn>
                <a:cxn ang="0">
                  <a:pos x="32" y="75"/>
                </a:cxn>
                <a:cxn ang="0">
                  <a:pos x="26" y="78"/>
                </a:cxn>
                <a:cxn ang="0">
                  <a:pos x="23" y="79"/>
                </a:cxn>
                <a:cxn ang="0">
                  <a:pos x="23" y="79"/>
                </a:cxn>
              </a:cxnLst>
              <a:rect l="0" t="0" r="r" b="b"/>
              <a:pathLst>
                <a:path w="44" h="79">
                  <a:moveTo>
                    <a:pt x="23" y="79"/>
                  </a:moveTo>
                  <a:lnTo>
                    <a:pt x="23" y="79"/>
                  </a:lnTo>
                  <a:lnTo>
                    <a:pt x="18" y="78"/>
                  </a:lnTo>
                  <a:lnTo>
                    <a:pt x="14" y="75"/>
                  </a:lnTo>
                  <a:lnTo>
                    <a:pt x="10" y="72"/>
                  </a:lnTo>
                  <a:lnTo>
                    <a:pt x="6" y="68"/>
                  </a:lnTo>
                  <a:lnTo>
                    <a:pt x="4" y="62"/>
                  </a:lnTo>
                  <a:lnTo>
                    <a:pt x="1" y="55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1"/>
                  </a:lnTo>
                  <a:lnTo>
                    <a:pt x="1" y="24"/>
                  </a:lnTo>
                  <a:lnTo>
                    <a:pt x="4" y="18"/>
                  </a:lnTo>
                  <a:lnTo>
                    <a:pt x="6" y="13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18" y="1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6" y="1"/>
                  </a:lnTo>
                  <a:lnTo>
                    <a:pt x="32" y="4"/>
                  </a:lnTo>
                  <a:lnTo>
                    <a:pt x="35" y="8"/>
                  </a:lnTo>
                  <a:lnTo>
                    <a:pt x="38" y="13"/>
                  </a:lnTo>
                  <a:lnTo>
                    <a:pt x="40" y="18"/>
                  </a:lnTo>
                  <a:lnTo>
                    <a:pt x="43" y="24"/>
                  </a:lnTo>
                  <a:lnTo>
                    <a:pt x="44" y="31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8"/>
                  </a:lnTo>
                  <a:lnTo>
                    <a:pt x="43" y="55"/>
                  </a:lnTo>
                  <a:lnTo>
                    <a:pt x="40" y="62"/>
                  </a:lnTo>
                  <a:lnTo>
                    <a:pt x="38" y="68"/>
                  </a:lnTo>
                  <a:lnTo>
                    <a:pt x="35" y="72"/>
                  </a:lnTo>
                  <a:lnTo>
                    <a:pt x="32" y="75"/>
                  </a:lnTo>
                  <a:lnTo>
                    <a:pt x="26" y="78"/>
                  </a:lnTo>
                  <a:lnTo>
                    <a:pt x="23" y="79"/>
                  </a:lnTo>
                  <a:lnTo>
                    <a:pt x="23" y="7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5" name="Freeform 104"/>
            <p:cNvSpPr>
              <a:spLocks noChangeAspect="1"/>
            </p:cNvSpPr>
            <p:nvPr/>
          </p:nvSpPr>
          <p:spPr bwMode="auto">
            <a:xfrm>
              <a:off x="6680241" y="1597821"/>
              <a:ext cx="242636" cy="117148"/>
            </a:xfrm>
            <a:custGeom>
              <a:avLst/>
              <a:gdLst/>
              <a:ahLst/>
              <a:cxnLst>
                <a:cxn ang="0">
                  <a:pos x="143" y="64"/>
                </a:cxn>
                <a:cxn ang="0">
                  <a:pos x="103" y="103"/>
                </a:cxn>
                <a:cxn ang="0">
                  <a:pos x="16" y="103"/>
                </a:cxn>
                <a:cxn ang="0">
                  <a:pos x="0" y="174"/>
                </a:cxn>
                <a:cxn ang="0">
                  <a:pos x="95" y="198"/>
                </a:cxn>
                <a:cxn ang="0">
                  <a:pos x="175" y="182"/>
                </a:cxn>
                <a:cxn ang="0">
                  <a:pos x="245" y="158"/>
                </a:cxn>
                <a:cxn ang="0">
                  <a:pos x="333" y="143"/>
                </a:cxn>
                <a:cxn ang="0">
                  <a:pos x="412" y="165"/>
                </a:cxn>
                <a:cxn ang="0">
                  <a:pos x="372" y="79"/>
                </a:cxn>
                <a:cxn ang="0">
                  <a:pos x="285" y="55"/>
                </a:cxn>
                <a:cxn ang="0">
                  <a:pos x="269" y="0"/>
                </a:cxn>
                <a:cxn ang="0">
                  <a:pos x="198" y="8"/>
                </a:cxn>
                <a:cxn ang="0">
                  <a:pos x="190" y="55"/>
                </a:cxn>
                <a:cxn ang="0">
                  <a:pos x="143" y="64"/>
                </a:cxn>
              </a:cxnLst>
              <a:rect l="0" t="0" r="r" b="b"/>
              <a:pathLst>
                <a:path w="412" h="198">
                  <a:moveTo>
                    <a:pt x="143" y="64"/>
                  </a:moveTo>
                  <a:lnTo>
                    <a:pt x="103" y="103"/>
                  </a:lnTo>
                  <a:lnTo>
                    <a:pt x="16" y="103"/>
                  </a:lnTo>
                  <a:lnTo>
                    <a:pt x="0" y="174"/>
                  </a:lnTo>
                  <a:lnTo>
                    <a:pt x="95" y="198"/>
                  </a:lnTo>
                  <a:lnTo>
                    <a:pt x="175" y="182"/>
                  </a:lnTo>
                  <a:lnTo>
                    <a:pt x="245" y="158"/>
                  </a:lnTo>
                  <a:lnTo>
                    <a:pt x="333" y="143"/>
                  </a:lnTo>
                  <a:lnTo>
                    <a:pt x="412" y="165"/>
                  </a:lnTo>
                  <a:lnTo>
                    <a:pt x="372" y="79"/>
                  </a:lnTo>
                  <a:lnTo>
                    <a:pt x="285" y="55"/>
                  </a:lnTo>
                  <a:lnTo>
                    <a:pt x="269" y="0"/>
                  </a:lnTo>
                  <a:lnTo>
                    <a:pt x="198" y="8"/>
                  </a:lnTo>
                  <a:lnTo>
                    <a:pt x="190" y="55"/>
                  </a:lnTo>
                  <a:lnTo>
                    <a:pt x="143" y="6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6" name="Freeform 105"/>
            <p:cNvSpPr>
              <a:spLocks noChangeAspect="1"/>
            </p:cNvSpPr>
            <p:nvPr/>
          </p:nvSpPr>
          <p:spPr bwMode="auto">
            <a:xfrm>
              <a:off x="6759361" y="1532148"/>
              <a:ext cx="73846" cy="56799"/>
            </a:xfrm>
            <a:custGeom>
              <a:avLst/>
              <a:gdLst/>
              <a:ahLst/>
              <a:cxnLst>
                <a:cxn ang="0">
                  <a:pos x="79" y="8"/>
                </a:cxn>
                <a:cxn ang="0">
                  <a:pos x="24" y="8"/>
                </a:cxn>
                <a:cxn ang="0">
                  <a:pos x="0" y="55"/>
                </a:cxn>
                <a:cxn ang="0">
                  <a:pos x="0" y="96"/>
                </a:cxn>
                <a:cxn ang="0">
                  <a:pos x="56" y="64"/>
                </a:cxn>
                <a:cxn ang="0">
                  <a:pos x="120" y="48"/>
                </a:cxn>
                <a:cxn ang="0">
                  <a:pos x="127" y="0"/>
                </a:cxn>
                <a:cxn ang="0">
                  <a:pos x="79" y="8"/>
                </a:cxn>
              </a:cxnLst>
              <a:rect l="0" t="0" r="r" b="b"/>
              <a:pathLst>
                <a:path w="127" h="96">
                  <a:moveTo>
                    <a:pt x="79" y="8"/>
                  </a:moveTo>
                  <a:lnTo>
                    <a:pt x="24" y="8"/>
                  </a:lnTo>
                  <a:lnTo>
                    <a:pt x="0" y="55"/>
                  </a:lnTo>
                  <a:lnTo>
                    <a:pt x="0" y="96"/>
                  </a:lnTo>
                  <a:lnTo>
                    <a:pt x="56" y="64"/>
                  </a:lnTo>
                  <a:lnTo>
                    <a:pt x="120" y="48"/>
                  </a:lnTo>
                  <a:lnTo>
                    <a:pt x="127" y="0"/>
                  </a:lnTo>
                  <a:lnTo>
                    <a:pt x="79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7" name="Freeform 106"/>
            <p:cNvSpPr>
              <a:spLocks noChangeAspect="1"/>
            </p:cNvSpPr>
            <p:nvPr/>
          </p:nvSpPr>
          <p:spPr bwMode="auto">
            <a:xfrm>
              <a:off x="6755844" y="1468249"/>
              <a:ext cx="91428" cy="46149"/>
            </a:xfrm>
            <a:custGeom>
              <a:avLst/>
              <a:gdLst/>
              <a:ahLst/>
              <a:cxnLst>
                <a:cxn ang="0">
                  <a:pos x="39" y="24"/>
                </a:cxn>
                <a:cxn ang="0">
                  <a:pos x="79" y="0"/>
                </a:cxn>
                <a:cxn ang="0">
                  <a:pos x="134" y="7"/>
                </a:cxn>
                <a:cxn ang="0">
                  <a:pos x="158" y="47"/>
                </a:cxn>
                <a:cxn ang="0">
                  <a:pos x="86" y="71"/>
                </a:cxn>
                <a:cxn ang="0">
                  <a:pos x="0" y="79"/>
                </a:cxn>
                <a:cxn ang="0">
                  <a:pos x="39" y="24"/>
                </a:cxn>
              </a:cxnLst>
              <a:rect l="0" t="0" r="r" b="b"/>
              <a:pathLst>
                <a:path w="158" h="79">
                  <a:moveTo>
                    <a:pt x="39" y="24"/>
                  </a:moveTo>
                  <a:lnTo>
                    <a:pt x="79" y="0"/>
                  </a:lnTo>
                  <a:lnTo>
                    <a:pt x="134" y="7"/>
                  </a:lnTo>
                  <a:lnTo>
                    <a:pt x="158" y="47"/>
                  </a:lnTo>
                  <a:lnTo>
                    <a:pt x="86" y="71"/>
                  </a:lnTo>
                  <a:lnTo>
                    <a:pt x="0" y="79"/>
                  </a:lnTo>
                  <a:lnTo>
                    <a:pt x="39" y="2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8" name="Freeform 107"/>
            <p:cNvSpPr>
              <a:spLocks noChangeAspect="1"/>
            </p:cNvSpPr>
            <p:nvPr/>
          </p:nvSpPr>
          <p:spPr bwMode="auto">
            <a:xfrm>
              <a:off x="6935184" y="1468249"/>
              <a:ext cx="124834" cy="83423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96" y="7"/>
                </a:cxn>
                <a:cxn ang="0">
                  <a:pos x="151" y="24"/>
                </a:cxn>
                <a:cxn ang="0">
                  <a:pos x="199" y="79"/>
                </a:cxn>
                <a:cxn ang="0">
                  <a:pos x="214" y="127"/>
                </a:cxn>
                <a:cxn ang="0">
                  <a:pos x="120" y="142"/>
                </a:cxn>
                <a:cxn ang="0">
                  <a:pos x="96" y="95"/>
                </a:cxn>
                <a:cxn ang="0">
                  <a:pos x="41" y="86"/>
                </a:cxn>
                <a:cxn ang="0">
                  <a:pos x="0" y="31"/>
                </a:cxn>
                <a:cxn ang="0">
                  <a:pos x="41" y="0"/>
                </a:cxn>
              </a:cxnLst>
              <a:rect l="0" t="0" r="r" b="b"/>
              <a:pathLst>
                <a:path w="214" h="142">
                  <a:moveTo>
                    <a:pt x="41" y="0"/>
                  </a:moveTo>
                  <a:lnTo>
                    <a:pt x="96" y="7"/>
                  </a:lnTo>
                  <a:lnTo>
                    <a:pt x="151" y="24"/>
                  </a:lnTo>
                  <a:lnTo>
                    <a:pt x="199" y="79"/>
                  </a:lnTo>
                  <a:lnTo>
                    <a:pt x="214" y="127"/>
                  </a:lnTo>
                  <a:lnTo>
                    <a:pt x="120" y="142"/>
                  </a:lnTo>
                  <a:lnTo>
                    <a:pt x="96" y="95"/>
                  </a:lnTo>
                  <a:lnTo>
                    <a:pt x="41" y="86"/>
                  </a:lnTo>
                  <a:lnTo>
                    <a:pt x="0" y="31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79" name="Freeform 108"/>
            <p:cNvSpPr>
              <a:spLocks noChangeAspect="1"/>
            </p:cNvSpPr>
            <p:nvPr/>
          </p:nvSpPr>
          <p:spPr bwMode="auto">
            <a:xfrm>
              <a:off x="6935184" y="1729169"/>
              <a:ext cx="121318" cy="126023"/>
            </a:xfrm>
            <a:custGeom>
              <a:avLst/>
              <a:gdLst/>
              <a:ahLst/>
              <a:cxnLst>
                <a:cxn ang="0">
                  <a:pos x="72" y="15"/>
                </a:cxn>
                <a:cxn ang="0">
                  <a:pos x="88" y="63"/>
                </a:cxn>
                <a:cxn ang="0">
                  <a:pos x="80" y="118"/>
                </a:cxn>
                <a:cxn ang="0">
                  <a:pos x="9" y="78"/>
                </a:cxn>
                <a:cxn ang="0">
                  <a:pos x="0" y="126"/>
                </a:cxn>
                <a:cxn ang="0">
                  <a:pos x="64" y="166"/>
                </a:cxn>
                <a:cxn ang="0">
                  <a:pos x="96" y="205"/>
                </a:cxn>
                <a:cxn ang="0">
                  <a:pos x="167" y="212"/>
                </a:cxn>
                <a:cxn ang="0">
                  <a:pos x="206" y="142"/>
                </a:cxn>
                <a:cxn ang="0">
                  <a:pos x="182" y="87"/>
                </a:cxn>
                <a:cxn ang="0">
                  <a:pos x="191" y="0"/>
                </a:cxn>
                <a:cxn ang="0">
                  <a:pos x="72" y="15"/>
                </a:cxn>
              </a:cxnLst>
              <a:rect l="0" t="0" r="r" b="b"/>
              <a:pathLst>
                <a:path w="206" h="212">
                  <a:moveTo>
                    <a:pt x="72" y="15"/>
                  </a:moveTo>
                  <a:lnTo>
                    <a:pt x="88" y="63"/>
                  </a:lnTo>
                  <a:lnTo>
                    <a:pt x="80" y="118"/>
                  </a:lnTo>
                  <a:lnTo>
                    <a:pt x="9" y="78"/>
                  </a:lnTo>
                  <a:lnTo>
                    <a:pt x="0" y="126"/>
                  </a:lnTo>
                  <a:lnTo>
                    <a:pt x="64" y="166"/>
                  </a:lnTo>
                  <a:lnTo>
                    <a:pt x="96" y="205"/>
                  </a:lnTo>
                  <a:lnTo>
                    <a:pt x="167" y="212"/>
                  </a:lnTo>
                  <a:lnTo>
                    <a:pt x="206" y="142"/>
                  </a:lnTo>
                  <a:lnTo>
                    <a:pt x="182" y="87"/>
                  </a:lnTo>
                  <a:lnTo>
                    <a:pt x="191" y="0"/>
                  </a:lnTo>
                  <a:lnTo>
                    <a:pt x="72" y="1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0" name="Freeform 109"/>
            <p:cNvSpPr>
              <a:spLocks noChangeAspect="1"/>
            </p:cNvSpPr>
            <p:nvPr/>
          </p:nvSpPr>
          <p:spPr bwMode="auto">
            <a:xfrm>
              <a:off x="6963316" y="1915540"/>
              <a:ext cx="73846" cy="56799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16" y="33"/>
                </a:cxn>
                <a:cxn ang="0">
                  <a:pos x="0" y="88"/>
                </a:cxn>
                <a:cxn ang="0">
                  <a:pos x="79" y="96"/>
                </a:cxn>
                <a:cxn ang="0">
                  <a:pos x="127" y="64"/>
                </a:cxn>
                <a:cxn ang="0">
                  <a:pos x="64" y="0"/>
                </a:cxn>
              </a:cxnLst>
              <a:rect l="0" t="0" r="r" b="b"/>
              <a:pathLst>
                <a:path w="127" h="96">
                  <a:moveTo>
                    <a:pt x="64" y="0"/>
                  </a:moveTo>
                  <a:lnTo>
                    <a:pt x="16" y="33"/>
                  </a:lnTo>
                  <a:lnTo>
                    <a:pt x="0" y="88"/>
                  </a:lnTo>
                  <a:lnTo>
                    <a:pt x="79" y="96"/>
                  </a:lnTo>
                  <a:lnTo>
                    <a:pt x="127" y="6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1" name="Freeform 110"/>
            <p:cNvSpPr>
              <a:spLocks noChangeAspect="1"/>
            </p:cNvSpPr>
            <p:nvPr/>
          </p:nvSpPr>
          <p:spPr bwMode="auto">
            <a:xfrm>
              <a:off x="7093425" y="1723844"/>
              <a:ext cx="124834" cy="99398"/>
            </a:xfrm>
            <a:custGeom>
              <a:avLst/>
              <a:gdLst/>
              <a:ahLst/>
              <a:cxnLst>
                <a:cxn ang="0">
                  <a:pos x="0" y="166"/>
                </a:cxn>
                <a:cxn ang="0">
                  <a:pos x="8" y="96"/>
                </a:cxn>
                <a:cxn ang="0">
                  <a:pos x="32" y="32"/>
                </a:cxn>
                <a:cxn ang="0">
                  <a:pos x="102" y="0"/>
                </a:cxn>
                <a:cxn ang="0">
                  <a:pos x="166" y="9"/>
                </a:cxn>
                <a:cxn ang="0">
                  <a:pos x="214" y="24"/>
                </a:cxn>
                <a:cxn ang="0">
                  <a:pos x="174" y="72"/>
                </a:cxn>
                <a:cxn ang="0">
                  <a:pos x="111" y="119"/>
                </a:cxn>
                <a:cxn ang="0">
                  <a:pos x="63" y="119"/>
                </a:cxn>
                <a:cxn ang="0">
                  <a:pos x="47" y="166"/>
                </a:cxn>
                <a:cxn ang="0">
                  <a:pos x="0" y="166"/>
                </a:cxn>
              </a:cxnLst>
              <a:rect l="0" t="0" r="r" b="b"/>
              <a:pathLst>
                <a:path w="214" h="166">
                  <a:moveTo>
                    <a:pt x="0" y="166"/>
                  </a:moveTo>
                  <a:lnTo>
                    <a:pt x="8" y="96"/>
                  </a:lnTo>
                  <a:lnTo>
                    <a:pt x="32" y="32"/>
                  </a:lnTo>
                  <a:lnTo>
                    <a:pt x="102" y="0"/>
                  </a:lnTo>
                  <a:lnTo>
                    <a:pt x="166" y="9"/>
                  </a:lnTo>
                  <a:lnTo>
                    <a:pt x="214" y="24"/>
                  </a:lnTo>
                  <a:lnTo>
                    <a:pt x="174" y="72"/>
                  </a:lnTo>
                  <a:lnTo>
                    <a:pt x="111" y="119"/>
                  </a:lnTo>
                  <a:lnTo>
                    <a:pt x="63" y="119"/>
                  </a:lnTo>
                  <a:lnTo>
                    <a:pt x="47" y="166"/>
                  </a:lnTo>
                  <a:lnTo>
                    <a:pt x="0" y="16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2" name="Freeform 111"/>
            <p:cNvSpPr>
              <a:spLocks noChangeAspect="1"/>
            </p:cNvSpPr>
            <p:nvPr/>
          </p:nvSpPr>
          <p:spPr bwMode="auto">
            <a:xfrm>
              <a:off x="7227052" y="1734494"/>
              <a:ext cx="597800" cy="541365"/>
            </a:xfrm>
            <a:custGeom>
              <a:avLst/>
              <a:gdLst/>
              <a:ahLst/>
              <a:cxnLst>
                <a:cxn ang="0">
                  <a:pos x="151" y="0"/>
                </a:cxn>
                <a:cxn ang="0">
                  <a:pos x="55" y="32"/>
                </a:cxn>
                <a:cxn ang="0">
                  <a:pos x="0" y="127"/>
                </a:cxn>
                <a:cxn ang="0">
                  <a:pos x="7" y="214"/>
                </a:cxn>
                <a:cxn ang="0">
                  <a:pos x="79" y="245"/>
                </a:cxn>
                <a:cxn ang="0">
                  <a:pos x="48" y="277"/>
                </a:cxn>
                <a:cxn ang="0">
                  <a:pos x="63" y="308"/>
                </a:cxn>
                <a:cxn ang="0">
                  <a:pos x="213" y="284"/>
                </a:cxn>
                <a:cxn ang="0">
                  <a:pos x="309" y="332"/>
                </a:cxn>
                <a:cxn ang="0">
                  <a:pos x="379" y="284"/>
                </a:cxn>
                <a:cxn ang="0">
                  <a:pos x="466" y="363"/>
                </a:cxn>
                <a:cxn ang="0">
                  <a:pos x="458" y="419"/>
                </a:cxn>
                <a:cxn ang="0">
                  <a:pos x="537" y="419"/>
                </a:cxn>
                <a:cxn ang="0">
                  <a:pos x="585" y="459"/>
                </a:cxn>
                <a:cxn ang="0">
                  <a:pos x="592" y="545"/>
                </a:cxn>
                <a:cxn ang="0">
                  <a:pos x="506" y="641"/>
                </a:cxn>
                <a:cxn ang="0">
                  <a:pos x="364" y="672"/>
                </a:cxn>
                <a:cxn ang="0">
                  <a:pos x="331" y="720"/>
                </a:cxn>
                <a:cxn ang="0">
                  <a:pos x="388" y="775"/>
                </a:cxn>
                <a:cxn ang="0">
                  <a:pos x="506" y="744"/>
                </a:cxn>
                <a:cxn ang="0">
                  <a:pos x="624" y="838"/>
                </a:cxn>
                <a:cxn ang="0">
                  <a:pos x="782" y="917"/>
                </a:cxn>
                <a:cxn ang="0">
                  <a:pos x="727" y="790"/>
                </a:cxn>
                <a:cxn ang="0">
                  <a:pos x="837" y="862"/>
                </a:cxn>
                <a:cxn ang="0">
                  <a:pos x="870" y="783"/>
                </a:cxn>
                <a:cxn ang="0">
                  <a:pos x="846" y="687"/>
                </a:cxn>
                <a:cxn ang="0">
                  <a:pos x="767" y="672"/>
                </a:cxn>
                <a:cxn ang="0">
                  <a:pos x="774" y="577"/>
                </a:cxn>
                <a:cxn ang="0">
                  <a:pos x="813" y="569"/>
                </a:cxn>
                <a:cxn ang="0">
                  <a:pos x="940" y="696"/>
                </a:cxn>
                <a:cxn ang="0">
                  <a:pos x="988" y="617"/>
                </a:cxn>
                <a:cxn ang="0">
                  <a:pos x="1019" y="562"/>
                </a:cxn>
                <a:cxn ang="0">
                  <a:pos x="940" y="507"/>
                </a:cxn>
                <a:cxn ang="0">
                  <a:pos x="854" y="483"/>
                </a:cxn>
                <a:cxn ang="0">
                  <a:pos x="791" y="396"/>
                </a:cxn>
                <a:cxn ang="0">
                  <a:pos x="837" y="341"/>
                </a:cxn>
                <a:cxn ang="0">
                  <a:pos x="798" y="269"/>
                </a:cxn>
                <a:cxn ang="0">
                  <a:pos x="672" y="214"/>
                </a:cxn>
                <a:cxn ang="0">
                  <a:pos x="592" y="174"/>
                </a:cxn>
                <a:cxn ang="0">
                  <a:pos x="530" y="71"/>
                </a:cxn>
                <a:cxn ang="0">
                  <a:pos x="371" y="87"/>
                </a:cxn>
                <a:cxn ang="0">
                  <a:pos x="324" y="150"/>
                </a:cxn>
                <a:cxn ang="0">
                  <a:pos x="348" y="8"/>
                </a:cxn>
                <a:cxn ang="0">
                  <a:pos x="237" y="0"/>
                </a:cxn>
                <a:cxn ang="0">
                  <a:pos x="182" y="71"/>
                </a:cxn>
                <a:cxn ang="0">
                  <a:pos x="174" y="127"/>
                </a:cxn>
                <a:cxn ang="0">
                  <a:pos x="119" y="119"/>
                </a:cxn>
                <a:cxn ang="0">
                  <a:pos x="151" y="0"/>
                </a:cxn>
              </a:cxnLst>
              <a:rect l="0" t="0" r="r" b="b"/>
              <a:pathLst>
                <a:path w="1019" h="917">
                  <a:moveTo>
                    <a:pt x="151" y="0"/>
                  </a:moveTo>
                  <a:lnTo>
                    <a:pt x="55" y="32"/>
                  </a:lnTo>
                  <a:lnTo>
                    <a:pt x="0" y="127"/>
                  </a:lnTo>
                  <a:lnTo>
                    <a:pt x="7" y="214"/>
                  </a:lnTo>
                  <a:lnTo>
                    <a:pt x="79" y="245"/>
                  </a:lnTo>
                  <a:lnTo>
                    <a:pt x="48" y="277"/>
                  </a:lnTo>
                  <a:lnTo>
                    <a:pt x="63" y="308"/>
                  </a:lnTo>
                  <a:lnTo>
                    <a:pt x="213" y="284"/>
                  </a:lnTo>
                  <a:lnTo>
                    <a:pt x="309" y="332"/>
                  </a:lnTo>
                  <a:lnTo>
                    <a:pt x="379" y="284"/>
                  </a:lnTo>
                  <a:lnTo>
                    <a:pt x="466" y="363"/>
                  </a:lnTo>
                  <a:lnTo>
                    <a:pt x="458" y="419"/>
                  </a:lnTo>
                  <a:lnTo>
                    <a:pt x="537" y="419"/>
                  </a:lnTo>
                  <a:lnTo>
                    <a:pt x="585" y="459"/>
                  </a:lnTo>
                  <a:lnTo>
                    <a:pt x="592" y="545"/>
                  </a:lnTo>
                  <a:lnTo>
                    <a:pt x="506" y="641"/>
                  </a:lnTo>
                  <a:lnTo>
                    <a:pt x="364" y="672"/>
                  </a:lnTo>
                  <a:lnTo>
                    <a:pt x="331" y="720"/>
                  </a:lnTo>
                  <a:lnTo>
                    <a:pt x="388" y="775"/>
                  </a:lnTo>
                  <a:lnTo>
                    <a:pt x="506" y="744"/>
                  </a:lnTo>
                  <a:lnTo>
                    <a:pt x="624" y="838"/>
                  </a:lnTo>
                  <a:lnTo>
                    <a:pt x="782" y="917"/>
                  </a:lnTo>
                  <a:lnTo>
                    <a:pt x="727" y="790"/>
                  </a:lnTo>
                  <a:lnTo>
                    <a:pt x="837" y="862"/>
                  </a:lnTo>
                  <a:lnTo>
                    <a:pt x="870" y="783"/>
                  </a:lnTo>
                  <a:lnTo>
                    <a:pt x="846" y="687"/>
                  </a:lnTo>
                  <a:lnTo>
                    <a:pt x="767" y="672"/>
                  </a:lnTo>
                  <a:lnTo>
                    <a:pt x="774" y="577"/>
                  </a:lnTo>
                  <a:lnTo>
                    <a:pt x="813" y="569"/>
                  </a:lnTo>
                  <a:lnTo>
                    <a:pt x="940" y="696"/>
                  </a:lnTo>
                  <a:lnTo>
                    <a:pt x="988" y="617"/>
                  </a:lnTo>
                  <a:lnTo>
                    <a:pt x="1019" y="562"/>
                  </a:lnTo>
                  <a:lnTo>
                    <a:pt x="940" y="507"/>
                  </a:lnTo>
                  <a:lnTo>
                    <a:pt x="854" y="483"/>
                  </a:lnTo>
                  <a:lnTo>
                    <a:pt x="791" y="396"/>
                  </a:lnTo>
                  <a:lnTo>
                    <a:pt x="837" y="341"/>
                  </a:lnTo>
                  <a:lnTo>
                    <a:pt x="798" y="269"/>
                  </a:lnTo>
                  <a:lnTo>
                    <a:pt x="672" y="214"/>
                  </a:lnTo>
                  <a:lnTo>
                    <a:pt x="592" y="174"/>
                  </a:lnTo>
                  <a:lnTo>
                    <a:pt x="530" y="71"/>
                  </a:lnTo>
                  <a:lnTo>
                    <a:pt x="371" y="87"/>
                  </a:lnTo>
                  <a:lnTo>
                    <a:pt x="324" y="150"/>
                  </a:lnTo>
                  <a:lnTo>
                    <a:pt x="348" y="8"/>
                  </a:lnTo>
                  <a:lnTo>
                    <a:pt x="237" y="0"/>
                  </a:lnTo>
                  <a:lnTo>
                    <a:pt x="182" y="71"/>
                  </a:lnTo>
                  <a:lnTo>
                    <a:pt x="174" y="127"/>
                  </a:lnTo>
                  <a:lnTo>
                    <a:pt x="119" y="119"/>
                  </a:lnTo>
                  <a:lnTo>
                    <a:pt x="15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3" name="Freeform 112"/>
            <p:cNvSpPr>
              <a:spLocks noChangeAspect="1"/>
            </p:cNvSpPr>
            <p:nvPr/>
          </p:nvSpPr>
          <p:spPr bwMode="auto">
            <a:xfrm>
              <a:off x="7452106" y="2016713"/>
              <a:ext cx="45714" cy="55024"/>
            </a:xfrm>
            <a:custGeom>
              <a:avLst/>
              <a:gdLst/>
              <a:ahLst/>
              <a:cxnLst>
                <a:cxn ang="0">
                  <a:pos x="7" y="93"/>
                </a:cxn>
                <a:cxn ang="0">
                  <a:pos x="7" y="93"/>
                </a:cxn>
                <a:cxn ang="0">
                  <a:pos x="5" y="93"/>
                </a:cxn>
                <a:cxn ang="0">
                  <a:pos x="2" y="92"/>
                </a:cxn>
                <a:cxn ang="0">
                  <a:pos x="1" y="90"/>
                </a:cxn>
                <a:cxn ang="0">
                  <a:pos x="0" y="88"/>
                </a:cxn>
                <a:cxn ang="0">
                  <a:pos x="0" y="82"/>
                </a:cxn>
                <a:cxn ang="0">
                  <a:pos x="2" y="74"/>
                </a:cxn>
                <a:cxn ang="0">
                  <a:pos x="8" y="56"/>
                </a:cxn>
                <a:cxn ang="0">
                  <a:pos x="11" y="48"/>
                </a:cxn>
                <a:cxn ang="0">
                  <a:pos x="11" y="39"/>
                </a:cxn>
                <a:cxn ang="0">
                  <a:pos x="11" y="39"/>
                </a:cxn>
                <a:cxn ang="0">
                  <a:pos x="12" y="31"/>
                </a:cxn>
                <a:cxn ang="0">
                  <a:pos x="13" y="24"/>
                </a:cxn>
                <a:cxn ang="0">
                  <a:pos x="17" y="17"/>
                </a:cxn>
                <a:cxn ang="0">
                  <a:pos x="21" y="11"/>
                </a:cxn>
                <a:cxn ang="0">
                  <a:pos x="26" y="6"/>
                </a:cxn>
                <a:cxn ang="0">
                  <a:pos x="32" y="2"/>
                </a:cxn>
                <a:cxn ang="0">
                  <a:pos x="38" y="1"/>
                </a:cxn>
                <a:cxn ang="0">
                  <a:pos x="45" y="0"/>
                </a:cxn>
                <a:cxn ang="0">
                  <a:pos x="45" y="0"/>
                </a:cxn>
                <a:cxn ang="0">
                  <a:pos x="51" y="1"/>
                </a:cxn>
                <a:cxn ang="0">
                  <a:pos x="57" y="2"/>
                </a:cxn>
                <a:cxn ang="0">
                  <a:pos x="64" y="6"/>
                </a:cxn>
                <a:cxn ang="0">
                  <a:pos x="69" y="11"/>
                </a:cxn>
                <a:cxn ang="0">
                  <a:pos x="72" y="17"/>
                </a:cxn>
                <a:cxn ang="0">
                  <a:pos x="76" y="24"/>
                </a:cxn>
                <a:cxn ang="0">
                  <a:pos x="77" y="31"/>
                </a:cxn>
                <a:cxn ang="0">
                  <a:pos x="79" y="39"/>
                </a:cxn>
                <a:cxn ang="0">
                  <a:pos x="79" y="39"/>
                </a:cxn>
                <a:cxn ang="0">
                  <a:pos x="77" y="43"/>
                </a:cxn>
                <a:cxn ang="0">
                  <a:pos x="76" y="48"/>
                </a:cxn>
                <a:cxn ang="0">
                  <a:pos x="70" y="56"/>
                </a:cxn>
                <a:cxn ang="0">
                  <a:pos x="61" y="65"/>
                </a:cxn>
                <a:cxn ang="0">
                  <a:pos x="50" y="74"/>
                </a:cxn>
                <a:cxn ang="0">
                  <a:pos x="37" y="82"/>
                </a:cxn>
                <a:cxn ang="0">
                  <a:pos x="26" y="88"/>
                </a:cxn>
                <a:cxn ang="0">
                  <a:pos x="16" y="92"/>
                </a:cxn>
                <a:cxn ang="0">
                  <a:pos x="7" y="93"/>
                </a:cxn>
                <a:cxn ang="0">
                  <a:pos x="7" y="93"/>
                </a:cxn>
              </a:cxnLst>
              <a:rect l="0" t="0" r="r" b="b"/>
              <a:pathLst>
                <a:path w="79" h="93">
                  <a:moveTo>
                    <a:pt x="7" y="93"/>
                  </a:moveTo>
                  <a:lnTo>
                    <a:pt x="7" y="93"/>
                  </a:lnTo>
                  <a:lnTo>
                    <a:pt x="5" y="93"/>
                  </a:lnTo>
                  <a:lnTo>
                    <a:pt x="2" y="92"/>
                  </a:lnTo>
                  <a:lnTo>
                    <a:pt x="1" y="90"/>
                  </a:lnTo>
                  <a:lnTo>
                    <a:pt x="0" y="88"/>
                  </a:lnTo>
                  <a:lnTo>
                    <a:pt x="0" y="82"/>
                  </a:lnTo>
                  <a:lnTo>
                    <a:pt x="2" y="74"/>
                  </a:lnTo>
                  <a:lnTo>
                    <a:pt x="8" y="56"/>
                  </a:lnTo>
                  <a:lnTo>
                    <a:pt x="11" y="48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2" y="31"/>
                  </a:lnTo>
                  <a:lnTo>
                    <a:pt x="13" y="24"/>
                  </a:lnTo>
                  <a:lnTo>
                    <a:pt x="17" y="17"/>
                  </a:lnTo>
                  <a:lnTo>
                    <a:pt x="21" y="11"/>
                  </a:lnTo>
                  <a:lnTo>
                    <a:pt x="26" y="6"/>
                  </a:lnTo>
                  <a:lnTo>
                    <a:pt x="32" y="2"/>
                  </a:lnTo>
                  <a:lnTo>
                    <a:pt x="38" y="1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51" y="1"/>
                  </a:lnTo>
                  <a:lnTo>
                    <a:pt x="57" y="2"/>
                  </a:lnTo>
                  <a:lnTo>
                    <a:pt x="64" y="6"/>
                  </a:lnTo>
                  <a:lnTo>
                    <a:pt x="69" y="11"/>
                  </a:lnTo>
                  <a:lnTo>
                    <a:pt x="72" y="17"/>
                  </a:lnTo>
                  <a:lnTo>
                    <a:pt x="76" y="24"/>
                  </a:lnTo>
                  <a:lnTo>
                    <a:pt x="77" y="31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77" y="43"/>
                  </a:lnTo>
                  <a:lnTo>
                    <a:pt x="76" y="48"/>
                  </a:lnTo>
                  <a:lnTo>
                    <a:pt x="70" y="56"/>
                  </a:lnTo>
                  <a:lnTo>
                    <a:pt x="61" y="65"/>
                  </a:lnTo>
                  <a:lnTo>
                    <a:pt x="50" y="74"/>
                  </a:lnTo>
                  <a:lnTo>
                    <a:pt x="37" y="82"/>
                  </a:lnTo>
                  <a:lnTo>
                    <a:pt x="26" y="88"/>
                  </a:lnTo>
                  <a:lnTo>
                    <a:pt x="16" y="92"/>
                  </a:lnTo>
                  <a:lnTo>
                    <a:pt x="7" y="93"/>
                  </a:lnTo>
                  <a:lnTo>
                    <a:pt x="7" y="9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4" name="Freeform 113"/>
            <p:cNvSpPr>
              <a:spLocks noChangeAspect="1"/>
            </p:cNvSpPr>
            <p:nvPr/>
          </p:nvSpPr>
          <p:spPr bwMode="auto">
            <a:xfrm>
              <a:off x="7423974" y="1942165"/>
              <a:ext cx="24615" cy="51474"/>
            </a:xfrm>
            <a:custGeom>
              <a:avLst/>
              <a:gdLst/>
              <a:ahLst/>
              <a:cxnLst>
                <a:cxn ang="0">
                  <a:pos x="21" y="89"/>
                </a:cxn>
                <a:cxn ang="0">
                  <a:pos x="21" y="89"/>
                </a:cxn>
                <a:cxn ang="0">
                  <a:pos x="17" y="88"/>
                </a:cxn>
                <a:cxn ang="0">
                  <a:pos x="12" y="85"/>
                </a:cxn>
                <a:cxn ang="0">
                  <a:pos x="9" y="81"/>
                </a:cxn>
                <a:cxn ang="0">
                  <a:pos x="6" y="76"/>
                </a:cxn>
                <a:cxn ang="0">
                  <a:pos x="4" y="69"/>
                </a:cxn>
                <a:cxn ang="0">
                  <a:pos x="1" y="61"/>
                </a:cxn>
                <a:cxn ang="0">
                  <a:pos x="0" y="54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0" y="35"/>
                </a:cxn>
                <a:cxn ang="0">
                  <a:pos x="1" y="27"/>
                </a:cxn>
                <a:cxn ang="0">
                  <a:pos x="4" y="20"/>
                </a:cxn>
                <a:cxn ang="0">
                  <a:pos x="6" y="12"/>
                </a:cxn>
                <a:cxn ang="0">
                  <a:pos x="9" y="7"/>
                </a:cxn>
                <a:cxn ang="0">
                  <a:pos x="12" y="4"/>
                </a:cxn>
                <a:cxn ang="0">
                  <a:pos x="17" y="1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26" y="1"/>
                </a:cxn>
                <a:cxn ang="0">
                  <a:pos x="30" y="4"/>
                </a:cxn>
                <a:cxn ang="0">
                  <a:pos x="34" y="7"/>
                </a:cxn>
                <a:cxn ang="0">
                  <a:pos x="37" y="12"/>
                </a:cxn>
                <a:cxn ang="0">
                  <a:pos x="40" y="20"/>
                </a:cxn>
                <a:cxn ang="0">
                  <a:pos x="42" y="27"/>
                </a:cxn>
                <a:cxn ang="0">
                  <a:pos x="44" y="35"/>
                </a:cxn>
                <a:cxn ang="0">
                  <a:pos x="44" y="45"/>
                </a:cxn>
                <a:cxn ang="0">
                  <a:pos x="44" y="45"/>
                </a:cxn>
                <a:cxn ang="0">
                  <a:pos x="44" y="54"/>
                </a:cxn>
                <a:cxn ang="0">
                  <a:pos x="42" y="61"/>
                </a:cxn>
                <a:cxn ang="0">
                  <a:pos x="40" y="69"/>
                </a:cxn>
                <a:cxn ang="0">
                  <a:pos x="37" y="76"/>
                </a:cxn>
                <a:cxn ang="0">
                  <a:pos x="34" y="81"/>
                </a:cxn>
                <a:cxn ang="0">
                  <a:pos x="30" y="85"/>
                </a:cxn>
                <a:cxn ang="0">
                  <a:pos x="26" y="88"/>
                </a:cxn>
                <a:cxn ang="0">
                  <a:pos x="21" y="89"/>
                </a:cxn>
                <a:cxn ang="0">
                  <a:pos x="21" y="89"/>
                </a:cxn>
              </a:cxnLst>
              <a:rect l="0" t="0" r="r" b="b"/>
              <a:pathLst>
                <a:path w="44" h="89">
                  <a:moveTo>
                    <a:pt x="21" y="89"/>
                  </a:moveTo>
                  <a:lnTo>
                    <a:pt x="21" y="89"/>
                  </a:lnTo>
                  <a:lnTo>
                    <a:pt x="17" y="88"/>
                  </a:lnTo>
                  <a:lnTo>
                    <a:pt x="12" y="85"/>
                  </a:lnTo>
                  <a:lnTo>
                    <a:pt x="9" y="81"/>
                  </a:lnTo>
                  <a:lnTo>
                    <a:pt x="6" y="76"/>
                  </a:lnTo>
                  <a:lnTo>
                    <a:pt x="4" y="69"/>
                  </a:lnTo>
                  <a:lnTo>
                    <a:pt x="1" y="61"/>
                  </a:lnTo>
                  <a:lnTo>
                    <a:pt x="0" y="54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35"/>
                  </a:lnTo>
                  <a:lnTo>
                    <a:pt x="1" y="27"/>
                  </a:lnTo>
                  <a:lnTo>
                    <a:pt x="4" y="20"/>
                  </a:lnTo>
                  <a:lnTo>
                    <a:pt x="6" y="12"/>
                  </a:lnTo>
                  <a:lnTo>
                    <a:pt x="9" y="7"/>
                  </a:lnTo>
                  <a:lnTo>
                    <a:pt x="12" y="4"/>
                  </a:lnTo>
                  <a:lnTo>
                    <a:pt x="17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6" y="1"/>
                  </a:lnTo>
                  <a:lnTo>
                    <a:pt x="30" y="4"/>
                  </a:lnTo>
                  <a:lnTo>
                    <a:pt x="34" y="7"/>
                  </a:lnTo>
                  <a:lnTo>
                    <a:pt x="37" y="12"/>
                  </a:lnTo>
                  <a:lnTo>
                    <a:pt x="40" y="20"/>
                  </a:lnTo>
                  <a:lnTo>
                    <a:pt x="42" y="27"/>
                  </a:lnTo>
                  <a:lnTo>
                    <a:pt x="44" y="35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54"/>
                  </a:lnTo>
                  <a:lnTo>
                    <a:pt x="42" y="61"/>
                  </a:lnTo>
                  <a:lnTo>
                    <a:pt x="40" y="69"/>
                  </a:lnTo>
                  <a:lnTo>
                    <a:pt x="37" y="76"/>
                  </a:lnTo>
                  <a:lnTo>
                    <a:pt x="34" y="81"/>
                  </a:lnTo>
                  <a:lnTo>
                    <a:pt x="30" y="85"/>
                  </a:lnTo>
                  <a:lnTo>
                    <a:pt x="26" y="88"/>
                  </a:lnTo>
                  <a:lnTo>
                    <a:pt x="21" y="89"/>
                  </a:lnTo>
                  <a:lnTo>
                    <a:pt x="21" y="8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5" name="Freeform 114"/>
            <p:cNvSpPr>
              <a:spLocks noChangeAspect="1"/>
            </p:cNvSpPr>
            <p:nvPr/>
          </p:nvSpPr>
          <p:spPr bwMode="auto">
            <a:xfrm>
              <a:off x="7218261" y="2140961"/>
              <a:ext cx="107253" cy="94073"/>
            </a:xfrm>
            <a:custGeom>
              <a:avLst/>
              <a:gdLst/>
              <a:ahLst/>
              <a:cxnLst>
                <a:cxn ang="0">
                  <a:pos x="78" y="0"/>
                </a:cxn>
                <a:cxn ang="0">
                  <a:pos x="157" y="24"/>
                </a:cxn>
                <a:cxn ang="0">
                  <a:pos x="181" y="72"/>
                </a:cxn>
                <a:cxn ang="0">
                  <a:pos x="118" y="96"/>
                </a:cxn>
                <a:cxn ang="0">
                  <a:pos x="46" y="159"/>
                </a:cxn>
                <a:cxn ang="0">
                  <a:pos x="0" y="96"/>
                </a:cxn>
                <a:cxn ang="0">
                  <a:pos x="7" y="33"/>
                </a:cxn>
                <a:cxn ang="0">
                  <a:pos x="78" y="0"/>
                </a:cxn>
              </a:cxnLst>
              <a:rect l="0" t="0" r="r" b="b"/>
              <a:pathLst>
                <a:path w="181" h="159">
                  <a:moveTo>
                    <a:pt x="78" y="0"/>
                  </a:moveTo>
                  <a:lnTo>
                    <a:pt x="157" y="24"/>
                  </a:lnTo>
                  <a:lnTo>
                    <a:pt x="181" y="72"/>
                  </a:lnTo>
                  <a:lnTo>
                    <a:pt x="118" y="96"/>
                  </a:lnTo>
                  <a:lnTo>
                    <a:pt x="46" y="159"/>
                  </a:lnTo>
                  <a:lnTo>
                    <a:pt x="0" y="96"/>
                  </a:lnTo>
                  <a:lnTo>
                    <a:pt x="7" y="33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6" name="Freeform 115"/>
            <p:cNvSpPr>
              <a:spLocks noChangeAspect="1"/>
            </p:cNvSpPr>
            <p:nvPr/>
          </p:nvSpPr>
          <p:spPr bwMode="auto">
            <a:xfrm>
              <a:off x="6940460" y="1597821"/>
              <a:ext cx="130109" cy="85198"/>
            </a:xfrm>
            <a:custGeom>
              <a:avLst/>
              <a:gdLst/>
              <a:ahLst/>
              <a:cxnLst>
                <a:cxn ang="0">
                  <a:pos x="94" y="55"/>
                </a:cxn>
                <a:cxn ang="0">
                  <a:pos x="158" y="16"/>
                </a:cxn>
                <a:cxn ang="0">
                  <a:pos x="221" y="24"/>
                </a:cxn>
                <a:cxn ang="0">
                  <a:pos x="214" y="119"/>
                </a:cxn>
                <a:cxn ang="0">
                  <a:pos x="79" y="143"/>
                </a:cxn>
                <a:cxn ang="0">
                  <a:pos x="39" y="95"/>
                </a:cxn>
                <a:cxn ang="0">
                  <a:pos x="0" y="31"/>
                </a:cxn>
                <a:cxn ang="0">
                  <a:pos x="32" y="0"/>
                </a:cxn>
                <a:cxn ang="0">
                  <a:pos x="71" y="47"/>
                </a:cxn>
                <a:cxn ang="0">
                  <a:pos x="94" y="55"/>
                </a:cxn>
              </a:cxnLst>
              <a:rect l="0" t="0" r="r" b="b"/>
              <a:pathLst>
                <a:path w="221" h="143">
                  <a:moveTo>
                    <a:pt x="94" y="55"/>
                  </a:moveTo>
                  <a:lnTo>
                    <a:pt x="158" y="16"/>
                  </a:lnTo>
                  <a:lnTo>
                    <a:pt x="221" y="24"/>
                  </a:lnTo>
                  <a:lnTo>
                    <a:pt x="214" y="119"/>
                  </a:lnTo>
                  <a:lnTo>
                    <a:pt x="79" y="143"/>
                  </a:lnTo>
                  <a:lnTo>
                    <a:pt x="39" y="95"/>
                  </a:lnTo>
                  <a:lnTo>
                    <a:pt x="0" y="31"/>
                  </a:lnTo>
                  <a:lnTo>
                    <a:pt x="32" y="0"/>
                  </a:lnTo>
                  <a:lnTo>
                    <a:pt x="71" y="47"/>
                  </a:lnTo>
                  <a:lnTo>
                    <a:pt x="94" y="5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7" name="Freeform 116"/>
            <p:cNvSpPr>
              <a:spLocks noChangeAspect="1"/>
            </p:cNvSpPr>
            <p:nvPr/>
          </p:nvSpPr>
          <p:spPr bwMode="auto">
            <a:xfrm>
              <a:off x="6940460" y="1597821"/>
              <a:ext cx="130109" cy="85198"/>
            </a:xfrm>
            <a:custGeom>
              <a:avLst/>
              <a:gdLst/>
              <a:ahLst/>
              <a:cxnLst>
                <a:cxn ang="0">
                  <a:pos x="94" y="55"/>
                </a:cxn>
                <a:cxn ang="0">
                  <a:pos x="158" y="16"/>
                </a:cxn>
                <a:cxn ang="0">
                  <a:pos x="221" y="24"/>
                </a:cxn>
                <a:cxn ang="0">
                  <a:pos x="214" y="119"/>
                </a:cxn>
                <a:cxn ang="0">
                  <a:pos x="79" y="143"/>
                </a:cxn>
                <a:cxn ang="0">
                  <a:pos x="39" y="95"/>
                </a:cxn>
                <a:cxn ang="0">
                  <a:pos x="0" y="31"/>
                </a:cxn>
                <a:cxn ang="0">
                  <a:pos x="32" y="0"/>
                </a:cxn>
                <a:cxn ang="0">
                  <a:pos x="71" y="47"/>
                </a:cxn>
              </a:cxnLst>
              <a:rect l="0" t="0" r="r" b="b"/>
              <a:pathLst>
                <a:path w="221" h="143">
                  <a:moveTo>
                    <a:pt x="94" y="55"/>
                  </a:moveTo>
                  <a:lnTo>
                    <a:pt x="158" y="16"/>
                  </a:lnTo>
                  <a:lnTo>
                    <a:pt x="221" y="24"/>
                  </a:lnTo>
                  <a:lnTo>
                    <a:pt x="214" y="119"/>
                  </a:lnTo>
                  <a:lnTo>
                    <a:pt x="79" y="143"/>
                  </a:lnTo>
                  <a:lnTo>
                    <a:pt x="39" y="95"/>
                  </a:lnTo>
                  <a:lnTo>
                    <a:pt x="0" y="31"/>
                  </a:lnTo>
                  <a:lnTo>
                    <a:pt x="32" y="0"/>
                  </a:lnTo>
                  <a:lnTo>
                    <a:pt x="71" y="47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8" name="Freeform 117"/>
            <p:cNvSpPr>
              <a:spLocks noChangeAspect="1"/>
            </p:cNvSpPr>
            <p:nvPr/>
          </p:nvSpPr>
          <p:spPr bwMode="auto">
            <a:xfrm>
              <a:off x="7107492" y="1482448"/>
              <a:ext cx="65055" cy="69223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0" y="79"/>
                </a:cxn>
                <a:cxn ang="0">
                  <a:pos x="40" y="118"/>
                </a:cxn>
                <a:cxn ang="0">
                  <a:pos x="88" y="110"/>
                </a:cxn>
                <a:cxn ang="0">
                  <a:pos x="112" y="55"/>
                </a:cxn>
                <a:cxn ang="0">
                  <a:pos x="72" y="0"/>
                </a:cxn>
                <a:cxn ang="0">
                  <a:pos x="0" y="23"/>
                </a:cxn>
              </a:cxnLst>
              <a:rect l="0" t="0" r="r" b="b"/>
              <a:pathLst>
                <a:path w="112" h="118">
                  <a:moveTo>
                    <a:pt x="0" y="23"/>
                  </a:moveTo>
                  <a:lnTo>
                    <a:pt x="0" y="79"/>
                  </a:lnTo>
                  <a:lnTo>
                    <a:pt x="40" y="118"/>
                  </a:lnTo>
                  <a:lnTo>
                    <a:pt x="88" y="110"/>
                  </a:lnTo>
                  <a:lnTo>
                    <a:pt x="112" y="55"/>
                  </a:lnTo>
                  <a:lnTo>
                    <a:pt x="72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89" name="Freeform 118"/>
            <p:cNvSpPr>
              <a:spLocks noChangeAspect="1"/>
            </p:cNvSpPr>
            <p:nvPr/>
          </p:nvSpPr>
          <p:spPr bwMode="auto">
            <a:xfrm>
              <a:off x="7093425" y="1411450"/>
              <a:ext cx="45714" cy="37274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0" y="64"/>
                </a:cxn>
                <a:cxn ang="0">
                  <a:pos x="63" y="64"/>
                </a:cxn>
                <a:cxn ang="0">
                  <a:pos x="78" y="17"/>
                </a:cxn>
                <a:cxn ang="0">
                  <a:pos x="8" y="0"/>
                </a:cxn>
              </a:cxnLst>
              <a:rect l="0" t="0" r="r" b="b"/>
              <a:pathLst>
                <a:path w="78" h="64">
                  <a:moveTo>
                    <a:pt x="8" y="0"/>
                  </a:moveTo>
                  <a:lnTo>
                    <a:pt x="0" y="64"/>
                  </a:lnTo>
                  <a:lnTo>
                    <a:pt x="63" y="64"/>
                  </a:lnTo>
                  <a:lnTo>
                    <a:pt x="78" y="17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0" name="Freeform 119"/>
            <p:cNvSpPr>
              <a:spLocks noChangeAspect="1"/>
            </p:cNvSpPr>
            <p:nvPr/>
          </p:nvSpPr>
          <p:spPr bwMode="auto">
            <a:xfrm>
              <a:off x="7190129" y="1351102"/>
              <a:ext cx="152966" cy="163297"/>
            </a:xfrm>
            <a:custGeom>
              <a:avLst/>
              <a:gdLst/>
              <a:ahLst/>
              <a:cxnLst>
                <a:cxn ang="0">
                  <a:pos x="87" y="0"/>
                </a:cxn>
                <a:cxn ang="0">
                  <a:pos x="48" y="55"/>
                </a:cxn>
                <a:cxn ang="0">
                  <a:pos x="0" y="110"/>
                </a:cxn>
                <a:cxn ang="0">
                  <a:pos x="8" y="173"/>
                </a:cxn>
                <a:cxn ang="0">
                  <a:pos x="63" y="173"/>
                </a:cxn>
                <a:cxn ang="0">
                  <a:pos x="55" y="213"/>
                </a:cxn>
                <a:cxn ang="0">
                  <a:pos x="70" y="259"/>
                </a:cxn>
                <a:cxn ang="0">
                  <a:pos x="214" y="276"/>
                </a:cxn>
                <a:cxn ang="0">
                  <a:pos x="252" y="221"/>
                </a:cxn>
                <a:cxn ang="0">
                  <a:pos x="260" y="134"/>
                </a:cxn>
                <a:cxn ang="0">
                  <a:pos x="205" y="62"/>
                </a:cxn>
                <a:cxn ang="0">
                  <a:pos x="87" y="0"/>
                </a:cxn>
              </a:cxnLst>
              <a:rect l="0" t="0" r="r" b="b"/>
              <a:pathLst>
                <a:path w="260" h="276">
                  <a:moveTo>
                    <a:pt x="87" y="0"/>
                  </a:moveTo>
                  <a:lnTo>
                    <a:pt x="48" y="55"/>
                  </a:lnTo>
                  <a:lnTo>
                    <a:pt x="0" y="110"/>
                  </a:lnTo>
                  <a:lnTo>
                    <a:pt x="8" y="173"/>
                  </a:lnTo>
                  <a:lnTo>
                    <a:pt x="63" y="173"/>
                  </a:lnTo>
                  <a:lnTo>
                    <a:pt x="55" y="213"/>
                  </a:lnTo>
                  <a:lnTo>
                    <a:pt x="70" y="259"/>
                  </a:lnTo>
                  <a:lnTo>
                    <a:pt x="214" y="276"/>
                  </a:lnTo>
                  <a:lnTo>
                    <a:pt x="252" y="221"/>
                  </a:lnTo>
                  <a:lnTo>
                    <a:pt x="260" y="134"/>
                  </a:lnTo>
                  <a:lnTo>
                    <a:pt x="205" y="62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1" name="Freeform 120"/>
            <p:cNvSpPr>
              <a:spLocks noChangeAspect="1"/>
            </p:cNvSpPr>
            <p:nvPr/>
          </p:nvSpPr>
          <p:spPr bwMode="auto">
            <a:xfrm>
              <a:off x="7278041" y="1257028"/>
              <a:ext cx="654064" cy="374518"/>
            </a:xfrm>
            <a:custGeom>
              <a:avLst/>
              <a:gdLst/>
              <a:ahLst/>
              <a:cxnLst>
                <a:cxn ang="0">
                  <a:pos x="88" y="118"/>
                </a:cxn>
                <a:cxn ang="0">
                  <a:pos x="111" y="166"/>
                </a:cxn>
                <a:cxn ang="0">
                  <a:pos x="151" y="214"/>
                </a:cxn>
                <a:cxn ang="0">
                  <a:pos x="190" y="229"/>
                </a:cxn>
                <a:cxn ang="0">
                  <a:pos x="269" y="253"/>
                </a:cxn>
                <a:cxn ang="0">
                  <a:pos x="341" y="221"/>
                </a:cxn>
                <a:cxn ang="0">
                  <a:pos x="436" y="197"/>
                </a:cxn>
                <a:cxn ang="0">
                  <a:pos x="468" y="182"/>
                </a:cxn>
                <a:cxn ang="0">
                  <a:pos x="468" y="238"/>
                </a:cxn>
                <a:cxn ang="0">
                  <a:pos x="365" y="260"/>
                </a:cxn>
                <a:cxn ang="0">
                  <a:pos x="302" y="293"/>
                </a:cxn>
                <a:cxn ang="0">
                  <a:pos x="357" y="317"/>
                </a:cxn>
                <a:cxn ang="0">
                  <a:pos x="254" y="317"/>
                </a:cxn>
                <a:cxn ang="0">
                  <a:pos x="206" y="284"/>
                </a:cxn>
                <a:cxn ang="0">
                  <a:pos x="199" y="348"/>
                </a:cxn>
                <a:cxn ang="0">
                  <a:pos x="238" y="403"/>
                </a:cxn>
                <a:cxn ang="0">
                  <a:pos x="190" y="442"/>
                </a:cxn>
                <a:cxn ang="0">
                  <a:pos x="151" y="474"/>
                </a:cxn>
                <a:cxn ang="0">
                  <a:pos x="103" y="506"/>
                </a:cxn>
                <a:cxn ang="0">
                  <a:pos x="80" y="545"/>
                </a:cxn>
                <a:cxn ang="0">
                  <a:pos x="0" y="530"/>
                </a:cxn>
                <a:cxn ang="0">
                  <a:pos x="41" y="601"/>
                </a:cxn>
                <a:cxn ang="0">
                  <a:pos x="262" y="632"/>
                </a:cxn>
                <a:cxn ang="0">
                  <a:pos x="388" y="608"/>
                </a:cxn>
                <a:cxn ang="0">
                  <a:pos x="444" y="545"/>
                </a:cxn>
                <a:cxn ang="0">
                  <a:pos x="396" y="483"/>
                </a:cxn>
                <a:cxn ang="0">
                  <a:pos x="444" y="466"/>
                </a:cxn>
                <a:cxn ang="0">
                  <a:pos x="499" y="451"/>
                </a:cxn>
                <a:cxn ang="0">
                  <a:pos x="578" y="372"/>
                </a:cxn>
                <a:cxn ang="0">
                  <a:pos x="602" y="332"/>
                </a:cxn>
                <a:cxn ang="0">
                  <a:pos x="665" y="293"/>
                </a:cxn>
                <a:cxn ang="0">
                  <a:pos x="751" y="317"/>
                </a:cxn>
                <a:cxn ang="0">
                  <a:pos x="909" y="182"/>
                </a:cxn>
                <a:cxn ang="0">
                  <a:pos x="878" y="126"/>
                </a:cxn>
                <a:cxn ang="0">
                  <a:pos x="1020" y="103"/>
                </a:cxn>
                <a:cxn ang="0">
                  <a:pos x="1115" y="63"/>
                </a:cxn>
                <a:cxn ang="0">
                  <a:pos x="1060" y="8"/>
                </a:cxn>
                <a:cxn ang="0">
                  <a:pos x="965" y="8"/>
                </a:cxn>
                <a:cxn ang="0">
                  <a:pos x="727" y="0"/>
                </a:cxn>
                <a:cxn ang="0">
                  <a:pos x="650" y="63"/>
                </a:cxn>
                <a:cxn ang="0">
                  <a:pos x="578" y="0"/>
                </a:cxn>
                <a:cxn ang="0">
                  <a:pos x="570" y="32"/>
                </a:cxn>
                <a:cxn ang="0">
                  <a:pos x="436" y="24"/>
                </a:cxn>
                <a:cxn ang="0">
                  <a:pos x="372" y="95"/>
                </a:cxn>
                <a:cxn ang="0">
                  <a:pos x="309" y="95"/>
                </a:cxn>
                <a:cxn ang="0">
                  <a:pos x="278" y="56"/>
                </a:cxn>
                <a:cxn ang="0">
                  <a:pos x="206" y="71"/>
                </a:cxn>
                <a:cxn ang="0">
                  <a:pos x="190" y="103"/>
                </a:cxn>
                <a:cxn ang="0">
                  <a:pos x="88" y="118"/>
                </a:cxn>
              </a:cxnLst>
              <a:rect l="0" t="0" r="r" b="b"/>
              <a:pathLst>
                <a:path w="1115" h="632">
                  <a:moveTo>
                    <a:pt x="88" y="118"/>
                  </a:moveTo>
                  <a:lnTo>
                    <a:pt x="111" y="166"/>
                  </a:lnTo>
                  <a:lnTo>
                    <a:pt x="151" y="214"/>
                  </a:lnTo>
                  <a:lnTo>
                    <a:pt x="190" y="229"/>
                  </a:lnTo>
                  <a:lnTo>
                    <a:pt x="269" y="253"/>
                  </a:lnTo>
                  <a:lnTo>
                    <a:pt x="341" y="221"/>
                  </a:lnTo>
                  <a:lnTo>
                    <a:pt x="436" y="197"/>
                  </a:lnTo>
                  <a:lnTo>
                    <a:pt x="468" y="182"/>
                  </a:lnTo>
                  <a:lnTo>
                    <a:pt x="468" y="238"/>
                  </a:lnTo>
                  <a:lnTo>
                    <a:pt x="365" y="260"/>
                  </a:lnTo>
                  <a:lnTo>
                    <a:pt x="302" y="293"/>
                  </a:lnTo>
                  <a:lnTo>
                    <a:pt x="357" y="317"/>
                  </a:lnTo>
                  <a:lnTo>
                    <a:pt x="254" y="317"/>
                  </a:lnTo>
                  <a:lnTo>
                    <a:pt x="206" y="284"/>
                  </a:lnTo>
                  <a:lnTo>
                    <a:pt x="199" y="348"/>
                  </a:lnTo>
                  <a:lnTo>
                    <a:pt x="238" y="403"/>
                  </a:lnTo>
                  <a:lnTo>
                    <a:pt x="190" y="442"/>
                  </a:lnTo>
                  <a:lnTo>
                    <a:pt x="151" y="474"/>
                  </a:lnTo>
                  <a:lnTo>
                    <a:pt x="103" y="506"/>
                  </a:lnTo>
                  <a:lnTo>
                    <a:pt x="80" y="545"/>
                  </a:lnTo>
                  <a:lnTo>
                    <a:pt x="0" y="530"/>
                  </a:lnTo>
                  <a:lnTo>
                    <a:pt x="41" y="601"/>
                  </a:lnTo>
                  <a:lnTo>
                    <a:pt x="262" y="632"/>
                  </a:lnTo>
                  <a:lnTo>
                    <a:pt x="388" y="608"/>
                  </a:lnTo>
                  <a:lnTo>
                    <a:pt x="444" y="545"/>
                  </a:lnTo>
                  <a:lnTo>
                    <a:pt x="396" y="483"/>
                  </a:lnTo>
                  <a:lnTo>
                    <a:pt x="444" y="466"/>
                  </a:lnTo>
                  <a:lnTo>
                    <a:pt x="499" y="451"/>
                  </a:lnTo>
                  <a:lnTo>
                    <a:pt x="578" y="372"/>
                  </a:lnTo>
                  <a:lnTo>
                    <a:pt x="602" y="332"/>
                  </a:lnTo>
                  <a:lnTo>
                    <a:pt x="665" y="293"/>
                  </a:lnTo>
                  <a:lnTo>
                    <a:pt x="751" y="317"/>
                  </a:lnTo>
                  <a:lnTo>
                    <a:pt x="909" y="182"/>
                  </a:lnTo>
                  <a:lnTo>
                    <a:pt x="878" y="126"/>
                  </a:lnTo>
                  <a:lnTo>
                    <a:pt x="1020" y="103"/>
                  </a:lnTo>
                  <a:lnTo>
                    <a:pt x="1115" y="63"/>
                  </a:lnTo>
                  <a:lnTo>
                    <a:pt x="1060" y="8"/>
                  </a:lnTo>
                  <a:lnTo>
                    <a:pt x="965" y="8"/>
                  </a:lnTo>
                  <a:lnTo>
                    <a:pt x="727" y="0"/>
                  </a:lnTo>
                  <a:lnTo>
                    <a:pt x="650" y="63"/>
                  </a:lnTo>
                  <a:lnTo>
                    <a:pt x="578" y="0"/>
                  </a:lnTo>
                  <a:lnTo>
                    <a:pt x="570" y="32"/>
                  </a:lnTo>
                  <a:lnTo>
                    <a:pt x="436" y="24"/>
                  </a:lnTo>
                  <a:lnTo>
                    <a:pt x="372" y="95"/>
                  </a:lnTo>
                  <a:lnTo>
                    <a:pt x="309" y="95"/>
                  </a:lnTo>
                  <a:lnTo>
                    <a:pt x="278" y="56"/>
                  </a:lnTo>
                  <a:lnTo>
                    <a:pt x="206" y="71"/>
                  </a:lnTo>
                  <a:lnTo>
                    <a:pt x="190" y="103"/>
                  </a:lnTo>
                  <a:lnTo>
                    <a:pt x="88" y="11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2" name="Freeform 121"/>
            <p:cNvSpPr>
              <a:spLocks noChangeAspect="1"/>
            </p:cNvSpPr>
            <p:nvPr/>
          </p:nvSpPr>
          <p:spPr bwMode="auto">
            <a:xfrm>
              <a:off x="7167271" y="1574747"/>
              <a:ext cx="297142" cy="134898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0" y="55"/>
                </a:cxn>
                <a:cxn ang="0">
                  <a:pos x="40" y="110"/>
                </a:cxn>
                <a:cxn ang="0">
                  <a:pos x="110" y="189"/>
                </a:cxn>
                <a:cxn ang="0">
                  <a:pos x="182" y="221"/>
                </a:cxn>
                <a:cxn ang="0">
                  <a:pos x="388" y="197"/>
                </a:cxn>
                <a:cxn ang="0">
                  <a:pos x="506" y="228"/>
                </a:cxn>
                <a:cxn ang="0">
                  <a:pos x="491" y="142"/>
                </a:cxn>
                <a:cxn ang="0">
                  <a:pos x="324" y="134"/>
                </a:cxn>
                <a:cxn ang="0">
                  <a:pos x="174" y="94"/>
                </a:cxn>
                <a:cxn ang="0">
                  <a:pos x="151" y="7"/>
                </a:cxn>
                <a:cxn ang="0">
                  <a:pos x="64" y="0"/>
                </a:cxn>
              </a:cxnLst>
              <a:rect l="0" t="0" r="r" b="b"/>
              <a:pathLst>
                <a:path w="506" h="228">
                  <a:moveTo>
                    <a:pt x="64" y="0"/>
                  </a:moveTo>
                  <a:lnTo>
                    <a:pt x="0" y="55"/>
                  </a:lnTo>
                  <a:lnTo>
                    <a:pt x="40" y="110"/>
                  </a:lnTo>
                  <a:lnTo>
                    <a:pt x="110" y="189"/>
                  </a:lnTo>
                  <a:lnTo>
                    <a:pt x="182" y="221"/>
                  </a:lnTo>
                  <a:lnTo>
                    <a:pt x="388" y="197"/>
                  </a:lnTo>
                  <a:lnTo>
                    <a:pt x="506" y="228"/>
                  </a:lnTo>
                  <a:lnTo>
                    <a:pt x="491" y="142"/>
                  </a:lnTo>
                  <a:lnTo>
                    <a:pt x="324" y="134"/>
                  </a:lnTo>
                  <a:lnTo>
                    <a:pt x="174" y="94"/>
                  </a:lnTo>
                  <a:lnTo>
                    <a:pt x="151" y="7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3" name="Freeform 122"/>
            <p:cNvSpPr>
              <a:spLocks noChangeAspect="1"/>
            </p:cNvSpPr>
            <p:nvPr/>
          </p:nvSpPr>
          <p:spPr bwMode="auto">
            <a:xfrm>
              <a:off x="7102217" y="1654620"/>
              <a:ext cx="59779" cy="40824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0" y="48"/>
                </a:cxn>
                <a:cxn ang="0">
                  <a:pos x="56" y="70"/>
                </a:cxn>
                <a:cxn ang="0">
                  <a:pos x="103" y="48"/>
                </a:cxn>
                <a:cxn ang="0">
                  <a:pos x="96" y="8"/>
                </a:cxn>
                <a:cxn ang="0">
                  <a:pos x="41" y="0"/>
                </a:cxn>
              </a:cxnLst>
              <a:rect l="0" t="0" r="r" b="b"/>
              <a:pathLst>
                <a:path w="103" h="70">
                  <a:moveTo>
                    <a:pt x="41" y="0"/>
                  </a:moveTo>
                  <a:lnTo>
                    <a:pt x="0" y="48"/>
                  </a:lnTo>
                  <a:lnTo>
                    <a:pt x="56" y="70"/>
                  </a:lnTo>
                  <a:lnTo>
                    <a:pt x="103" y="48"/>
                  </a:lnTo>
                  <a:lnTo>
                    <a:pt x="96" y="8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4" name="Freeform 123"/>
            <p:cNvSpPr>
              <a:spLocks noChangeAspect="1"/>
            </p:cNvSpPr>
            <p:nvPr/>
          </p:nvSpPr>
          <p:spPr bwMode="auto">
            <a:xfrm>
              <a:off x="7671885" y="1214429"/>
              <a:ext cx="1329225" cy="1137753"/>
            </a:xfrm>
            <a:custGeom>
              <a:avLst/>
              <a:gdLst/>
              <a:ahLst/>
              <a:cxnLst>
                <a:cxn ang="0">
                  <a:pos x="436" y="261"/>
                </a:cxn>
                <a:cxn ang="0">
                  <a:pos x="293" y="388"/>
                </a:cxn>
                <a:cxn ang="0">
                  <a:pos x="96" y="489"/>
                </a:cxn>
                <a:cxn ang="0">
                  <a:pos x="9" y="554"/>
                </a:cxn>
                <a:cxn ang="0">
                  <a:pos x="206" y="592"/>
                </a:cxn>
                <a:cxn ang="0">
                  <a:pos x="64" y="616"/>
                </a:cxn>
                <a:cxn ang="0">
                  <a:pos x="451" y="695"/>
                </a:cxn>
                <a:cxn ang="0">
                  <a:pos x="570" y="901"/>
                </a:cxn>
                <a:cxn ang="0">
                  <a:pos x="602" y="1082"/>
                </a:cxn>
                <a:cxn ang="0">
                  <a:pos x="692" y="1121"/>
                </a:cxn>
                <a:cxn ang="0">
                  <a:pos x="720" y="1194"/>
                </a:cxn>
                <a:cxn ang="0">
                  <a:pos x="617" y="1336"/>
                </a:cxn>
                <a:cxn ang="0">
                  <a:pos x="633" y="1549"/>
                </a:cxn>
                <a:cxn ang="0">
                  <a:pos x="760" y="1842"/>
                </a:cxn>
                <a:cxn ang="0">
                  <a:pos x="878" y="1921"/>
                </a:cxn>
                <a:cxn ang="0">
                  <a:pos x="1028" y="1707"/>
                </a:cxn>
                <a:cxn ang="0">
                  <a:pos x="1091" y="1533"/>
                </a:cxn>
                <a:cxn ang="0">
                  <a:pos x="1367" y="1470"/>
                </a:cxn>
                <a:cxn ang="0">
                  <a:pos x="1613" y="1343"/>
                </a:cxn>
                <a:cxn ang="0">
                  <a:pos x="1834" y="1161"/>
                </a:cxn>
                <a:cxn ang="0">
                  <a:pos x="1660" y="1122"/>
                </a:cxn>
                <a:cxn ang="0">
                  <a:pos x="1731" y="1051"/>
                </a:cxn>
                <a:cxn ang="0">
                  <a:pos x="1858" y="1130"/>
                </a:cxn>
                <a:cxn ang="0">
                  <a:pos x="1849" y="1004"/>
                </a:cxn>
                <a:cxn ang="0">
                  <a:pos x="1770" y="916"/>
                </a:cxn>
                <a:cxn ang="0">
                  <a:pos x="1858" y="940"/>
                </a:cxn>
                <a:cxn ang="0">
                  <a:pos x="1945" y="885"/>
                </a:cxn>
                <a:cxn ang="0">
                  <a:pos x="1976" y="846"/>
                </a:cxn>
                <a:cxn ang="0">
                  <a:pos x="2040" y="751"/>
                </a:cxn>
                <a:cxn ang="0">
                  <a:pos x="1961" y="664"/>
                </a:cxn>
                <a:cxn ang="0">
                  <a:pos x="2032" y="616"/>
                </a:cxn>
                <a:cxn ang="0">
                  <a:pos x="1890" y="530"/>
                </a:cxn>
                <a:cxn ang="0">
                  <a:pos x="1993" y="403"/>
                </a:cxn>
                <a:cxn ang="0">
                  <a:pos x="1952" y="331"/>
                </a:cxn>
                <a:cxn ang="0">
                  <a:pos x="2055" y="300"/>
                </a:cxn>
                <a:cxn ang="0">
                  <a:pos x="2269" y="197"/>
                </a:cxn>
                <a:cxn ang="0">
                  <a:pos x="1969" y="213"/>
                </a:cxn>
                <a:cxn ang="0">
                  <a:pos x="1897" y="158"/>
                </a:cxn>
                <a:cxn ang="0">
                  <a:pos x="1748" y="142"/>
                </a:cxn>
                <a:cxn ang="0">
                  <a:pos x="1636" y="119"/>
                </a:cxn>
                <a:cxn ang="0">
                  <a:pos x="1890" y="71"/>
                </a:cxn>
                <a:cxn ang="0">
                  <a:pos x="1487" y="63"/>
                </a:cxn>
                <a:cxn ang="0">
                  <a:pos x="1305" y="7"/>
                </a:cxn>
                <a:cxn ang="0">
                  <a:pos x="1076" y="47"/>
                </a:cxn>
                <a:cxn ang="0">
                  <a:pos x="1052" y="182"/>
                </a:cxn>
                <a:cxn ang="0">
                  <a:pos x="957" y="127"/>
                </a:cxn>
                <a:cxn ang="0">
                  <a:pos x="894" y="206"/>
                </a:cxn>
                <a:cxn ang="0">
                  <a:pos x="815" y="142"/>
                </a:cxn>
                <a:cxn ang="0">
                  <a:pos x="760" y="174"/>
                </a:cxn>
                <a:cxn ang="0">
                  <a:pos x="578" y="158"/>
                </a:cxn>
                <a:cxn ang="0">
                  <a:pos x="475" y="206"/>
                </a:cxn>
              </a:cxnLst>
              <a:rect l="0" t="0" r="r" b="b"/>
              <a:pathLst>
                <a:path w="2269" h="1921">
                  <a:moveTo>
                    <a:pt x="475" y="206"/>
                  </a:moveTo>
                  <a:lnTo>
                    <a:pt x="436" y="261"/>
                  </a:lnTo>
                  <a:lnTo>
                    <a:pt x="301" y="292"/>
                  </a:lnTo>
                  <a:lnTo>
                    <a:pt x="293" y="388"/>
                  </a:lnTo>
                  <a:lnTo>
                    <a:pt x="190" y="419"/>
                  </a:lnTo>
                  <a:lnTo>
                    <a:pt x="96" y="489"/>
                  </a:lnTo>
                  <a:lnTo>
                    <a:pt x="0" y="522"/>
                  </a:lnTo>
                  <a:lnTo>
                    <a:pt x="9" y="554"/>
                  </a:lnTo>
                  <a:lnTo>
                    <a:pt x="175" y="545"/>
                  </a:lnTo>
                  <a:lnTo>
                    <a:pt x="206" y="592"/>
                  </a:lnTo>
                  <a:lnTo>
                    <a:pt x="135" y="609"/>
                  </a:lnTo>
                  <a:lnTo>
                    <a:pt x="64" y="616"/>
                  </a:lnTo>
                  <a:lnTo>
                    <a:pt x="175" y="695"/>
                  </a:lnTo>
                  <a:lnTo>
                    <a:pt x="451" y="695"/>
                  </a:lnTo>
                  <a:lnTo>
                    <a:pt x="522" y="775"/>
                  </a:lnTo>
                  <a:lnTo>
                    <a:pt x="570" y="901"/>
                  </a:lnTo>
                  <a:lnTo>
                    <a:pt x="594" y="1027"/>
                  </a:lnTo>
                  <a:lnTo>
                    <a:pt x="602" y="1082"/>
                  </a:lnTo>
                  <a:lnTo>
                    <a:pt x="664" y="1051"/>
                  </a:lnTo>
                  <a:lnTo>
                    <a:pt x="692" y="1121"/>
                  </a:lnTo>
                  <a:lnTo>
                    <a:pt x="610" y="1149"/>
                  </a:lnTo>
                  <a:lnTo>
                    <a:pt x="720" y="1194"/>
                  </a:lnTo>
                  <a:lnTo>
                    <a:pt x="704" y="1288"/>
                  </a:lnTo>
                  <a:lnTo>
                    <a:pt x="617" y="1336"/>
                  </a:lnTo>
                  <a:lnTo>
                    <a:pt x="594" y="1407"/>
                  </a:lnTo>
                  <a:lnTo>
                    <a:pt x="633" y="1549"/>
                  </a:lnTo>
                  <a:lnTo>
                    <a:pt x="688" y="1700"/>
                  </a:lnTo>
                  <a:lnTo>
                    <a:pt x="760" y="1842"/>
                  </a:lnTo>
                  <a:lnTo>
                    <a:pt x="839" y="1857"/>
                  </a:lnTo>
                  <a:lnTo>
                    <a:pt x="878" y="1921"/>
                  </a:lnTo>
                  <a:lnTo>
                    <a:pt x="949" y="1905"/>
                  </a:lnTo>
                  <a:lnTo>
                    <a:pt x="1028" y="1707"/>
                  </a:lnTo>
                  <a:lnTo>
                    <a:pt x="1084" y="1636"/>
                  </a:lnTo>
                  <a:lnTo>
                    <a:pt x="1091" y="1533"/>
                  </a:lnTo>
                  <a:lnTo>
                    <a:pt x="1226" y="1502"/>
                  </a:lnTo>
                  <a:lnTo>
                    <a:pt x="1367" y="1470"/>
                  </a:lnTo>
                  <a:lnTo>
                    <a:pt x="1439" y="1328"/>
                  </a:lnTo>
                  <a:lnTo>
                    <a:pt x="1613" y="1343"/>
                  </a:lnTo>
                  <a:lnTo>
                    <a:pt x="1763" y="1240"/>
                  </a:lnTo>
                  <a:lnTo>
                    <a:pt x="1834" y="1161"/>
                  </a:lnTo>
                  <a:lnTo>
                    <a:pt x="1755" y="1139"/>
                  </a:lnTo>
                  <a:lnTo>
                    <a:pt x="1660" y="1122"/>
                  </a:lnTo>
                  <a:lnTo>
                    <a:pt x="1676" y="1067"/>
                  </a:lnTo>
                  <a:lnTo>
                    <a:pt x="1731" y="1051"/>
                  </a:lnTo>
                  <a:lnTo>
                    <a:pt x="1794" y="1098"/>
                  </a:lnTo>
                  <a:lnTo>
                    <a:pt x="1858" y="1130"/>
                  </a:lnTo>
                  <a:lnTo>
                    <a:pt x="1890" y="1082"/>
                  </a:lnTo>
                  <a:lnTo>
                    <a:pt x="1849" y="1004"/>
                  </a:lnTo>
                  <a:lnTo>
                    <a:pt x="1763" y="972"/>
                  </a:lnTo>
                  <a:lnTo>
                    <a:pt x="1770" y="916"/>
                  </a:lnTo>
                  <a:lnTo>
                    <a:pt x="1834" y="916"/>
                  </a:lnTo>
                  <a:lnTo>
                    <a:pt x="1858" y="940"/>
                  </a:lnTo>
                  <a:lnTo>
                    <a:pt x="1882" y="901"/>
                  </a:lnTo>
                  <a:lnTo>
                    <a:pt x="1945" y="885"/>
                  </a:lnTo>
                  <a:lnTo>
                    <a:pt x="1921" y="846"/>
                  </a:lnTo>
                  <a:lnTo>
                    <a:pt x="1976" y="846"/>
                  </a:lnTo>
                  <a:lnTo>
                    <a:pt x="2024" y="798"/>
                  </a:lnTo>
                  <a:lnTo>
                    <a:pt x="2040" y="751"/>
                  </a:lnTo>
                  <a:lnTo>
                    <a:pt x="1969" y="719"/>
                  </a:lnTo>
                  <a:lnTo>
                    <a:pt x="1961" y="664"/>
                  </a:lnTo>
                  <a:lnTo>
                    <a:pt x="1993" y="624"/>
                  </a:lnTo>
                  <a:lnTo>
                    <a:pt x="2032" y="616"/>
                  </a:lnTo>
                  <a:lnTo>
                    <a:pt x="2024" y="545"/>
                  </a:lnTo>
                  <a:lnTo>
                    <a:pt x="1890" y="530"/>
                  </a:lnTo>
                  <a:lnTo>
                    <a:pt x="1921" y="451"/>
                  </a:lnTo>
                  <a:lnTo>
                    <a:pt x="1993" y="403"/>
                  </a:lnTo>
                  <a:lnTo>
                    <a:pt x="2032" y="371"/>
                  </a:lnTo>
                  <a:lnTo>
                    <a:pt x="1952" y="331"/>
                  </a:lnTo>
                  <a:lnTo>
                    <a:pt x="2008" y="309"/>
                  </a:lnTo>
                  <a:lnTo>
                    <a:pt x="2055" y="300"/>
                  </a:lnTo>
                  <a:lnTo>
                    <a:pt x="2166" y="268"/>
                  </a:lnTo>
                  <a:lnTo>
                    <a:pt x="2269" y="197"/>
                  </a:lnTo>
                  <a:lnTo>
                    <a:pt x="2072" y="182"/>
                  </a:lnTo>
                  <a:lnTo>
                    <a:pt x="1969" y="213"/>
                  </a:lnTo>
                  <a:lnTo>
                    <a:pt x="1827" y="285"/>
                  </a:lnTo>
                  <a:lnTo>
                    <a:pt x="1897" y="158"/>
                  </a:lnTo>
                  <a:lnTo>
                    <a:pt x="1739" y="213"/>
                  </a:lnTo>
                  <a:lnTo>
                    <a:pt x="1748" y="142"/>
                  </a:lnTo>
                  <a:lnTo>
                    <a:pt x="1487" y="166"/>
                  </a:lnTo>
                  <a:lnTo>
                    <a:pt x="1636" y="119"/>
                  </a:lnTo>
                  <a:lnTo>
                    <a:pt x="1827" y="86"/>
                  </a:lnTo>
                  <a:lnTo>
                    <a:pt x="1890" y="71"/>
                  </a:lnTo>
                  <a:lnTo>
                    <a:pt x="1763" y="24"/>
                  </a:lnTo>
                  <a:lnTo>
                    <a:pt x="1487" y="63"/>
                  </a:lnTo>
                  <a:lnTo>
                    <a:pt x="1636" y="0"/>
                  </a:lnTo>
                  <a:lnTo>
                    <a:pt x="1305" y="7"/>
                  </a:lnTo>
                  <a:lnTo>
                    <a:pt x="1210" y="95"/>
                  </a:lnTo>
                  <a:lnTo>
                    <a:pt x="1076" y="47"/>
                  </a:lnTo>
                  <a:lnTo>
                    <a:pt x="1076" y="110"/>
                  </a:lnTo>
                  <a:lnTo>
                    <a:pt x="1052" y="182"/>
                  </a:lnTo>
                  <a:lnTo>
                    <a:pt x="1005" y="127"/>
                  </a:lnTo>
                  <a:lnTo>
                    <a:pt x="957" y="127"/>
                  </a:lnTo>
                  <a:lnTo>
                    <a:pt x="894" y="127"/>
                  </a:lnTo>
                  <a:lnTo>
                    <a:pt x="894" y="206"/>
                  </a:lnTo>
                  <a:lnTo>
                    <a:pt x="823" y="206"/>
                  </a:lnTo>
                  <a:lnTo>
                    <a:pt x="815" y="142"/>
                  </a:lnTo>
                  <a:lnTo>
                    <a:pt x="743" y="134"/>
                  </a:lnTo>
                  <a:lnTo>
                    <a:pt x="760" y="174"/>
                  </a:lnTo>
                  <a:lnTo>
                    <a:pt x="633" y="127"/>
                  </a:lnTo>
                  <a:lnTo>
                    <a:pt x="578" y="158"/>
                  </a:lnTo>
                  <a:lnTo>
                    <a:pt x="530" y="158"/>
                  </a:lnTo>
                  <a:lnTo>
                    <a:pt x="475" y="20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5" name="Freeform 124"/>
            <p:cNvSpPr>
              <a:spLocks noChangeAspect="1"/>
            </p:cNvSpPr>
            <p:nvPr/>
          </p:nvSpPr>
          <p:spPr bwMode="auto">
            <a:xfrm>
              <a:off x="512990" y="1894570"/>
              <a:ext cx="42198" cy="51474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87"/>
                </a:cxn>
                <a:cxn ang="0">
                  <a:pos x="72" y="32"/>
                </a:cxn>
                <a:cxn ang="0">
                  <a:pos x="24" y="0"/>
                </a:cxn>
              </a:cxnLst>
              <a:rect l="0" t="0" r="r" b="b"/>
              <a:pathLst>
                <a:path w="72" h="87">
                  <a:moveTo>
                    <a:pt x="24" y="0"/>
                  </a:moveTo>
                  <a:lnTo>
                    <a:pt x="0" y="87"/>
                  </a:lnTo>
                  <a:lnTo>
                    <a:pt x="72" y="3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6" name="Freeform 125"/>
            <p:cNvSpPr>
              <a:spLocks noChangeAspect="1"/>
            </p:cNvSpPr>
            <p:nvPr/>
          </p:nvSpPr>
          <p:spPr bwMode="auto">
            <a:xfrm>
              <a:off x="3690120" y="4202025"/>
              <a:ext cx="235604" cy="182821"/>
            </a:xfrm>
            <a:custGeom>
              <a:avLst/>
              <a:gdLst/>
              <a:ahLst/>
              <a:cxnLst>
                <a:cxn ang="0">
                  <a:pos x="294" y="141"/>
                </a:cxn>
                <a:cxn ang="0">
                  <a:pos x="263" y="133"/>
                </a:cxn>
                <a:cxn ang="0">
                  <a:pos x="239" y="164"/>
                </a:cxn>
                <a:cxn ang="0">
                  <a:pos x="211" y="212"/>
                </a:cxn>
                <a:cxn ang="0">
                  <a:pos x="200" y="260"/>
                </a:cxn>
                <a:cxn ang="0">
                  <a:pos x="191" y="298"/>
                </a:cxn>
                <a:cxn ang="0">
                  <a:pos x="136" y="307"/>
                </a:cxn>
                <a:cxn ang="0">
                  <a:pos x="104" y="280"/>
                </a:cxn>
                <a:cxn ang="0">
                  <a:pos x="89" y="303"/>
                </a:cxn>
                <a:cxn ang="0">
                  <a:pos x="25" y="298"/>
                </a:cxn>
                <a:cxn ang="0">
                  <a:pos x="0" y="281"/>
                </a:cxn>
                <a:cxn ang="0">
                  <a:pos x="20" y="253"/>
                </a:cxn>
                <a:cxn ang="0">
                  <a:pos x="31" y="209"/>
                </a:cxn>
                <a:cxn ang="0">
                  <a:pos x="88" y="213"/>
                </a:cxn>
                <a:cxn ang="0">
                  <a:pos x="111" y="165"/>
                </a:cxn>
                <a:cxn ang="0">
                  <a:pos x="155" y="134"/>
                </a:cxn>
                <a:cxn ang="0">
                  <a:pos x="193" y="115"/>
                </a:cxn>
                <a:cxn ang="0">
                  <a:pos x="206" y="60"/>
                </a:cxn>
                <a:cxn ang="0">
                  <a:pos x="241" y="40"/>
                </a:cxn>
                <a:cxn ang="0">
                  <a:pos x="250" y="0"/>
                </a:cxn>
                <a:cxn ang="0">
                  <a:pos x="305" y="27"/>
                </a:cxn>
                <a:cxn ang="0">
                  <a:pos x="337" y="40"/>
                </a:cxn>
                <a:cxn ang="0">
                  <a:pos x="392" y="51"/>
                </a:cxn>
                <a:cxn ang="0">
                  <a:pos x="403" y="99"/>
                </a:cxn>
                <a:cxn ang="0">
                  <a:pos x="360" y="134"/>
                </a:cxn>
                <a:cxn ang="0">
                  <a:pos x="320" y="162"/>
                </a:cxn>
                <a:cxn ang="0">
                  <a:pos x="294" y="141"/>
                </a:cxn>
              </a:cxnLst>
              <a:rect l="0" t="0" r="r" b="b"/>
              <a:pathLst>
                <a:path w="403" h="307">
                  <a:moveTo>
                    <a:pt x="294" y="141"/>
                  </a:moveTo>
                  <a:lnTo>
                    <a:pt x="263" y="133"/>
                  </a:lnTo>
                  <a:lnTo>
                    <a:pt x="239" y="164"/>
                  </a:lnTo>
                  <a:lnTo>
                    <a:pt x="211" y="212"/>
                  </a:lnTo>
                  <a:lnTo>
                    <a:pt x="200" y="260"/>
                  </a:lnTo>
                  <a:lnTo>
                    <a:pt x="191" y="298"/>
                  </a:lnTo>
                  <a:lnTo>
                    <a:pt x="136" y="307"/>
                  </a:lnTo>
                  <a:lnTo>
                    <a:pt x="104" y="280"/>
                  </a:lnTo>
                  <a:lnTo>
                    <a:pt x="89" y="303"/>
                  </a:lnTo>
                  <a:lnTo>
                    <a:pt x="25" y="298"/>
                  </a:lnTo>
                  <a:lnTo>
                    <a:pt x="0" y="281"/>
                  </a:lnTo>
                  <a:lnTo>
                    <a:pt x="20" y="253"/>
                  </a:lnTo>
                  <a:lnTo>
                    <a:pt x="31" y="209"/>
                  </a:lnTo>
                  <a:lnTo>
                    <a:pt x="88" y="213"/>
                  </a:lnTo>
                  <a:lnTo>
                    <a:pt x="111" y="165"/>
                  </a:lnTo>
                  <a:lnTo>
                    <a:pt x="155" y="134"/>
                  </a:lnTo>
                  <a:lnTo>
                    <a:pt x="193" y="115"/>
                  </a:lnTo>
                  <a:lnTo>
                    <a:pt x="206" y="60"/>
                  </a:lnTo>
                  <a:lnTo>
                    <a:pt x="241" y="40"/>
                  </a:lnTo>
                  <a:lnTo>
                    <a:pt x="250" y="0"/>
                  </a:lnTo>
                  <a:lnTo>
                    <a:pt x="305" y="27"/>
                  </a:lnTo>
                  <a:lnTo>
                    <a:pt x="337" y="40"/>
                  </a:lnTo>
                  <a:lnTo>
                    <a:pt x="392" y="51"/>
                  </a:lnTo>
                  <a:lnTo>
                    <a:pt x="403" y="99"/>
                  </a:lnTo>
                  <a:lnTo>
                    <a:pt x="360" y="134"/>
                  </a:lnTo>
                  <a:lnTo>
                    <a:pt x="320" y="162"/>
                  </a:lnTo>
                  <a:lnTo>
                    <a:pt x="294" y="14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7" name="Freeform 126"/>
            <p:cNvSpPr>
              <a:spLocks noChangeAspect="1"/>
            </p:cNvSpPr>
            <p:nvPr/>
          </p:nvSpPr>
          <p:spPr bwMode="auto">
            <a:xfrm>
              <a:off x="984196" y="4383071"/>
              <a:ext cx="42198" cy="21299"/>
            </a:xfrm>
            <a:custGeom>
              <a:avLst/>
              <a:gdLst/>
              <a:ahLst/>
              <a:cxnLst>
                <a:cxn ang="0">
                  <a:pos x="6" y="5"/>
                </a:cxn>
                <a:cxn ang="0">
                  <a:pos x="71" y="0"/>
                </a:cxn>
                <a:cxn ang="0">
                  <a:pos x="59" y="33"/>
                </a:cxn>
                <a:cxn ang="0">
                  <a:pos x="11" y="36"/>
                </a:cxn>
                <a:cxn ang="0">
                  <a:pos x="0" y="23"/>
                </a:cxn>
                <a:cxn ang="0">
                  <a:pos x="6" y="5"/>
                </a:cxn>
              </a:cxnLst>
              <a:rect l="0" t="0" r="r" b="b"/>
              <a:pathLst>
                <a:path w="71" h="36">
                  <a:moveTo>
                    <a:pt x="6" y="5"/>
                  </a:moveTo>
                  <a:lnTo>
                    <a:pt x="71" y="0"/>
                  </a:lnTo>
                  <a:lnTo>
                    <a:pt x="59" y="33"/>
                  </a:lnTo>
                  <a:lnTo>
                    <a:pt x="11" y="36"/>
                  </a:lnTo>
                  <a:lnTo>
                    <a:pt x="0" y="23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8" name="Freeform 127"/>
            <p:cNvSpPr>
              <a:spLocks noChangeAspect="1"/>
            </p:cNvSpPr>
            <p:nvPr/>
          </p:nvSpPr>
          <p:spPr bwMode="auto">
            <a:xfrm>
              <a:off x="2621113" y="2652479"/>
              <a:ext cx="1513841" cy="1127103"/>
            </a:xfrm>
            <a:custGeom>
              <a:avLst/>
              <a:gdLst/>
              <a:ahLst/>
              <a:cxnLst>
                <a:cxn ang="0">
                  <a:pos x="1969" y="918"/>
                </a:cxn>
                <a:cxn ang="0">
                  <a:pos x="2099" y="926"/>
                </a:cxn>
                <a:cxn ang="0">
                  <a:pos x="2123" y="1016"/>
                </a:cxn>
                <a:cxn ang="0">
                  <a:pos x="2131" y="1198"/>
                </a:cxn>
                <a:cxn ang="0">
                  <a:pos x="2201" y="1364"/>
                </a:cxn>
                <a:cxn ang="0">
                  <a:pos x="2186" y="1546"/>
                </a:cxn>
                <a:cxn ang="0">
                  <a:pos x="2103" y="1677"/>
                </a:cxn>
                <a:cxn ang="0">
                  <a:pos x="2028" y="1739"/>
                </a:cxn>
                <a:cxn ang="0">
                  <a:pos x="1882" y="1800"/>
                </a:cxn>
                <a:cxn ang="0">
                  <a:pos x="1708" y="1906"/>
                </a:cxn>
                <a:cxn ang="0">
                  <a:pos x="1641" y="1883"/>
                </a:cxn>
                <a:cxn ang="0">
                  <a:pos x="1455" y="1759"/>
                </a:cxn>
                <a:cxn ang="0">
                  <a:pos x="1356" y="1862"/>
                </a:cxn>
                <a:cxn ang="0">
                  <a:pos x="1237" y="1831"/>
                </a:cxn>
                <a:cxn ang="0">
                  <a:pos x="1150" y="1700"/>
                </a:cxn>
                <a:cxn ang="0">
                  <a:pos x="1205" y="1597"/>
                </a:cxn>
                <a:cxn ang="0">
                  <a:pos x="1123" y="1527"/>
                </a:cxn>
                <a:cxn ang="0">
                  <a:pos x="968" y="1452"/>
                </a:cxn>
                <a:cxn ang="0">
                  <a:pos x="814" y="1518"/>
                </a:cxn>
                <a:cxn ang="0">
                  <a:pos x="697" y="1522"/>
                </a:cxn>
                <a:cxn ang="0">
                  <a:pos x="515" y="1471"/>
                </a:cxn>
                <a:cxn ang="0">
                  <a:pos x="447" y="1429"/>
                </a:cxn>
                <a:cxn ang="0">
                  <a:pos x="317" y="1349"/>
                </a:cxn>
                <a:cxn ang="0">
                  <a:pos x="215" y="1226"/>
                </a:cxn>
                <a:cxn ang="0">
                  <a:pos x="55" y="1230"/>
                </a:cxn>
                <a:cxn ang="0">
                  <a:pos x="44" y="1091"/>
                </a:cxn>
                <a:cxn ang="0">
                  <a:pos x="55" y="977"/>
                </a:cxn>
                <a:cxn ang="0">
                  <a:pos x="9" y="879"/>
                </a:cxn>
                <a:cxn ang="0">
                  <a:pos x="131" y="872"/>
                </a:cxn>
                <a:cxn ang="0">
                  <a:pos x="222" y="800"/>
                </a:cxn>
                <a:cxn ang="0">
                  <a:pos x="226" y="643"/>
                </a:cxn>
                <a:cxn ang="0">
                  <a:pos x="348" y="575"/>
                </a:cxn>
                <a:cxn ang="0">
                  <a:pos x="455" y="504"/>
                </a:cxn>
                <a:cxn ang="0">
                  <a:pos x="534" y="369"/>
                </a:cxn>
                <a:cxn ang="0">
                  <a:pos x="598" y="348"/>
                </a:cxn>
                <a:cxn ang="0">
                  <a:pos x="712" y="510"/>
                </a:cxn>
                <a:cxn ang="0">
                  <a:pos x="913" y="570"/>
                </a:cxn>
                <a:cxn ang="0">
                  <a:pos x="1229" y="677"/>
                </a:cxn>
                <a:cxn ang="0">
                  <a:pos x="1419" y="708"/>
                </a:cxn>
                <a:cxn ang="0">
                  <a:pos x="1617" y="633"/>
                </a:cxn>
                <a:cxn ang="0">
                  <a:pos x="1684" y="546"/>
                </a:cxn>
                <a:cxn ang="0">
                  <a:pos x="1834" y="431"/>
                </a:cxn>
                <a:cxn ang="0">
                  <a:pos x="1804" y="357"/>
                </a:cxn>
                <a:cxn ang="0">
                  <a:pos x="1752" y="248"/>
                </a:cxn>
                <a:cxn ang="0">
                  <a:pos x="1858" y="246"/>
                </a:cxn>
                <a:cxn ang="0">
                  <a:pos x="1873" y="48"/>
                </a:cxn>
                <a:cxn ang="0">
                  <a:pos x="2138" y="55"/>
                </a:cxn>
                <a:cxn ang="0">
                  <a:pos x="2225" y="190"/>
                </a:cxn>
                <a:cxn ang="0">
                  <a:pos x="2376" y="282"/>
                </a:cxn>
                <a:cxn ang="0">
                  <a:pos x="2478" y="341"/>
                </a:cxn>
                <a:cxn ang="0">
                  <a:pos x="2581" y="388"/>
                </a:cxn>
                <a:cxn ang="0">
                  <a:pos x="2502" y="519"/>
                </a:cxn>
                <a:cxn ang="0">
                  <a:pos x="2526" y="626"/>
                </a:cxn>
                <a:cxn ang="0">
                  <a:pos x="2435" y="677"/>
                </a:cxn>
                <a:cxn ang="0">
                  <a:pos x="2304" y="712"/>
                </a:cxn>
                <a:cxn ang="0">
                  <a:pos x="2182" y="850"/>
                </a:cxn>
                <a:cxn ang="0">
                  <a:pos x="2099" y="767"/>
                </a:cxn>
                <a:cxn ang="0">
                  <a:pos x="2032" y="823"/>
                </a:cxn>
              </a:cxnLst>
              <a:rect l="0" t="0" r="r" b="b"/>
              <a:pathLst>
                <a:path w="2581" h="1906">
                  <a:moveTo>
                    <a:pt x="2032" y="823"/>
                  </a:moveTo>
                  <a:lnTo>
                    <a:pt x="1965" y="870"/>
                  </a:lnTo>
                  <a:lnTo>
                    <a:pt x="1969" y="918"/>
                  </a:lnTo>
                  <a:lnTo>
                    <a:pt x="2016" y="957"/>
                  </a:lnTo>
                  <a:lnTo>
                    <a:pt x="2063" y="961"/>
                  </a:lnTo>
                  <a:lnTo>
                    <a:pt x="2099" y="926"/>
                  </a:lnTo>
                  <a:lnTo>
                    <a:pt x="2166" y="933"/>
                  </a:lnTo>
                  <a:lnTo>
                    <a:pt x="2182" y="997"/>
                  </a:lnTo>
                  <a:lnTo>
                    <a:pt x="2123" y="1016"/>
                  </a:lnTo>
                  <a:lnTo>
                    <a:pt x="2072" y="1060"/>
                  </a:lnTo>
                  <a:lnTo>
                    <a:pt x="2091" y="1119"/>
                  </a:lnTo>
                  <a:lnTo>
                    <a:pt x="2131" y="1198"/>
                  </a:lnTo>
                  <a:lnTo>
                    <a:pt x="2190" y="1257"/>
                  </a:lnTo>
                  <a:lnTo>
                    <a:pt x="2190" y="1309"/>
                  </a:lnTo>
                  <a:lnTo>
                    <a:pt x="2201" y="1364"/>
                  </a:lnTo>
                  <a:lnTo>
                    <a:pt x="2225" y="1494"/>
                  </a:lnTo>
                  <a:lnTo>
                    <a:pt x="2193" y="1502"/>
                  </a:lnTo>
                  <a:lnTo>
                    <a:pt x="2186" y="1546"/>
                  </a:lnTo>
                  <a:lnTo>
                    <a:pt x="2142" y="1586"/>
                  </a:lnTo>
                  <a:lnTo>
                    <a:pt x="2146" y="1645"/>
                  </a:lnTo>
                  <a:lnTo>
                    <a:pt x="2103" y="1677"/>
                  </a:lnTo>
                  <a:lnTo>
                    <a:pt x="2072" y="1680"/>
                  </a:lnTo>
                  <a:lnTo>
                    <a:pt x="2063" y="1728"/>
                  </a:lnTo>
                  <a:lnTo>
                    <a:pt x="2028" y="1739"/>
                  </a:lnTo>
                  <a:lnTo>
                    <a:pt x="2020" y="1783"/>
                  </a:lnTo>
                  <a:lnTo>
                    <a:pt x="1941" y="1807"/>
                  </a:lnTo>
                  <a:lnTo>
                    <a:pt x="1882" y="1800"/>
                  </a:lnTo>
                  <a:lnTo>
                    <a:pt x="1811" y="1822"/>
                  </a:lnTo>
                  <a:lnTo>
                    <a:pt x="1739" y="1877"/>
                  </a:lnTo>
                  <a:lnTo>
                    <a:pt x="1708" y="1906"/>
                  </a:lnTo>
                  <a:lnTo>
                    <a:pt x="1688" y="1842"/>
                  </a:lnTo>
                  <a:lnTo>
                    <a:pt x="1660" y="1827"/>
                  </a:lnTo>
                  <a:lnTo>
                    <a:pt x="1641" y="1883"/>
                  </a:lnTo>
                  <a:lnTo>
                    <a:pt x="1573" y="1783"/>
                  </a:lnTo>
                  <a:lnTo>
                    <a:pt x="1502" y="1759"/>
                  </a:lnTo>
                  <a:lnTo>
                    <a:pt x="1455" y="1759"/>
                  </a:lnTo>
                  <a:lnTo>
                    <a:pt x="1384" y="1800"/>
                  </a:lnTo>
                  <a:lnTo>
                    <a:pt x="1349" y="1815"/>
                  </a:lnTo>
                  <a:lnTo>
                    <a:pt x="1356" y="1862"/>
                  </a:lnTo>
                  <a:lnTo>
                    <a:pt x="1293" y="1870"/>
                  </a:lnTo>
                  <a:lnTo>
                    <a:pt x="1281" y="1839"/>
                  </a:lnTo>
                  <a:lnTo>
                    <a:pt x="1237" y="1831"/>
                  </a:lnTo>
                  <a:lnTo>
                    <a:pt x="1225" y="1756"/>
                  </a:lnTo>
                  <a:lnTo>
                    <a:pt x="1202" y="1708"/>
                  </a:lnTo>
                  <a:lnTo>
                    <a:pt x="1150" y="1700"/>
                  </a:lnTo>
                  <a:lnTo>
                    <a:pt x="1154" y="1660"/>
                  </a:lnTo>
                  <a:lnTo>
                    <a:pt x="1187" y="1636"/>
                  </a:lnTo>
                  <a:lnTo>
                    <a:pt x="1205" y="1597"/>
                  </a:lnTo>
                  <a:lnTo>
                    <a:pt x="1187" y="1546"/>
                  </a:lnTo>
                  <a:lnTo>
                    <a:pt x="1174" y="1518"/>
                  </a:lnTo>
                  <a:lnTo>
                    <a:pt x="1123" y="1527"/>
                  </a:lnTo>
                  <a:lnTo>
                    <a:pt x="1092" y="1479"/>
                  </a:lnTo>
                  <a:lnTo>
                    <a:pt x="1040" y="1452"/>
                  </a:lnTo>
                  <a:lnTo>
                    <a:pt x="968" y="1452"/>
                  </a:lnTo>
                  <a:lnTo>
                    <a:pt x="913" y="1482"/>
                  </a:lnTo>
                  <a:lnTo>
                    <a:pt x="889" y="1517"/>
                  </a:lnTo>
                  <a:lnTo>
                    <a:pt x="814" y="1518"/>
                  </a:lnTo>
                  <a:lnTo>
                    <a:pt x="763" y="1494"/>
                  </a:lnTo>
                  <a:lnTo>
                    <a:pt x="740" y="1538"/>
                  </a:lnTo>
                  <a:lnTo>
                    <a:pt x="697" y="1522"/>
                  </a:lnTo>
                  <a:lnTo>
                    <a:pt x="595" y="1515"/>
                  </a:lnTo>
                  <a:lnTo>
                    <a:pt x="550" y="1491"/>
                  </a:lnTo>
                  <a:lnTo>
                    <a:pt x="515" y="1471"/>
                  </a:lnTo>
                  <a:lnTo>
                    <a:pt x="510" y="1419"/>
                  </a:lnTo>
                  <a:lnTo>
                    <a:pt x="495" y="1452"/>
                  </a:lnTo>
                  <a:lnTo>
                    <a:pt x="447" y="1429"/>
                  </a:lnTo>
                  <a:lnTo>
                    <a:pt x="408" y="1390"/>
                  </a:lnTo>
                  <a:lnTo>
                    <a:pt x="357" y="1388"/>
                  </a:lnTo>
                  <a:lnTo>
                    <a:pt x="317" y="1349"/>
                  </a:lnTo>
                  <a:lnTo>
                    <a:pt x="249" y="1336"/>
                  </a:lnTo>
                  <a:lnTo>
                    <a:pt x="249" y="1253"/>
                  </a:lnTo>
                  <a:lnTo>
                    <a:pt x="215" y="1226"/>
                  </a:lnTo>
                  <a:lnTo>
                    <a:pt x="162" y="1222"/>
                  </a:lnTo>
                  <a:lnTo>
                    <a:pt x="99" y="1261"/>
                  </a:lnTo>
                  <a:lnTo>
                    <a:pt x="55" y="1230"/>
                  </a:lnTo>
                  <a:lnTo>
                    <a:pt x="60" y="1167"/>
                  </a:lnTo>
                  <a:lnTo>
                    <a:pt x="37" y="1135"/>
                  </a:lnTo>
                  <a:lnTo>
                    <a:pt x="44" y="1091"/>
                  </a:lnTo>
                  <a:lnTo>
                    <a:pt x="44" y="1091"/>
                  </a:lnTo>
                  <a:lnTo>
                    <a:pt x="55" y="1017"/>
                  </a:lnTo>
                  <a:lnTo>
                    <a:pt x="55" y="977"/>
                  </a:lnTo>
                  <a:lnTo>
                    <a:pt x="48" y="982"/>
                  </a:lnTo>
                  <a:lnTo>
                    <a:pt x="0" y="951"/>
                  </a:lnTo>
                  <a:lnTo>
                    <a:pt x="9" y="879"/>
                  </a:lnTo>
                  <a:lnTo>
                    <a:pt x="44" y="852"/>
                  </a:lnTo>
                  <a:lnTo>
                    <a:pt x="111" y="896"/>
                  </a:lnTo>
                  <a:lnTo>
                    <a:pt x="131" y="872"/>
                  </a:lnTo>
                  <a:lnTo>
                    <a:pt x="127" y="844"/>
                  </a:lnTo>
                  <a:lnTo>
                    <a:pt x="206" y="829"/>
                  </a:lnTo>
                  <a:lnTo>
                    <a:pt x="222" y="800"/>
                  </a:lnTo>
                  <a:lnTo>
                    <a:pt x="258" y="785"/>
                  </a:lnTo>
                  <a:lnTo>
                    <a:pt x="261" y="658"/>
                  </a:lnTo>
                  <a:lnTo>
                    <a:pt x="226" y="643"/>
                  </a:lnTo>
                  <a:lnTo>
                    <a:pt x="241" y="610"/>
                  </a:lnTo>
                  <a:lnTo>
                    <a:pt x="333" y="599"/>
                  </a:lnTo>
                  <a:lnTo>
                    <a:pt x="348" y="575"/>
                  </a:lnTo>
                  <a:lnTo>
                    <a:pt x="352" y="513"/>
                  </a:lnTo>
                  <a:lnTo>
                    <a:pt x="399" y="489"/>
                  </a:lnTo>
                  <a:lnTo>
                    <a:pt x="455" y="504"/>
                  </a:lnTo>
                  <a:lnTo>
                    <a:pt x="475" y="402"/>
                  </a:lnTo>
                  <a:lnTo>
                    <a:pt x="499" y="378"/>
                  </a:lnTo>
                  <a:lnTo>
                    <a:pt x="534" y="369"/>
                  </a:lnTo>
                  <a:lnTo>
                    <a:pt x="546" y="334"/>
                  </a:lnTo>
                  <a:lnTo>
                    <a:pt x="574" y="314"/>
                  </a:lnTo>
                  <a:lnTo>
                    <a:pt x="598" y="348"/>
                  </a:lnTo>
                  <a:lnTo>
                    <a:pt x="664" y="384"/>
                  </a:lnTo>
                  <a:lnTo>
                    <a:pt x="681" y="436"/>
                  </a:lnTo>
                  <a:lnTo>
                    <a:pt x="712" y="510"/>
                  </a:lnTo>
                  <a:lnTo>
                    <a:pt x="815" y="530"/>
                  </a:lnTo>
                  <a:lnTo>
                    <a:pt x="861" y="543"/>
                  </a:lnTo>
                  <a:lnTo>
                    <a:pt x="913" y="570"/>
                  </a:lnTo>
                  <a:lnTo>
                    <a:pt x="946" y="626"/>
                  </a:lnTo>
                  <a:lnTo>
                    <a:pt x="977" y="657"/>
                  </a:lnTo>
                  <a:lnTo>
                    <a:pt x="1229" y="677"/>
                  </a:lnTo>
                  <a:lnTo>
                    <a:pt x="1285" y="692"/>
                  </a:lnTo>
                  <a:lnTo>
                    <a:pt x="1352" y="729"/>
                  </a:lnTo>
                  <a:lnTo>
                    <a:pt x="1419" y="708"/>
                  </a:lnTo>
                  <a:lnTo>
                    <a:pt x="1455" y="681"/>
                  </a:lnTo>
                  <a:lnTo>
                    <a:pt x="1546" y="692"/>
                  </a:lnTo>
                  <a:lnTo>
                    <a:pt x="1617" y="633"/>
                  </a:lnTo>
                  <a:lnTo>
                    <a:pt x="1625" y="578"/>
                  </a:lnTo>
                  <a:lnTo>
                    <a:pt x="1621" y="526"/>
                  </a:lnTo>
                  <a:lnTo>
                    <a:pt x="1684" y="546"/>
                  </a:lnTo>
                  <a:lnTo>
                    <a:pt x="1728" y="503"/>
                  </a:lnTo>
                  <a:lnTo>
                    <a:pt x="1767" y="471"/>
                  </a:lnTo>
                  <a:lnTo>
                    <a:pt x="1834" y="431"/>
                  </a:lnTo>
                  <a:lnTo>
                    <a:pt x="1914" y="396"/>
                  </a:lnTo>
                  <a:lnTo>
                    <a:pt x="1877" y="348"/>
                  </a:lnTo>
                  <a:lnTo>
                    <a:pt x="1804" y="357"/>
                  </a:lnTo>
                  <a:lnTo>
                    <a:pt x="1767" y="367"/>
                  </a:lnTo>
                  <a:lnTo>
                    <a:pt x="1757" y="348"/>
                  </a:lnTo>
                  <a:lnTo>
                    <a:pt x="1752" y="248"/>
                  </a:lnTo>
                  <a:lnTo>
                    <a:pt x="1763" y="210"/>
                  </a:lnTo>
                  <a:lnTo>
                    <a:pt x="1798" y="246"/>
                  </a:lnTo>
                  <a:lnTo>
                    <a:pt x="1858" y="246"/>
                  </a:lnTo>
                  <a:lnTo>
                    <a:pt x="1870" y="158"/>
                  </a:lnTo>
                  <a:lnTo>
                    <a:pt x="1905" y="127"/>
                  </a:lnTo>
                  <a:lnTo>
                    <a:pt x="1873" y="48"/>
                  </a:lnTo>
                  <a:lnTo>
                    <a:pt x="1897" y="0"/>
                  </a:lnTo>
                  <a:lnTo>
                    <a:pt x="2091" y="5"/>
                  </a:lnTo>
                  <a:lnTo>
                    <a:pt x="2138" y="55"/>
                  </a:lnTo>
                  <a:lnTo>
                    <a:pt x="2182" y="96"/>
                  </a:lnTo>
                  <a:lnTo>
                    <a:pt x="2214" y="135"/>
                  </a:lnTo>
                  <a:lnTo>
                    <a:pt x="2225" y="190"/>
                  </a:lnTo>
                  <a:lnTo>
                    <a:pt x="2261" y="234"/>
                  </a:lnTo>
                  <a:lnTo>
                    <a:pt x="2340" y="250"/>
                  </a:lnTo>
                  <a:lnTo>
                    <a:pt x="2376" y="282"/>
                  </a:lnTo>
                  <a:lnTo>
                    <a:pt x="2414" y="309"/>
                  </a:lnTo>
                  <a:lnTo>
                    <a:pt x="2431" y="337"/>
                  </a:lnTo>
                  <a:lnTo>
                    <a:pt x="2478" y="341"/>
                  </a:lnTo>
                  <a:lnTo>
                    <a:pt x="2558" y="325"/>
                  </a:lnTo>
                  <a:lnTo>
                    <a:pt x="2573" y="348"/>
                  </a:lnTo>
                  <a:lnTo>
                    <a:pt x="2581" y="388"/>
                  </a:lnTo>
                  <a:lnTo>
                    <a:pt x="2549" y="412"/>
                  </a:lnTo>
                  <a:lnTo>
                    <a:pt x="2545" y="526"/>
                  </a:lnTo>
                  <a:lnTo>
                    <a:pt x="2502" y="519"/>
                  </a:lnTo>
                  <a:lnTo>
                    <a:pt x="2478" y="565"/>
                  </a:lnTo>
                  <a:lnTo>
                    <a:pt x="2482" y="617"/>
                  </a:lnTo>
                  <a:lnTo>
                    <a:pt x="2526" y="626"/>
                  </a:lnTo>
                  <a:lnTo>
                    <a:pt x="2524" y="626"/>
                  </a:lnTo>
                  <a:lnTo>
                    <a:pt x="2478" y="661"/>
                  </a:lnTo>
                  <a:lnTo>
                    <a:pt x="2435" y="677"/>
                  </a:lnTo>
                  <a:lnTo>
                    <a:pt x="2387" y="729"/>
                  </a:lnTo>
                  <a:lnTo>
                    <a:pt x="2344" y="729"/>
                  </a:lnTo>
                  <a:lnTo>
                    <a:pt x="2304" y="712"/>
                  </a:lnTo>
                  <a:lnTo>
                    <a:pt x="2280" y="788"/>
                  </a:lnTo>
                  <a:lnTo>
                    <a:pt x="2237" y="815"/>
                  </a:lnTo>
                  <a:lnTo>
                    <a:pt x="2182" y="850"/>
                  </a:lnTo>
                  <a:lnTo>
                    <a:pt x="2114" y="874"/>
                  </a:lnTo>
                  <a:lnTo>
                    <a:pt x="2111" y="819"/>
                  </a:lnTo>
                  <a:lnTo>
                    <a:pt x="2099" y="767"/>
                  </a:lnTo>
                  <a:lnTo>
                    <a:pt x="2079" y="764"/>
                  </a:lnTo>
                  <a:lnTo>
                    <a:pt x="2052" y="788"/>
                  </a:lnTo>
                  <a:lnTo>
                    <a:pt x="2032" y="82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99" name="Freeform 128"/>
            <p:cNvSpPr>
              <a:spLocks noChangeAspect="1"/>
            </p:cNvSpPr>
            <p:nvPr/>
          </p:nvSpPr>
          <p:spPr bwMode="auto">
            <a:xfrm>
              <a:off x="2621113" y="2652479"/>
              <a:ext cx="1513841" cy="1127103"/>
            </a:xfrm>
            <a:custGeom>
              <a:avLst/>
              <a:gdLst/>
              <a:ahLst/>
              <a:cxnLst>
                <a:cxn ang="0">
                  <a:pos x="1969" y="918"/>
                </a:cxn>
                <a:cxn ang="0">
                  <a:pos x="2099" y="926"/>
                </a:cxn>
                <a:cxn ang="0">
                  <a:pos x="2123" y="1016"/>
                </a:cxn>
                <a:cxn ang="0">
                  <a:pos x="2131" y="1198"/>
                </a:cxn>
                <a:cxn ang="0">
                  <a:pos x="2201" y="1364"/>
                </a:cxn>
                <a:cxn ang="0">
                  <a:pos x="2186" y="1546"/>
                </a:cxn>
                <a:cxn ang="0">
                  <a:pos x="2103" y="1677"/>
                </a:cxn>
                <a:cxn ang="0">
                  <a:pos x="2028" y="1739"/>
                </a:cxn>
                <a:cxn ang="0">
                  <a:pos x="1882" y="1800"/>
                </a:cxn>
                <a:cxn ang="0">
                  <a:pos x="1708" y="1906"/>
                </a:cxn>
                <a:cxn ang="0">
                  <a:pos x="1641" y="1883"/>
                </a:cxn>
                <a:cxn ang="0">
                  <a:pos x="1455" y="1759"/>
                </a:cxn>
                <a:cxn ang="0">
                  <a:pos x="1356" y="1862"/>
                </a:cxn>
                <a:cxn ang="0">
                  <a:pos x="1237" y="1831"/>
                </a:cxn>
                <a:cxn ang="0">
                  <a:pos x="1150" y="1700"/>
                </a:cxn>
                <a:cxn ang="0">
                  <a:pos x="1205" y="1597"/>
                </a:cxn>
                <a:cxn ang="0">
                  <a:pos x="1123" y="1527"/>
                </a:cxn>
                <a:cxn ang="0">
                  <a:pos x="968" y="1452"/>
                </a:cxn>
                <a:cxn ang="0">
                  <a:pos x="814" y="1518"/>
                </a:cxn>
                <a:cxn ang="0">
                  <a:pos x="697" y="1522"/>
                </a:cxn>
                <a:cxn ang="0">
                  <a:pos x="515" y="1471"/>
                </a:cxn>
                <a:cxn ang="0">
                  <a:pos x="447" y="1429"/>
                </a:cxn>
                <a:cxn ang="0">
                  <a:pos x="317" y="1349"/>
                </a:cxn>
                <a:cxn ang="0">
                  <a:pos x="215" y="1226"/>
                </a:cxn>
                <a:cxn ang="0">
                  <a:pos x="55" y="1230"/>
                </a:cxn>
                <a:cxn ang="0">
                  <a:pos x="44" y="1091"/>
                </a:cxn>
                <a:cxn ang="0">
                  <a:pos x="55" y="977"/>
                </a:cxn>
                <a:cxn ang="0">
                  <a:pos x="9" y="879"/>
                </a:cxn>
                <a:cxn ang="0">
                  <a:pos x="131" y="872"/>
                </a:cxn>
                <a:cxn ang="0">
                  <a:pos x="222" y="800"/>
                </a:cxn>
                <a:cxn ang="0">
                  <a:pos x="226" y="643"/>
                </a:cxn>
                <a:cxn ang="0">
                  <a:pos x="348" y="575"/>
                </a:cxn>
                <a:cxn ang="0">
                  <a:pos x="455" y="504"/>
                </a:cxn>
                <a:cxn ang="0">
                  <a:pos x="534" y="369"/>
                </a:cxn>
                <a:cxn ang="0">
                  <a:pos x="598" y="348"/>
                </a:cxn>
                <a:cxn ang="0">
                  <a:pos x="712" y="510"/>
                </a:cxn>
                <a:cxn ang="0">
                  <a:pos x="913" y="570"/>
                </a:cxn>
                <a:cxn ang="0">
                  <a:pos x="1229" y="677"/>
                </a:cxn>
                <a:cxn ang="0">
                  <a:pos x="1419" y="708"/>
                </a:cxn>
                <a:cxn ang="0">
                  <a:pos x="1617" y="633"/>
                </a:cxn>
                <a:cxn ang="0">
                  <a:pos x="1684" y="546"/>
                </a:cxn>
                <a:cxn ang="0">
                  <a:pos x="1834" y="431"/>
                </a:cxn>
                <a:cxn ang="0">
                  <a:pos x="1804" y="357"/>
                </a:cxn>
                <a:cxn ang="0">
                  <a:pos x="1752" y="248"/>
                </a:cxn>
                <a:cxn ang="0">
                  <a:pos x="1858" y="246"/>
                </a:cxn>
                <a:cxn ang="0">
                  <a:pos x="1873" y="48"/>
                </a:cxn>
                <a:cxn ang="0">
                  <a:pos x="2138" y="55"/>
                </a:cxn>
                <a:cxn ang="0">
                  <a:pos x="2225" y="190"/>
                </a:cxn>
                <a:cxn ang="0">
                  <a:pos x="2376" y="282"/>
                </a:cxn>
                <a:cxn ang="0">
                  <a:pos x="2478" y="341"/>
                </a:cxn>
                <a:cxn ang="0">
                  <a:pos x="2581" y="388"/>
                </a:cxn>
                <a:cxn ang="0">
                  <a:pos x="2502" y="519"/>
                </a:cxn>
                <a:cxn ang="0">
                  <a:pos x="2526" y="626"/>
                </a:cxn>
                <a:cxn ang="0">
                  <a:pos x="2435" y="677"/>
                </a:cxn>
                <a:cxn ang="0">
                  <a:pos x="2304" y="712"/>
                </a:cxn>
                <a:cxn ang="0">
                  <a:pos x="2182" y="850"/>
                </a:cxn>
                <a:cxn ang="0">
                  <a:pos x="2099" y="767"/>
                </a:cxn>
                <a:cxn ang="0">
                  <a:pos x="2032" y="823"/>
                </a:cxn>
              </a:cxnLst>
              <a:rect l="0" t="0" r="r" b="b"/>
              <a:pathLst>
                <a:path w="2581" h="1906">
                  <a:moveTo>
                    <a:pt x="2032" y="823"/>
                  </a:moveTo>
                  <a:lnTo>
                    <a:pt x="1965" y="870"/>
                  </a:lnTo>
                  <a:lnTo>
                    <a:pt x="1969" y="918"/>
                  </a:lnTo>
                  <a:lnTo>
                    <a:pt x="2016" y="957"/>
                  </a:lnTo>
                  <a:lnTo>
                    <a:pt x="2063" y="961"/>
                  </a:lnTo>
                  <a:lnTo>
                    <a:pt x="2099" y="926"/>
                  </a:lnTo>
                  <a:lnTo>
                    <a:pt x="2166" y="933"/>
                  </a:lnTo>
                  <a:lnTo>
                    <a:pt x="2182" y="997"/>
                  </a:lnTo>
                  <a:lnTo>
                    <a:pt x="2123" y="1016"/>
                  </a:lnTo>
                  <a:lnTo>
                    <a:pt x="2072" y="1060"/>
                  </a:lnTo>
                  <a:lnTo>
                    <a:pt x="2091" y="1119"/>
                  </a:lnTo>
                  <a:lnTo>
                    <a:pt x="2131" y="1198"/>
                  </a:lnTo>
                  <a:lnTo>
                    <a:pt x="2190" y="1257"/>
                  </a:lnTo>
                  <a:lnTo>
                    <a:pt x="2190" y="1309"/>
                  </a:lnTo>
                  <a:lnTo>
                    <a:pt x="2201" y="1364"/>
                  </a:lnTo>
                  <a:lnTo>
                    <a:pt x="2225" y="1494"/>
                  </a:lnTo>
                  <a:lnTo>
                    <a:pt x="2193" y="1502"/>
                  </a:lnTo>
                  <a:lnTo>
                    <a:pt x="2186" y="1546"/>
                  </a:lnTo>
                  <a:lnTo>
                    <a:pt x="2142" y="1586"/>
                  </a:lnTo>
                  <a:lnTo>
                    <a:pt x="2146" y="1645"/>
                  </a:lnTo>
                  <a:lnTo>
                    <a:pt x="2103" y="1677"/>
                  </a:lnTo>
                  <a:lnTo>
                    <a:pt x="2072" y="1680"/>
                  </a:lnTo>
                  <a:lnTo>
                    <a:pt x="2063" y="1728"/>
                  </a:lnTo>
                  <a:lnTo>
                    <a:pt x="2028" y="1739"/>
                  </a:lnTo>
                  <a:lnTo>
                    <a:pt x="2020" y="1783"/>
                  </a:lnTo>
                  <a:lnTo>
                    <a:pt x="1941" y="1807"/>
                  </a:lnTo>
                  <a:lnTo>
                    <a:pt x="1882" y="1800"/>
                  </a:lnTo>
                  <a:lnTo>
                    <a:pt x="1811" y="1822"/>
                  </a:lnTo>
                  <a:lnTo>
                    <a:pt x="1739" y="1877"/>
                  </a:lnTo>
                  <a:lnTo>
                    <a:pt x="1708" y="1906"/>
                  </a:lnTo>
                  <a:lnTo>
                    <a:pt x="1688" y="1842"/>
                  </a:lnTo>
                  <a:lnTo>
                    <a:pt x="1660" y="1827"/>
                  </a:lnTo>
                  <a:lnTo>
                    <a:pt x="1641" y="1883"/>
                  </a:lnTo>
                  <a:lnTo>
                    <a:pt x="1573" y="1783"/>
                  </a:lnTo>
                  <a:lnTo>
                    <a:pt x="1502" y="1759"/>
                  </a:lnTo>
                  <a:lnTo>
                    <a:pt x="1455" y="1759"/>
                  </a:lnTo>
                  <a:lnTo>
                    <a:pt x="1384" y="1800"/>
                  </a:lnTo>
                  <a:lnTo>
                    <a:pt x="1349" y="1815"/>
                  </a:lnTo>
                  <a:lnTo>
                    <a:pt x="1356" y="1862"/>
                  </a:lnTo>
                  <a:lnTo>
                    <a:pt x="1293" y="1870"/>
                  </a:lnTo>
                  <a:lnTo>
                    <a:pt x="1281" y="1839"/>
                  </a:lnTo>
                  <a:lnTo>
                    <a:pt x="1237" y="1831"/>
                  </a:lnTo>
                  <a:lnTo>
                    <a:pt x="1225" y="1756"/>
                  </a:lnTo>
                  <a:lnTo>
                    <a:pt x="1202" y="1708"/>
                  </a:lnTo>
                  <a:lnTo>
                    <a:pt x="1150" y="1700"/>
                  </a:lnTo>
                  <a:lnTo>
                    <a:pt x="1154" y="1660"/>
                  </a:lnTo>
                  <a:lnTo>
                    <a:pt x="1187" y="1636"/>
                  </a:lnTo>
                  <a:lnTo>
                    <a:pt x="1205" y="1597"/>
                  </a:lnTo>
                  <a:lnTo>
                    <a:pt x="1187" y="1546"/>
                  </a:lnTo>
                  <a:lnTo>
                    <a:pt x="1174" y="1518"/>
                  </a:lnTo>
                  <a:lnTo>
                    <a:pt x="1123" y="1527"/>
                  </a:lnTo>
                  <a:lnTo>
                    <a:pt x="1092" y="1479"/>
                  </a:lnTo>
                  <a:lnTo>
                    <a:pt x="1040" y="1452"/>
                  </a:lnTo>
                  <a:lnTo>
                    <a:pt x="968" y="1452"/>
                  </a:lnTo>
                  <a:lnTo>
                    <a:pt x="913" y="1482"/>
                  </a:lnTo>
                  <a:lnTo>
                    <a:pt x="889" y="1517"/>
                  </a:lnTo>
                  <a:lnTo>
                    <a:pt x="814" y="1518"/>
                  </a:lnTo>
                  <a:lnTo>
                    <a:pt x="763" y="1494"/>
                  </a:lnTo>
                  <a:lnTo>
                    <a:pt x="740" y="1538"/>
                  </a:lnTo>
                  <a:lnTo>
                    <a:pt x="697" y="1522"/>
                  </a:lnTo>
                  <a:lnTo>
                    <a:pt x="595" y="1515"/>
                  </a:lnTo>
                  <a:lnTo>
                    <a:pt x="550" y="1491"/>
                  </a:lnTo>
                  <a:lnTo>
                    <a:pt x="515" y="1471"/>
                  </a:lnTo>
                  <a:lnTo>
                    <a:pt x="510" y="1419"/>
                  </a:lnTo>
                  <a:lnTo>
                    <a:pt x="495" y="1452"/>
                  </a:lnTo>
                  <a:lnTo>
                    <a:pt x="447" y="1429"/>
                  </a:lnTo>
                  <a:lnTo>
                    <a:pt x="408" y="1390"/>
                  </a:lnTo>
                  <a:lnTo>
                    <a:pt x="357" y="1388"/>
                  </a:lnTo>
                  <a:lnTo>
                    <a:pt x="317" y="1349"/>
                  </a:lnTo>
                  <a:lnTo>
                    <a:pt x="249" y="1336"/>
                  </a:lnTo>
                  <a:lnTo>
                    <a:pt x="249" y="1253"/>
                  </a:lnTo>
                  <a:lnTo>
                    <a:pt x="215" y="1226"/>
                  </a:lnTo>
                  <a:lnTo>
                    <a:pt x="162" y="1222"/>
                  </a:lnTo>
                  <a:lnTo>
                    <a:pt x="99" y="1261"/>
                  </a:lnTo>
                  <a:lnTo>
                    <a:pt x="55" y="1230"/>
                  </a:lnTo>
                  <a:lnTo>
                    <a:pt x="60" y="1167"/>
                  </a:lnTo>
                  <a:lnTo>
                    <a:pt x="37" y="1135"/>
                  </a:lnTo>
                  <a:lnTo>
                    <a:pt x="44" y="1091"/>
                  </a:lnTo>
                  <a:lnTo>
                    <a:pt x="44" y="1091"/>
                  </a:lnTo>
                  <a:lnTo>
                    <a:pt x="55" y="1017"/>
                  </a:lnTo>
                  <a:lnTo>
                    <a:pt x="55" y="977"/>
                  </a:lnTo>
                  <a:lnTo>
                    <a:pt x="48" y="982"/>
                  </a:lnTo>
                  <a:lnTo>
                    <a:pt x="0" y="951"/>
                  </a:lnTo>
                  <a:lnTo>
                    <a:pt x="9" y="879"/>
                  </a:lnTo>
                  <a:lnTo>
                    <a:pt x="44" y="852"/>
                  </a:lnTo>
                  <a:lnTo>
                    <a:pt x="111" y="896"/>
                  </a:lnTo>
                  <a:lnTo>
                    <a:pt x="131" y="872"/>
                  </a:lnTo>
                  <a:lnTo>
                    <a:pt x="127" y="844"/>
                  </a:lnTo>
                  <a:lnTo>
                    <a:pt x="206" y="829"/>
                  </a:lnTo>
                  <a:lnTo>
                    <a:pt x="222" y="800"/>
                  </a:lnTo>
                  <a:lnTo>
                    <a:pt x="258" y="785"/>
                  </a:lnTo>
                  <a:lnTo>
                    <a:pt x="261" y="658"/>
                  </a:lnTo>
                  <a:lnTo>
                    <a:pt x="226" y="643"/>
                  </a:lnTo>
                  <a:lnTo>
                    <a:pt x="241" y="610"/>
                  </a:lnTo>
                  <a:lnTo>
                    <a:pt x="333" y="599"/>
                  </a:lnTo>
                  <a:lnTo>
                    <a:pt x="348" y="575"/>
                  </a:lnTo>
                  <a:lnTo>
                    <a:pt x="352" y="513"/>
                  </a:lnTo>
                  <a:lnTo>
                    <a:pt x="399" y="489"/>
                  </a:lnTo>
                  <a:lnTo>
                    <a:pt x="455" y="504"/>
                  </a:lnTo>
                  <a:lnTo>
                    <a:pt x="475" y="402"/>
                  </a:lnTo>
                  <a:lnTo>
                    <a:pt x="499" y="378"/>
                  </a:lnTo>
                  <a:lnTo>
                    <a:pt x="534" y="369"/>
                  </a:lnTo>
                  <a:lnTo>
                    <a:pt x="546" y="334"/>
                  </a:lnTo>
                  <a:lnTo>
                    <a:pt x="574" y="314"/>
                  </a:lnTo>
                  <a:lnTo>
                    <a:pt x="598" y="348"/>
                  </a:lnTo>
                  <a:lnTo>
                    <a:pt x="664" y="384"/>
                  </a:lnTo>
                  <a:lnTo>
                    <a:pt x="681" y="436"/>
                  </a:lnTo>
                  <a:lnTo>
                    <a:pt x="712" y="510"/>
                  </a:lnTo>
                  <a:lnTo>
                    <a:pt x="815" y="530"/>
                  </a:lnTo>
                  <a:lnTo>
                    <a:pt x="861" y="543"/>
                  </a:lnTo>
                  <a:lnTo>
                    <a:pt x="913" y="570"/>
                  </a:lnTo>
                  <a:lnTo>
                    <a:pt x="946" y="626"/>
                  </a:lnTo>
                  <a:lnTo>
                    <a:pt x="977" y="657"/>
                  </a:lnTo>
                  <a:lnTo>
                    <a:pt x="1229" y="677"/>
                  </a:lnTo>
                  <a:lnTo>
                    <a:pt x="1285" y="692"/>
                  </a:lnTo>
                  <a:lnTo>
                    <a:pt x="1352" y="729"/>
                  </a:lnTo>
                  <a:lnTo>
                    <a:pt x="1419" y="708"/>
                  </a:lnTo>
                  <a:lnTo>
                    <a:pt x="1455" y="681"/>
                  </a:lnTo>
                  <a:lnTo>
                    <a:pt x="1546" y="692"/>
                  </a:lnTo>
                  <a:lnTo>
                    <a:pt x="1617" y="633"/>
                  </a:lnTo>
                  <a:lnTo>
                    <a:pt x="1625" y="578"/>
                  </a:lnTo>
                  <a:lnTo>
                    <a:pt x="1621" y="526"/>
                  </a:lnTo>
                  <a:lnTo>
                    <a:pt x="1684" y="546"/>
                  </a:lnTo>
                  <a:lnTo>
                    <a:pt x="1728" y="503"/>
                  </a:lnTo>
                  <a:lnTo>
                    <a:pt x="1767" y="471"/>
                  </a:lnTo>
                  <a:lnTo>
                    <a:pt x="1834" y="431"/>
                  </a:lnTo>
                  <a:lnTo>
                    <a:pt x="1914" y="396"/>
                  </a:lnTo>
                  <a:lnTo>
                    <a:pt x="1877" y="348"/>
                  </a:lnTo>
                  <a:lnTo>
                    <a:pt x="1804" y="357"/>
                  </a:lnTo>
                  <a:lnTo>
                    <a:pt x="1767" y="367"/>
                  </a:lnTo>
                  <a:lnTo>
                    <a:pt x="1757" y="348"/>
                  </a:lnTo>
                  <a:lnTo>
                    <a:pt x="1752" y="248"/>
                  </a:lnTo>
                  <a:lnTo>
                    <a:pt x="1763" y="210"/>
                  </a:lnTo>
                  <a:lnTo>
                    <a:pt x="1798" y="246"/>
                  </a:lnTo>
                  <a:lnTo>
                    <a:pt x="1858" y="246"/>
                  </a:lnTo>
                  <a:lnTo>
                    <a:pt x="1870" y="158"/>
                  </a:lnTo>
                  <a:lnTo>
                    <a:pt x="1905" y="127"/>
                  </a:lnTo>
                  <a:lnTo>
                    <a:pt x="1873" y="48"/>
                  </a:lnTo>
                  <a:lnTo>
                    <a:pt x="1897" y="0"/>
                  </a:lnTo>
                  <a:lnTo>
                    <a:pt x="2091" y="5"/>
                  </a:lnTo>
                  <a:lnTo>
                    <a:pt x="2138" y="55"/>
                  </a:lnTo>
                  <a:lnTo>
                    <a:pt x="2182" y="96"/>
                  </a:lnTo>
                  <a:lnTo>
                    <a:pt x="2214" y="135"/>
                  </a:lnTo>
                  <a:lnTo>
                    <a:pt x="2225" y="190"/>
                  </a:lnTo>
                  <a:lnTo>
                    <a:pt x="2261" y="234"/>
                  </a:lnTo>
                  <a:lnTo>
                    <a:pt x="2340" y="250"/>
                  </a:lnTo>
                  <a:lnTo>
                    <a:pt x="2376" y="282"/>
                  </a:lnTo>
                  <a:lnTo>
                    <a:pt x="2414" y="309"/>
                  </a:lnTo>
                  <a:lnTo>
                    <a:pt x="2431" y="337"/>
                  </a:lnTo>
                  <a:lnTo>
                    <a:pt x="2478" y="341"/>
                  </a:lnTo>
                  <a:lnTo>
                    <a:pt x="2558" y="325"/>
                  </a:lnTo>
                  <a:lnTo>
                    <a:pt x="2573" y="348"/>
                  </a:lnTo>
                  <a:lnTo>
                    <a:pt x="2581" y="388"/>
                  </a:lnTo>
                  <a:lnTo>
                    <a:pt x="2549" y="412"/>
                  </a:lnTo>
                  <a:lnTo>
                    <a:pt x="2545" y="526"/>
                  </a:lnTo>
                  <a:lnTo>
                    <a:pt x="2502" y="519"/>
                  </a:lnTo>
                  <a:lnTo>
                    <a:pt x="2478" y="565"/>
                  </a:lnTo>
                  <a:lnTo>
                    <a:pt x="2482" y="617"/>
                  </a:lnTo>
                  <a:lnTo>
                    <a:pt x="2526" y="626"/>
                  </a:lnTo>
                  <a:lnTo>
                    <a:pt x="2524" y="626"/>
                  </a:lnTo>
                  <a:lnTo>
                    <a:pt x="2478" y="661"/>
                  </a:lnTo>
                  <a:lnTo>
                    <a:pt x="2435" y="677"/>
                  </a:lnTo>
                  <a:lnTo>
                    <a:pt x="2387" y="729"/>
                  </a:lnTo>
                  <a:lnTo>
                    <a:pt x="2344" y="729"/>
                  </a:lnTo>
                  <a:lnTo>
                    <a:pt x="2304" y="712"/>
                  </a:lnTo>
                  <a:lnTo>
                    <a:pt x="2280" y="788"/>
                  </a:lnTo>
                  <a:lnTo>
                    <a:pt x="2237" y="815"/>
                  </a:lnTo>
                  <a:lnTo>
                    <a:pt x="2182" y="850"/>
                  </a:lnTo>
                  <a:lnTo>
                    <a:pt x="2114" y="874"/>
                  </a:lnTo>
                  <a:lnTo>
                    <a:pt x="2111" y="819"/>
                  </a:lnTo>
                  <a:lnTo>
                    <a:pt x="2099" y="767"/>
                  </a:lnTo>
                  <a:lnTo>
                    <a:pt x="2079" y="764"/>
                  </a:lnTo>
                  <a:lnTo>
                    <a:pt x="2052" y="788"/>
                  </a:lnTo>
                  <a:lnTo>
                    <a:pt x="2032" y="823"/>
                  </a:lnTo>
                </a:path>
              </a:pathLst>
            </a:custGeom>
            <a:solidFill>
              <a:srgbClr val="A0AEC4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00" name="Freeform 129"/>
            <p:cNvSpPr>
              <a:spLocks noChangeAspect="1"/>
            </p:cNvSpPr>
            <p:nvPr/>
          </p:nvSpPr>
          <p:spPr bwMode="auto">
            <a:xfrm>
              <a:off x="3932756" y="3050071"/>
              <a:ext cx="128351" cy="168622"/>
            </a:xfrm>
            <a:custGeom>
              <a:avLst/>
              <a:gdLst/>
              <a:ahLst/>
              <a:cxnLst>
                <a:cxn ang="0">
                  <a:pos x="214" y="0"/>
                </a:cxn>
                <a:cxn ang="0">
                  <a:pos x="218" y="84"/>
                </a:cxn>
                <a:cxn ang="0">
                  <a:pos x="190" y="99"/>
                </a:cxn>
                <a:cxn ang="0">
                  <a:pos x="166" y="143"/>
                </a:cxn>
                <a:cxn ang="0">
                  <a:pos x="122" y="163"/>
                </a:cxn>
                <a:cxn ang="0">
                  <a:pos x="174" y="213"/>
                </a:cxn>
                <a:cxn ang="0">
                  <a:pos x="159" y="261"/>
                </a:cxn>
                <a:cxn ang="0">
                  <a:pos x="95" y="285"/>
                </a:cxn>
                <a:cxn ang="0">
                  <a:pos x="67" y="257"/>
                </a:cxn>
                <a:cxn ang="0">
                  <a:pos x="12" y="234"/>
                </a:cxn>
                <a:cxn ang="0">
                  <a:pos x="48" y="206"/>
                </a:cxn>
                <a:cxn ang="0">
                  <a:pos x="52" y="154"/>
                </a:cxn>
                <a:cxn ang="0">
                  <a:pos x="12" y="143"/>
                </a:cxn>
                <a:cxn ang="0">
                  <a:pos x="0" y="143"/>
                </a:cxn>
                <a:cxn ang="0">
                  <a:pos x="43" y="116"/>
                </a:cxn>
                <a:cxn ang="0">
                  <a:pos x="67" y="40"/>
                </a:cxn>
                <a:cxn ang="0">
                  <a:pos x="107" y="57"/>
                </a:cxn>
                <a:cxn ang="0">
                  <a:pos x="150" y="57"/>
                </a:cxn>
                <a:cxn ang="0">
                  <a:pos x="198" y="5"/>
                </a:cxn>
                <a:cxn ang="0">
                  <a:pos x="214" y="0"/>
                </a:cxn>
              </a:cxnLst>
              <a:rect l="0" t="0" r="r" b="b"/>
              <a:pathLst>
                <a:path w="218" h="285">
                  <a:moveTo>
                    <a:pt x="214" y="0"/>
                  </a:moveTo>
                  <a:lnTo>
                    <a:pt x="218" y="84"/>
                  </a:lnTo>
                  <a:lnTo>
                    <a:pt x="190" y="99"/>
                  </a:lnTo>
                  <a:lnTo>
                    <a:pt x="166" y="143"/>
                  </a:lnTo>
                  <a:lnTo>
                    <a:pt x="122" y="163"/>
                  </a:lnTo>
                  <a:lnTo>
                    <a:pt x="174" y="213"/>
                  </a:lnTo>
                  <a:lnTo>
                    <a:pt x="159" y="261"/>
                  </a:lnTo>
                  <a:lnTo>
                    <a:pt x="95" y="285"/>
                  </a:lnTo>
                  <a:lnTo>
                    <a:pt x="67" y="257"/>
                  </a:lnTo>
                  <a:lnTo>
                    <a:pt x="12" y="234"/>
                  </a:lnTo>
                  <a:lnTo>
                    <a:pt x="48" y="206"/>
                  </a:lnTo>
                  <a:lnTo>
                    <a:pt x="52" y="154"/>
                  </a:lnTo>
                  <a:lnTo>
                    <a:pt x="12" y="143"/>
                  </a:lnTo>
                  <a:lnTo>
                    <a:pt x="0" y="143"/>
                  </a:lnTo>
                  <a:lnTo>
                    <a:pt x="43" y="116"/>
                  </a:lnTo>
                  <a:lnTo>
                    <a:pt x="67" y="40"/>
                  </a:lnTo>
                  <a:lnTo>
                    <a:pt x="107" y="57"/>
                  </a:lnTo>
                  <a:lnTo>
                    <a:pt x="150" y="57"/>
                  </a:lnTo>
                  <a:lnTo>
                    <a:pt x="198" y="5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1" name="Freeform 130"/>
            <p:cNvSpPr>
              <a:spLocks noChangeAspect="1"/>
            </p:cNvSpPr>
            <p:nvPr/>
          </p:nvSpPr>
          <p:spPr bwMode="auto">
            <a:xfrm>
              <a:off x="4136712" y="4462943"/>
              <a:ext cx="31648" cy="14200"/>
            </a:xfrm>
            <a:custGeom>
              <a:avLst/>
              <a:gdLst/>
              <a:ahLst/>
              <a:cxnLst>
                <a:cxn ang="0">
                  <a:pos x="28" y="23"/>
                </a:cxn>
                <a:cxn ang="0">
                  <a:pos x="28" y="23"/>
                </a:cxn>
                <a:cxn ang="0">
                  <a:pos x="17" y="22"/>
                </a:cxn>
                <a:cxn ang="0">
                  <a:pos x="8" y="19"/>
                </a:cxn>
                <a:cxn ang="0">
                  <a:pos x="1" y="15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9"/>
                </a:cxn>
                <a:cxn ang="0">
                  <a:pos x="1" y="8"/>
                </a:cxn>
                <a:cxn ang="0">
                  <a:pos x="8" y="4"/>
                </a:cxn>
                <a:cxn ang="0">
                  <a:pos x="17" y="2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38" y="2"/>
                </a:cxn>
                <a:cxn ang="0">
                  <a:pos x="48" y="4"/>
                </a:cxn>
                <a:cxn ang="0">
                  <a:pos x="53" y="8"/>
                </a:cxn>
                <a:cxn ang="0">
                  <a:pos x="55" y="9"/>
                </a:cxn>
                <a:cxn ang="0">
                  <a:pos x="55" y="12"/>
                </a:cxn>
                <a:cxn ang="0">
                  <a:pos x="55" y="12"/>
                </a:cxn>
                <a:cxn ang="0">
                  <a:pos x="55" y="14"/>
                </a:cxn>
                <a:cxn ang="0">
                  <a:pos x="53" y="15"/>
                </a:cxn>
                <a:cxn ang="0">
                  <a:pos x="48" y="19"/>
                </a:cxn>
                <a:cxn ang="0">
                  <a:pos x="38" y="22"/>
                </a:cxn>
                <a:cxn ang="0">
                  <a:pos x="28" y="23"/>
                </a:cxn>
                <a:cxn ang="0">
                  <a:pos x="28" y="23"/>
                </a:cxn>
              </a:cxnLst>
              <a:rect l="0" t="0" r="r" b="b"/>
              <a:pathLst>
                <a:path w="55" h="23">
                  <a:moveTo>
                    <a:pt x="28" y="23"/>
                  </a:moveTo>
                  <a:lnTo>
                    <a:pt x="28" y="23"/>
                  </a:lnTo>
                  <a:lnTo>
                    <a:pt x="17" y="22"/>
                  </a:lnTo>
                  <a:lnTo>
                    <a:pt x="8" y="19"/>
                  </a:lnTo>
                  <a:lnTo>
                    <a:pt x="1" y="15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9"/>
                  </a:lnTo>
                  <a:lnTo>
                    <a:pt x="1" y="8"/>
                  </a:lnTo>
                  <a:lnTo>
                    <a:pt x="8" y="4"/>
                  </a:lnTo>
                  <a:lnTo>
                    <a:pt x="17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8" y="2"/>
                  </a:lnTo>
                  <a:lnTo>
                    <a:pt x="48" y="4"/>
                  </a:lnTo>
                  <a:lnTo>
                    <a:pt x="53" y="8"/>
                  </a:lnTo>
                  <a:lnTo>
                    <a:pt x="55" y="9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4"/>
                  </a:lnTo>
                  <a:lnTo>
                    <a:pt x="53" y="15"/>
                  </a:lnTo>
                  <a:lnTo>
                    <a:pt x="48" y="19"/>
                  </a:lnTo>
                  <a:lnTo>
                    <a:pt x="38" y="22"/>
                  </a:lnTo>
                  <a:lnTo>
                    <a:pt x="28" y="23"/>
                  </a:lnTo>
                  <a:lnTo>
                    <a:pt x="28" y="2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2" name="Freeform 131"/>
            <p:cNvSpPr>
              <a:spLocks noChangeAspect="1"/>
            </p:cNvSpPr>
            <p:nvPr/>
          </p:nvSpPr>
          <p:spPr bwMode="auto">
            <a:xfrm>
              <a:off x="3173199" y="3550612"/>
              <a:ext cx="205714" cy="539590"/>
            </a:xfrm>
            <a:custGeom>
              <a:avLst/>
              <a:gdLst/>
              <a:ahLst/>
              <a:cxnLst>
                <a:cxn ang="0">
                  <a:pos x="6" y="348"/>
                </a:cxn>
                <a:cxn ang="0">
                  <a:pos x="24" y="309"/>
                </a:cxn>
                <a:cxn ang="0">
                  <a:pos x="24" y="218"/>
                </a:cxn>
                <a:cxn ang="0">
                  <a:pos x="65" y="175"/>
                </a:cxn>
                <a:cxn ang="0">
                  <a:pos x="85" y="111"/>
                </a:cxn>
                <a:cxn ang="0">
                  <a:pos x="120" y="63"/>
                </a:cxn>
                <a:cxn ang="0">
                  <a:pos x="179" y="36"/>
                </a:cxn>
                <a:cxn ang="0">
                  <a:pos x="183" y="9"/>
                </a:cxn>
                <a:cxn ang="0">
                  <a:pos x="234" y="0"/>
                </a:cxn>
                <a:cxn ang="0">
                  <a:pos x="247" y="28"/>
                </a:cxn>
                <a:cxn ang="0">
                  <a:pos x="265" y="79"/>
                </a:cxn>
                <a:cxn ang="0">
                  <a:pos x="247" y="118"/>
                </a:cxn>
                <a:cxn ang="0">
                  <a:pos x="214" y="142"/>
                </a:cxn>
                <a:cxn ang="0">
                  <a:pos x="210" y="182"/>
                </a:cxn>
                <a:cxn ang="0">
                  <a:pos x="262" y="190"/>
                </a:cxn>
                <a:cxn ang="0">
                  <a:pos x="285" y="238"/>
                </a:cxn>
                <a:cxn ang="0">
                  <a:pos x="297" y="313"/>
                </a:cxn>
                <a:cxn ang="0">
                  <a:pos x="341" y="321"/>
                </a:cxn>
                <a:cxn ang="0">
                  <a:pos x="353" y="352"/>
                </a:cxn>
                <a:cxn ang="0">
                  <a:pos x="333" y="396"/>
                </a:cxn>
                <a:cxn ang="0">
                  <a:pos x="306" y="420"/>
                </a:cxn>
                <a:cxn ang="0">
                  <a:pos x="258" y="439"/>
                </a:cxn>
                <a:cxn ang="0">
                  <a:pos x="254" y="523"/>
                </a:cxn>
                <a:cxn ang="0">
                  <a:pos x="265" y="554"/>
                </a:cxn>
                <a:cxn ang="0">
                  <a:pos x="302" y="601"/>
                </a:cxn>
                <a:cxn ang="0">
                  <a:pos x="289" y="680"/>
                </a:cxn>
                <a:cxn ang="0">
                  <a:pos x="293" y="720"/>
                </a:cxn>
                <a:cxn ang="0">
                  <a:pos x="309" y="779"/>
                </a:cxn>
                <a:cxn ang="0">
                  <a:pos x="348" y="814"/>
                </a:cxn>
                <a:cxn ang="0">
                  <a:pos x="317" y="882"/>
                </a:cxn>
                <a:cxn ang="0">
                  <a:pos x="297" y="913"/>
                </a:cxn>
                <a:cxn ang="0">
                  <a:pos x="278" y="827"/>
                </a:cxn>
                <a:cxn ang="0">
                  <a:pos x="265" y="768"/>
                </a:cxn>
                <a:cxn ang="0">
                  <a:pos x="230" y="740"/>
                </a:cxn>
                <a:cxn ang="0">
                  <a:pos x="247" y="624"/>
                </a:cxn>
                <a:cxn ang="0">
                  <a:pos x="203" y="558"/>
                </a:cxn>
                <a:cxn ang="0">
                  <a:pos x="179" y="593"/>
                </a:cxn>
                <a:cxn ang="0">
                  <a:pos x="147" y="624"/>
                </a:cxn>
                <a:cxn ang="0">
                  <a:pos x="100" y="609"/>
                </a:cxn>
                <a:cxn ang="0">
                  <a:pos x="92" y="506"/>
                </a:cxn>
                <a:cxn ang="0">
                  <a:pos x="80" y="459"/>
                </a:cxn>
                <a:cxn ang="0">
                  <a:pos x="41" y="407"/>
                </a:cxn>
                <a:cxn ang="0">
                  <a:pos x="0" y="372"/>
                </a:cxn>
                <a:cxn ang="0">
                  <a:pos x="6" y="348"/>
                </a:cxn>
              </a:cxnLst>
              <a:rect l="0" t="0" r="r" b="b"/>
              <a:pathLst>
                <a:path w="353" h="913">
                  <a:moveTo>
                    <a:pt x="6" y="348"/>
                  </a:moveTo>
                  <a:lnTo>
                    <a:pt x="24" y="309"/>
                  </a:lnTo>
                  <a:lnTo>
                    <a:pt x="24" y="218"/>
                  </a:lnTo>
                  <a:lnTo>
                    <a:pt x="65" y="175"/>
                  </a:lnTo>
                  <a:lnTo>
                    <a:pt x="85" y="111"/>
                  </a:lnTo>
                  <a:lnTo>
                    <a:pt x="120" y="63"/>
                  </a:lnTo>
                  <a:lnTo>
                    <a:pt x="179" y="36"/>
                  </a:lnTo>
                  <a:lnTo>
                    <a:pt x="183" y="9"/>
                  </a:lnTo>
                  <a:lnTo>
                    <a:pt x="234" y="0"/>
                  </a:lnTo>
                  <a:lnTo>
                    <a:pt x="247" y="28"/>
                  </a:lnTo>
                  <a:lnTo>
                    <a:pt x="265" y="79"/>
                  </a:lnTo>
                  <a:lnTo>
                    <a:pt x="247" y="118"/>
                  </a:lnTo>
                  <a:lnTo>
                    <a:pt x="214" y="142"/>
                  </a:lnTo>
                  <a:lnTo>
                    <a:pt x="210" y="182"/>
                  </a:lnTo>
                  <a:lnTo>
                    <a:pt x="262" y="190"/>
                  </a:lnTo>
                  <a:lnTo>
                    <a:pt x="285" y="238"/>
                  </a:lnTo>
                  <a:lnTo>
                    <a:pt x="297" y="313"/>
                  </a:lnTo>
                  <a:lnTo>
                    <a:pt x="341" y="321"/>
                  </a:lnTo>
                  <a:lnTo>
                    <a:pt x="353" y="352"/>
                  </a:lnTo>
                  <a:lnTo>
                    <a:pt x="333" y="396"/>
                  </a:lnTo>
                  <a:lnTo>
                    <a:pt x="306" y="420"/>
                  </a:lnTo>
                  <a:lnTo>
                    <a:pt x="258" y="439"/>
                  </a:lnTo>
                  <a:lnTo>
                    <a:pt x="254" y="523"/>
                  </a:lnTo>
                  <a:lnTo>
                    <a:pt x="265" y="554"/>
                  </a:lnTo>
                  <a:lnTo>
                    <a:pt x="302" y="601"/>
                  </a:lnTo>
                  <a:lnTo>
                    <a:pt x="289" y="680"/>
                  </a:lnTo>
                  <a:lnTo>
                    <a:pt x="293" y="720"/>
                  </a:lnTo>
                  <a:lnTo>
                    <a:pt x="309" y="779"/>
                  </a:lnTo>
                  <a:lnTo>
                    <a:pt x="348" y="814"/>
                  </a:lnTo>
                  <a:lnTo>
                    <a:pt x="317" y="882"/>
                  </a:lnTo>
                  <a:lnTo>
                    <a:pt x="297" y="913"/>
                  </a:lnTo>
                  <a:lnTo>
                    <a:pt x="278" y="827"/>
                  </a:lnTo>
                  <a:lnTo>
                    <a:pt x="265" y="768"/>
                  </a:lnTo>
                  <a:lnTo>
                    <a:pt x="230" y="740"/>
                  </a:lnTo>
                  <a:lnTo>
                    <a:pt x="247" y="624"/>
                  </a:lnTo>
                  <a:lnTo>
                    <a:pt x="203" y="558"/>
                  </a:lnTo>
                  <a:lnTo>
                    <a:pt x="179" y="593"/>
                  </a:lnTo>
                  <a:lnTo>
                    <a:pt x="147" y="624"/>
                  </a:lnTo>
                  <a:lnTo>
                    <a:pt x="100" y="609"/>
                  </a:lnTo>
                  <a:lnTo>
                    <a:pt x="92" y="506"/>
                  </a:lnTo>
                  <a:lnTo>
                    <a:pt x="80" y="459"/>
                  </a:lnTo>
                  <a:lnTo>
                    <a:pt x="41" y="407"/>
                  </a:lnTo>
                  <a:lnTo>
                    <a:pt x="0" y="372"/>
                  </a:lnTo>
                  <a:lnTo>
                    <a:pt x="6" y="34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3" name="Freeform 132"/>
            <p:cNvSpPr>
              <a:spLocks noChangeAspect="1"/>
            </p:cNvSpPr>
            <p:nvPr/>
          </p:nvSpPr>
          <p:spPr bwMode="auto">
            <a:xfrm>
              <a:off x="3254077" y="4249947"/>
              <a:ext cx="312965" cy="346118"/>
            </a:xfrm>
            <a:custGeom>
              <a:avLst/>
              <a:gdLst/>
              <a:ahLst/>
              <a:cxnLst>
                <a:cxn ang="0">
                  <a:pos x="201" y="92"/>
                </a:cxn>
                <a:cxn ang="0">
                  <a:pos x="134" y="64"/>
                </a:cxn>
                <a:cxn ang="0">
                  <a:pos x="79" y="0"/>
                </a:cxn>
                <a:cxn ang="0">
                  <a:pos x="7" y="7"/>
                </a:cxn>
                <a:cxn ang="0">
                  <a:pos x="0" y="35"/>
                </a:cxn>
                <a:cxn ang="0">
                  <a:pos x="83" y="92"/>
                </a:cxn>
                <a:cxn ang="0">
                  <a:pos x="153" y="154"/>
                </a:cxn>
                <a:cxn ang="0">
                  <a:pos x="201" y="198"/>
                </a:cxn>
                <a:cxn ang="0">
                  <a:pos x="217" y="265"/>
                </a:cxn>
                <a:cxn ang="0">
                  <a:pos x="245" y="324"/>
                </a:cxn>
                <a:cxn ang="0">
                  <a:pos x="339" y="451"/>
                </a:cxn>
                <a:cxn ang="0">
                  <a:pos x="422" y="550"/>
                </a:cxn>
                <a:cxn ang="0">
                  <a:pos x="449" y="585"/>
                </a:cxn>
                <a:cxn ang="0">
                  <a:pos x="532" y="550"/>
                </a:cxn>
                <a:cxn ang="0">
                  <a:pos x="521" y="498"/>
                </a:cxn>
                <a:cxn ang="0">
                  <a:pos x="521" y="434"/>
                </a:cxn>
                <a:cxn ang="0">
                  <a:pos x="497" y="399"/>
                </a:cxn>
                <a:cxn ang="0">
                  <a:pos x="427" y="375"/>
                </a:cxn>
                <a:cxn ang="0">
                  <a:pos x="427" y="344"/>
                </a:cxn>
                <a:cxn ang="0">
                  <a:pos x="403" y="305"/>
                </a:cxn>
                <a:cxn ang="0">
                  <a:pos x="398" y="249"/>
                </a:cxn>
                <a:cxn ang="0">
                  <a:pos x="351" y="202"/>
                </a:cxn>
                <a:cxn ang="0">
                  <a:pos x="287" y="166"/>
                </a:cxn>
                <a:cxn ang="0">
                  <a:pos x="201" y="92"/>
                </a:cxn>
              </a:cxnLst>
              <a:rect l="0" t="0" r="r" b="b"/>
              <a:pathLst>
                <a:path w="532" h="585">
                  <a:moveTo>
                    <a:pt x="201" y="92"/>
                  </a:moveTo>
                  <a:lnTo>
                    <a:pt x="134" y="64"/>
                  </a:lnTo>
                  <a:lnTo>
                    <a:pt x="79" y="0"/>
                  </a:lnTo>
                  <a:lnTo>
                    <a:pt x="7" y="7"/>
                  </a:lnTo>
                  <a:lnTo>
                    <a:pt x="0" y="35"/>
                  </a:lnTo>
                  <a:lnTo>
                    <a:pt x="83" y="92"/>
                  </a:lnTo>
                  <a:lnTo>
                    <a:pt x="153" y="154"/>
                  </a:lnTo>
                  <a:lnTo>
                    <a:pt x="201" y="198"/>
                  </a:lnTo>
                  <a:lnTo>
                    <a:pt x="217" y="265"/>
                  </a:lnTo>
                  <a:lnTo>
                    <a:pt x="245" y="324"/>
                  </a:lnTo>
                  <a:lnTo>
                    <a:pt x="339" y="451"/>
                  </a:lnTo>
                  <a:lnTo>
                    <a:pt x="422" y="550"/>
                  </a:lnTo>
                  <a:lnTo>
                    <a:pt x="449" y="585"/>
                  </a:lnTo>
                  <a:lnTo>
                    <a:pt x="532" y="550"/>
                  </a:lnTo>
                  <a:lnTo>
                    <a:pt x="521" y="498"/>
                  </a:lnTo>
                  <a:lnTo>
                    <a:pt x="521" y="434"/>
                  </a:lnTo>
                  <a:lnTo>
                    <a:pt x="497" y="399"/>
                  </a:lnTo>
                  <a:lnTo>
                    <a:pt x="427" y="375"/>
                  </a:lnTo>
                  <a:lnTo>
                    <a:pt x="427" y="344"/>
                  </a:lnTo>
                  <a:lnTo>
                    <a:pt x="403" y="305"/>
                  </a:lnTo>
                  <a:lnTo>
                    <a:pt x="398" y="249"/>
                  </a:lnTo>
                  <a:lnTo>
                    <a:pt x="351" y="202"/>
                  </a:lnTo>
                  <a:lnTo>
                    <a:pt x="287" y="166"/>
                  </a:lnTo>
                  <a:lnTo>
                    <a:pt x="201" y="9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4" name="Freeform 133"/>
            <p:cNvSpPr>
              <a:spLocks noChangeAspect="1"/>
            </p:cNvSpPr>
            <p:nvPr/>
          </p:nvSpPr>
          <p:spPr bwMode="auto">
            <a:xfrm>
              <a:off x="3545945" y="4455843"/>
              <a:ext cx="45714" cy="44374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0" y="5"/>
                </a:cxn>
                <a:cxn ang="0">
                  <a:pos x="68" y="32"/>
                </a:cxn>
                <a:cxn ang="0">
                  <a:pos x="79" y="72"/>
                </a:cxn>
                <a:cxn ang="0">
                  <a:pos x="48" y="76"/>
                </a:cxn>
                <a:cxn ang="0">
                  <a:pos x="0" y="28"/>
                </a:cxn>
                <a:cxn ang="0">
                  <a:pos x="4" y="0"/>
                </a:cxn>
              </a:cxnLst>
              <a:rect l="0" t="0" r="r" b="b"/>
              <a:pathLst>
                <a:path w="79" h="76">
                  <a:moveTo>
                    <a:pt x="4" y="0"/>
                  </a:moveTo>
                  <a:lnTo>
                    <a:pt x="40" y="5"/>
                  </a:lnTo>
                  <a:lnTo>
                    <a:pt x="68" y="32"/>
                  </a:lnTo>
                  <a:lnTo>
                    <a:pt x="79" y="72"/>
                  </a:lnTo>
                  <a:lnTo>
                    <a:pt x="48" y="76"/>
                  </a:lnTo>
                  <a:lnTo>
                    <a:pt x="0" y="28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5" name="Freeform 134"/>
            <p:cNvSpPr>
              <a:spLocks noChangeAspect="1"/>
            </p:cNvSpPr>
            <p:nvPr/>
          </p:nvSpPr>
          <p:spPr bwMode="auto">
            <a:xfrm>
              <a:off x="3545945" y="4455843"/>
              <a:ext cx="45714" cy="44374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0" y="5"/>
                </a:cxn>
                <a:cxn ang="0">
                  <a:pos x="68" y="32"/>
                </a:cxn>
                <a:cxn ang="0">
                  <a:pos x="79" y="72"/>
                </a:cxn>
                <a:cxn ang="0">
                  <a:pos x="48" y="76"/>
                </a:cxn>
                <a:cxn ang="0">
                  <a:pos x="0" y="28"/>
                </a:cxn>
                <a:cxn ang="0">
                  <a:pos x="4" y="0"/>
                </a:cxn>
              </a:cxnLst>
              <a:rect l="0" t="0" r="r" b="b"/>
              <a:pathLst>
                <a:path w="79" h="76">
                  <a:moveTo>
                    <a:pt x="4" y="0"/>
                  </a:moveTo>
                  <a:lnTo>
                    <a:pt x="40" y="5"/>
                  </a:lnTo>
                  <a:lnTo>
                    <a:pt x="68" y="32"/>
                  </a:lnTo>
                  <a:lnTo>
                    <a:pt x="79" y="72"/>
                  </a:lnTo>
                  <a:lnTo>
                    <a:pt x="48" y="76"/>
                  </a:lnTo>
                  <a:lnTo>
                    <a:pt x="0" y="28"/>
                  </a:lnTo>
                  <a:lnTo>
                    <a:pt x="4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6" name="Freeform 135"/>
            <p:cNvSpPr>
              <a:spLocks noChangeAspect="1"/>
            </p:cNvSpPr>
            <p:nvPr/>
          </p:nvSpPr>
          <p:spPr bwMode="auto">
            <a:xfrm>
              <a:off x="3551219" y="4592517"/>
              <a:ext cx="249670" cy="83423"/>
            </a:xfrm>
            <a:custGeom>
              <a:avLst/>
              <a:gdLst/>
              <a:ahLst/>
              <a:cxnLst>
                <a:cxn ang="0">
                  <a:pos x="64" y="3"/>
                </a:cxn>
                <a:cxn ang="0">
                  <a:pos x="23" y="18"/>
                </a:cxn>
                <a:cxn ang="0">
                  <a:pos x="0" y="51"/>
                </a:cxn>
                <a:cxn ang="0">
                  <a:pos x="27" y="94"/>
                </a:cxn>
                <a:cxn ang="0">
                  <a:pos x="111" y="94"/>
                </a:cxn>
                <a:cxn ang="0">
                  <a:pos x="143" y="110"/>
                </a:cxn>
                <a:cxn ang="0">
                  <a:pos x="218" y="110"/>
                </a:cxn>
                <a:cxn ang="0">
                  <a:pos x="222" y="141"/>
                </a:cxn>
                <a:cxn ang="0">
                  <a:pos x="356" y="141"/>
                </a:cxn>
                <a:cxn ang="0">
                  <a:pos x="391" y="141"/>
                </a:cxn>
                <a:cxn ang="0">
                  <a:pos x="423" y="141"/>
                </a:cxn>
                <a:cxn ang="0">
                  <a:pos x="426" y="106"/>
                </a:cxn>
                <a:cxn ang="0">
                  <a:pos x="384" y="86"/>
                </a:cxn>
                <a:cxn ang="0">
                  <a:pos x="391" y="51"/>
                </a:cxn>
                <a:cxn ang="0">
                  <a:pos x="352" y="55"/>
                </a:cxn>
                <a:cxn ang="0">
                  <a:pos x="301" y="51"/>
                </a:cxn>
                <a:cxn ang="0">
                  <a:pos x="261" y="27"/>
                </a:cxn>
                <a:cxn ang="0">
                  <a:pos x="194" y="23"/>
                </a:cxn>
                <a:cxn ang="0">
                  <a:pos x="126" y="0"/>
                </a:cxn>
                <a:cxn ang="0">
                  <a:pos x="64" y="3"/>
                </a:cxn>
              </a:cxnLst>
              <a:rect l="0" t="0" r="r" b="b"/>
              <a:pathLst>
                <a:path w="426" h="141">
                  <a:moveTo>
                    <a:pt x="64" y="3"/>
                  </a:moveTo>
                  <a:lnTo>
                    <a:pt x="23" y="18"/>
                  </a:lnTo>
                  <a:lnTo>
                    <a:pt x="0" y="51"/>
                  </a:lnTo>
                  <a:lnTo>
                    <a:pt x="27" y="94"/>
                  </a:lnTo>
                  <a:lnTo>
                    <a:pt x="111" y="94"/>
                  </a:lnTo>
                  <a:lnTo>
                    <a:pt x="143" y="110"/>
                  </a:lnTo>
                  <a:lnTo>
                    <a:pt x="218" y="110"/>
                  </a:lnTo>
                  <a:lnTo>
                    <a:pt x="222" y="141"/>
                  </a:lnTo>
                  <a:lnTo>
                    <a:pt x="356" y="141"/>
                  </a:lnTo>
                  <a:lnTo>
                    <a:pt x="391" y="141"/>
                  </a:lnTo>
                  <a:lnTo>
                    <a:pt x="423" y="141"/>
                  </a:lnTo>
                  <a:lnTo>
                    <a:pt x="426" y="106"/>
                  </a:lnTo>
                  <a:lnTo>
                    <a:pt x="384" y="86"/>
                  </a:lnTo>
                  <a:lnTo>
                    <a:pt x="391" y="51"/>
                  </a:lnTo>
                  <a:lnTo>
                    <a:pt x="352" y="55"/>
                  </a:lnTo>
                  <a:lnTo>
                    <a:pt x="301" y="51"/>
                  </a:lnTo>
                  <a:lnTo>
                    <a:pt x="261" y="27"/>
                  </a:lnTo>
                  <a:lnTo>
                    <a:pt x="194" y="23"/>
                  </a:lnTo>
                  <a:lnTo>
                    <a:pt x="126" y="0"/>
                  </a:lnTo>
                  <a:lnTo>
                    <a:pt x="64" y="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7" name="Freeform 136"/>
            <p:cNvSpPr>
              <a:spLocks noChangeAspect="1"/>
            </p:cNvSpPr>
            <p:nvPr/>
          </p:nvSpPr>
          <p:spPr bwMode="auto">
            <a:xfrm>
              <a:off x="3816713" y="4668840"/>
              <a:ext cx="22856" cy="15975"/>
            </a:xfrm>
            <a:custGeom>
              <a:avLst/>
              <a:gdLst/>
              <a:ahLst/>
              <a:cxnLst>
                <a:cxn ang="0">
                  <a:pos x="20" y="29"/>
                </a:cxn>
                <a:cxn ang="0">
                  <a:pos x="20" y="29"/>
                </a:cxn>
                <a:cxn ang="0">
                  <a:pos x="27" y="28"/>
                </a:cxn>
                <a:cxn ang="0">
                  <a:pos x="34" y="24"/>
                </a:cxn>
                <a:cxn ang="0">
                  <a:pos x="37" y="20"/>
                </a:cxn>
                <a:cxn ang="0">
                  <a:pos x="39" y="17"/>
                </a:cxn>
                <a:cxn ang="0">
                  <a:pos x="39" y="15"/>
                </a:cxn>
                <a:cxn ang="0">
                  <a:pos x="39" y="15"/>
                </a:cxn>
                <a:cxn ang="0">
                  <a:pos x="39" y="11"/>
                </a:cxn>
                <a:cxn ang="0">
                  <a:pos x="37" y="9"/>
                </a:cxn>
                <a:cxn ang="0">
                  <a:pos x="34" y="5"/>
                </a:cxn>
                <a:cxn ang="0">
                  <a:pos x="27" y="1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12" y="1"/>
                </a:cxn>
                <a:cxn ang="0">
                  <a:pos x="6" y="5"/>
                </a:cxn>
                <a:cxn ang="0">
                  <a:pos x="1" y="9"/>
                </a:cxn>
                <a:cxn ang="0">
                  <a:pos x="0" y="11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7"/>
                </a:cxn>
                <a:cxn ang="0">
                  <a:pos x="1" y="20"/>
                </a:cxn>
                <a:cxn ang="0">
                  <a:pos x="6" y="24"/>
                </a:cxn>
                <a:cxn ang="0">
                  <a:pos x="12" y="28"/>
                </a:cxn>
                <a:cxn ang="0">
                  <a:pos x="20" y="29"/>
                </a:cxn>
                <a:cxn ang="0">
                  <a:pos x="20" y="29"/>
                </a:cxn>
              </a:cxnLst>
              <a:rect l="0" t="0" r="r" b="b"/>
              <a:pathLst>
                <a:path w="39" h="29">
                  <a:moveTo>
                    <a:pt x="20" y="29"/>
                  </a:moveTo>
                  <a:lnTo>
                    <a:pt x="20" y="29"/>
                  </a:lnTo>
                  <a:lnTo>
                    <a:pt x="27" y="28"/>
                  </a:lnTo>
                  <a:lnTo>
                    <a:pt x="34" y="24"/>
                  </a:lnTo>
                  <a:lnTo>
                    <a:pt x="37" y="20"/>
                  </a:lnTo>
                  <a:lnTo>
                    <a:pt x="39" y="17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1"/>
                  </a:lnTo>
                  <a:lnTo>
                    <a:pt x="37" y="9"/>
                  </a:lnTo>
                  <a:lnTo>
                    <a:pt x="34" y="5"/>
                  </a:lnTo>
                  <a:lnTo>
                    <a:pt x="27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2" y="1"/>
                  </a:lnTo>
                  <a:lnTo>
                    <a:pt x="6" y="5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0"/>
                  </a:lnTo>
                  <a:lnTo>
                    <a:pt x="6" y="24"/>
                  </a:lnTo>
                  <a:lnTo>
                    <a:pt x="12" y="28"/>
                  </a:lnTo>
                  <a:lnTo>
                    <a:pt x="20" y="29"/>
                  </a:lnTo>
                  <a:lnTo>
                    <a:pt x="20" y="2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8" name="Freeform 137"/>
            <p:cNvSpPr>
              <a:spLocks noChangeAspect="1"/>
            </p:cNvSpPr>
            <p:nvPr/>
          </p:nvSpPr>
          <p:spPr bwMode="auto">
            <a:xfrm>
              <a:off x="3850119" y="4668840"/>
              <a:ext cx="10548" cy="15975"/>
            </a:xfrm>
            <a:custGeom>
              <a:avLst/>
              <a:gdLst/>
              <a:ahLst/>
              <a:cxnLst>
                <a:cxn ang="0">
                  <a:pos x="7" y="29"/>
                </a:cxn>
                <a:cxn ang="0">
                  <a:pos x="7" y="29"/>
                </a:cxn>
                <a:cxn ang="0">
                  <a:pos x="5" y="28"/>
                </a:cxn>
                <a:cxn ang="0">
                  <a:pos x="2" y="24"/>
                </a:cxn>
                <a:cxn ang="0">
                  <a:pos x="0" y="20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9"/>
                </a:cxn>
                <a:cxn ang="0">
                  <a:pos x="2" y="5"/>
                </a:cxn>
                <a:cxn ang="0">
                  <a:pos x="5" y="1"/>
                </a:cxn>
                <a:cxn ang="0">
                  <a:pos x="7" y="0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4" y="5"/>
                </a:cxn>
                <a:cxn ang="0">
                  <a:pos x="16" y="9"/>
                </a:cxn>
                <a:cxn ang="0">
                  <a:pos x="16" y="15"/>
                </a:cxn>
                <a:cxn ang="0">
                  <a:pos x="16" y="15"/>
                </a:cxn>
                <a:cxn ang="0">
                  <a:pos x="16" y="20"/>
                </a:cxn>
                <a:cxn ang="0">
                  <a:pos x="14" y="24"/>
                </a:cxn>
                <a:cxn ang="0">
                  <a:pos x="11" y="28"/>
                </a:cxn>
                <a:cxn ang="0">
                  <a:pos x="7" y="29"/>
                </a:cxn>
                <a:cxn ang="0">
                  <a:pos x="7" y="29"/>
                </a:cxn>
              </a:cxnLst>
              <a:rect l="0" t="0" r="r" b="b"/>
              <a:pathLst>
                <a:path w="16" h="29">
                  <a:moveTo>
                    <a:pt x="7" y="29"/>
                  </a:moveTo>
                  <a:lnTo>
                    <a:pt x="7" y="29"/>
                  </a:lnTo>
                  <a:lnTo>
                    <a:pt x="5" y="28"/>
                  </a:lnTo>
                  <a:lnTo>
                    <a:pt x="2" y="24"/>
                  </a:lnTo>
                  <a:lnTo>
                    <a:pt x="0" y="2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9"/>
                  </a:lnTo>
                  <a:lnTo>
                    <a:pt x="2" y="5"/>
                  </a:lnTo>
                  <a:lnTo>
                    <a:pt x="5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11" y="1"/>
                  </a:lnTo>
                  <a:lnTo>
                    <a:pt x="14" y="5"/>
                  </a:lnTo>
                  <a:lnTo>
                    <a:pt x="16" y="9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20"/>
                  </a:lnTo>
                  <a:lnTo>
                    <a:pt x="14" y="24"/>
                  </a:lnTo>
                  <a:lnTo>
                    <a:pt x="11" y="28"/>
                  </a:lnTo>
                  <a:lnTo>
                    <a:pt x="7" y="29"/>
                  </a:lnTo>
                  <a:lnTo>
                    <a:pt x="7" y="2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09" name="Freeform 138"/>
            <p:cNvSpPr>
              <a:spLocks noChangeAspect="1"/>
            </p:cNvSpPr>
            <p:nvPr/>
          </p:nvSpPr>
          <p:spPr bwMode="auto">
            <a:xfrm>
              <a:off x="3880009" y="4659964"/>
              <a:ext cx="26373" cy="28399"/>
            </a:xfrm>
            <a:custGeom>
              <a:avLst/>
              <a:gdLst/>
              <a:ahLst/>
              <a:cxnLst>
                <a:cxn ang="0">
                  <a:pos x="5" y="16"/>
                </a:cxn>
                <a:cxn ang="0">
                  <a:pos x="27" y="0"/>
                </a:cxn>
                <a:cxn ang="0">
                  <a:pos x="47" y="16"/>
                </a:cxn>
                <a:cxn ang="0">
                  <a:pos x="44" y="48"/>
                </a:cxn>
                <a:cxn ang="0">
                  <a:pos x="0" y="31"/>
                </a:cxn>
                <a:cxn ang="0">
                  <a:pos x="5" y="16"/>
                </a:cxn>
              </a:cxnLst>
              <a:rect l="0" t="0" r="r" b="b"/>
              <a:pathLst>
                <a:path w="47" h="48">
                  <a:moveTo>
                    <a:pt x="5" y="16"/>
                  </a:moveTo>
                  <a:lnTo>
                    <a:pt x="27" y="0"/>
                  </a:lnTo>
                  <a:lnTo>
                    <a:pt x="47" y="16"/>
                  </a:lnTo>
                  <a:lnTo>
                    <a:pt x="44" y="48"/>
                  </a:lnTo>
                  <a:lnTo>
                    <a:pt x="0" y="31"/>
                  </a:lnTo>
                  <a:lnTo>
                    <a:pt x="5" y="1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0" name="Freeform 139"/>
            <p:cNvSpPr>
              <a:spLocks noChangeAspect="1"/>
            </p:cNvSpPr>
            <p:nvPr/>
          </p:nvSpPr>
          <p:spPr bwMode="auto">
            <a:xfrm>
              <a:off x="3916932" y="4707890"/>
              <a:ext cx="35164" cy="21299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0" y="35"/>
                </a:cxn>
                <a:cxn ang="0">
                  <a:pos x="48" y="20"/>
                </a:cxn>
                <a:cxn ang="0">
                  <a:pos x="59" y="0"/>
                </a:cxn>
                <a:cxn ang="0">
                  <a:pos x="7" y="3"/>
                </a:cxn>
              </a:cxnLst>
              <a:rect l="0" t="0" r="r" b="b"/>
              <a:pathLst>
                <a:path w="59" h="35">
                  <a:moveTo>
                    <a:pt x="7" y="3"/>
                  </a:moveTo>
                  <a:lnTo>
                    <a:pt x="0" y="35"/>
                  </a:lnTo>
                  <a:lnTo>
                    <a:pt x="48" y="20"/>
                  </a:lnTo>
                  <a:lnTo>
                    <a:pt x="59" y="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1" name="Freeform 140"/>
            <p:cNvSpPr>
              <a:spLocks noChangeAspect="1"/>
            </p:cNvSpPr>
            <p:nvPr/>
          </p:nvSpPr>
          <p:spPr bwMode="auto">
            <a:xfrm>
              <a:off x="3941548" y="4670615"/>
              <a:ext cx="59779" cy="28399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56" y="0"/>
                </a:cxn>
                <a:cxn ang="0">
                  <a:pos x="103" y="19"/>
                </a:cxn>
                <a:cxn ang="0">
                  <a:pos x="68" y="46"/>
                </a:cxn>
                <a:cxn ang="0">
                  <a:pos x="9" y="35"/>
                </a:cxn>
                <a:cxn ang="0">
                  <a:pos x="0" y="7"/>
                </a:cxn>
              </a:cxnLst>
              <a:rect l="0" t="0" r="r" b="b"/>
              <a:pathLst>
                <a:path w="103" h="46">
                  <a:moveTo>
                    <a:pt x="0" y="7"/>
                  </a:moveTo>
                  <a:lnTo>
                    <a:pt x="56" y="0"/>
                  </a:lnTo>
                  <a:lnTo>
                    <a:pt x="103" y="19"/>
                  </a:lnTo>
                  <a:lnTo>
                    <a:pt x="68" y="46"/>
                  </a:lnTo>
                  <a:lnTo>
                    <a:pt x="9" y="35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2" name="Freeform 141"/>
            <p:cNvSpPr>
              <a:spLocks noChangeAspect="1"/>
            </p:cNvSpPr>
            <p:nvPr/>
          </p:nvSpPr>
          <p:spPr bwMode="auto">
            <a:xfrm>
              <a:off x="4018909" y="4707890"/>
              <a:ext cx="31648" cy="24849"/>
            </a:xfrm>
            <a:custGeom>
              <a:avLst/>
              <a:gdLst/>
              <a:ahLst/>
              <a:cxnLst>
                <a:cxn ang="0">
                  <a:pos x="55" y="0"/>
                </a:cxn>
                <a:cxn ang="0">
                  <a:pos x="20" y="3"/>
                </a:cxn>
                <a:cxn ang="0">
                  <a:pos x="0" y="40"/>
                </a:cxn>
                <a:cxn ang="0">
                  <a:pos x="28" y="40"/>
                </a:cxn>
                <a:cxn ang="0">
                  <a:pos x="55" y="16"/>
                </a:cxn>
                <a:cxn ang="0">
                  <a:pos x="55" y="0"/>
                </a:cxn>
              </a:cxnLst>
              <a:rect l="0" t="0" r="r" b="b"/>
              <a:pathLst>
                <a:path w="55" h="40">
                  <a:moveTo>
                    <a:pt x="55" y="0"/>
                  </a:moveTo>
                  <a:lnTo>
                    <a:pt x="20" y="3"/>
                  </a:lnTo>
                  <a:lnTo>
                    <a:pt x="0" y="40"/>
                  </a:lnTo>
                  <a:lnTo>
                    <a:pt x="28" y="40"/>
                  </a:lnTo>
                  <a:lnTo>
                    <a:pt x="55" y="16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3" name="Freeform 142"/>
            <p:cNvSpPr>
              <a:spLocks noChangeAspect="1"/>
            </p:cNvSpPr>
            <p:nvPr/>
          </p:nvSpPr>
          <p:spPr bwMode="auto">
            <a:xfrm>
              <a:off x="3626823" y="4202025"/>
              <a:ext cx="298900" cy="340794"/>
            </a:xfrm>
            <a:custGeom>
              <a:avLst/>
              <a:gdLst/>
              <a:ahLst/>
              <a:cxnLst>
                <a:cxn ang="0">
                  <a:pos x="108" y="281"/>
                </a:cxn>
                <a:cxn ang="0">
                  <a:pos x="13" y="278"/>
                </a:cxn>
                <a:cxn ang="0">
                  <a:pos x="0" y="352"/>
                </a:cxn>
                <a:cxn ang="0">
                  <a:pos x="33" y="373"/>
                </a:cxn>
                <a:cxn ang="0">
                  <a:pos x="37" y="428"/>
                </a:cxn>
                <a:cxn ang="0">
                  <a:pos x="75" y="435"/>
                </a:cxn>
                <a:cxn ang="0">
                  <a:pos x="83" y="503"/>
                </a:cxn>
                <a:cxn ang="0">
                  <a:pos x="107" y="507"/>
                </a:cxn>
                <a:cxn ang="0">
                  <a:pos x="127" y="535"/>
                </a:cxn>
                <a:cxn ang="0">
                  <a:pos x="195" y="551"/>
                </a:cxn>
                <a:cxn ang="0">
                  <a:pos x="217" y="519"/>
                </a:cxn>
                <a:cxn ang="0">
                  <a:pos x="258" y="527"/>
                </a:cxn>
                <a:cxn ang="0">
                  <a:pos x="281" y="575"/>
                </a:cxn>
                <a:cxn ang="0">
                  <a:pos x="340" y="570"/>
                </a:cxn>
                <a:cxn ang="0">
                  <a:pos x="352" y="531"/>
                </a:cxn>
                <a:cxn ang="0">
                  <a:pos x="376" y="492"/>
                </a:cxn>
                <a:cxn ang="0">
                  <a:pos x="376" y="448"/>
                </a:cxn>
                <a:cxn ang="0">
                  <a:pos x="416" y="413"/>
                </a:cxn>
                <a:cxn ang="0">
                  <a:pos x="436" y="337"/>
                </a:cxn>
                <a:cxn ang="0">
                  <a:pos x="475" y="321"/>
                </a:cxn>
                <a:cxn ang="0">
                  <a:pos x="475" y="273"/>
                </a:cxn>
                <a:cxn ang="0">
                  <a:pos x="431" y="242"/>
                </a:cxn>
                <a:cxn ang="0">
                  <a:pos x="428" y="162"/>
                </a:cxn>
                <a:cxn ang="0">
                  <a:pos x="468" y="134"/>
                </a:cxn>
                <a:cxn ang="0">
                  <a:pos x="511" y="99"/>
                </a:cxn>
                <a:cxn ang="0">
                  <a:pos x="500" y="51"/>
                </a:cxn>
                <a:cxn ang="0">
                  <a:pos x="445" y="40"/>
                </a:cxn>
                <a:cxn ang="0">
                  <a:pos x="413" y="27"/>
                </a:cxn>
                <a:cxn ang="0">
                  <a:pos x="358" y="0"/>
                </a:cxn>
                <a:cxn ang="0">
                  <a:pos x="349" y="40"/>
                </a:cxn>
                <a:cxn ang="0">
                  <a:pos x="314" y="60"/>
                </a:cxn>
                <a:cxn ang="0">
                  <a:pos x="301" y="115"/>
                </a:cxn>
                <a:cxn ang="0">
                  <a:pos x="263" y="134"/>
                </a:cxn>
                <a:cxn ang="0">
                  <a:pos x="219" y="165"/>
                </a:cxn>
                <a:cxn ang="0">
                  <a:pos x="196" y="213"/>
                </a:cxn>
                <a:cxn ang="0">
                  <a:pos x="139" y="209"/>
                </a:cxn>
                <a:cxn ang="0">
                  <a:pos x="128" y="253"/>
                </a:cxn>
                <a:cxn ang="0">
                  <a:pos x="108" y="281"/>
                </a:cxn>
              </a:cxnLst>
              <a:rect l="0" t="0" r="r" b="b"/>
              <a:pathLst>
                <a:path w="511" h="575">
                  <a:moveTo>
                    <a:pt x="108" y="281"/>
                  </a:moveTo>
                  <a:lnTo>
                    <a:pt x="13" y="278"/>
                  </a:lnTo>
                  <a:lnTo>
                    <a:pt x="0" y="352"/>
                  </a:lnTo>
                  <a:lnTo>
                    <a:pt x="33" y="373"/>
                  </a:lnTo>
                  <a:lnTo>
                    <a:pt x="37" y="428"/>
                  </a:lnTo>
                  <a:lnTo>
                    <a:pt x="75" y="435"/>
                  </a:lnTo>
                  <a:lnTo>
                    <a:pt x="83" y="503"/>
                  </a:lnTo>
                  <a:lnTo>
                    <a:pt x="107" y="507"/>
                  </a:lnTo>
                  <a:lnTo>
                    <a:pt x="127" y="535"/>
                  </a:lnTo>
                  <a:lnTo>
                    <a:pt x="195" y="551"/>
                  </a:lnTo>
                  <a:lnTo>
                    <a:pt x="217" y="519"/>
                  </a:lnTo>
                  <a:lnTo>
                    <a:pt x="258" y="527"/>
                  </a:lnTo>
                  <a:lnTo>
                    <a:pt x="281" y="575"/>
                  </a:lnTo>
                  <a:lnTo>
                    <a:pt x="340" y="570"/>
                  </a:lnTo>
                  <a:lnTo>
                    <a:pt x="352" y="531"/>
                  </a:lnTo>
                  <a:lnTo>
                    <a:pt x="376" y="492"/>
                  </a:lnTo>
                  <a:lnTo>
                    <a:pt x="376" y="448"/>
                  </a:lnTo>
                  <a:lnTo>
                    <a:pt x="416" y="413"/>
                  </a:lnTo>
                  <a:lnTo>
                    <a:pt x="436" y="337"/>
                  </a:lnTo>
                  <a:lnTo>
                    <a:pt x="475" y="321"/>
                  </a:lnTo>
                  <a:lnTo>
                    <a:pt x="475" y="273"/>
                  </a:lnTo>
                  <a:lnTo>
                    <a:pt x="431" y="242"/>
                  </a:lnTo>
                  <a:lnTo>
                    <a:pt x="428" y="162"/>
                  </a:lnTo>
                  <a:lnTo>
                    <a:pt x="468" y="134"/>
                  </a:lnTo>
                  <a:lnTo>
                    <a:pt x="511" y="99"/>
                  </a:lnTo>
                  <a:lnTo>
                    <a:pt x="500" y="51"/>
                  </a:lnTo>
                  <a:lnTo>
                    <a:pt x="445" y="40"/>
                  </a:lnTo>
                  <a:lnTo>
                    <a:pt x="413" y="27"/>
                  </a:lnTo>
                  <a:lnTo>
                    <a:pt x="358" y="0"/>
                  </a:lnTo>
                  <a:lnTo>
                    <a:pt x="349" y="40"/>
                  </a:lnTo>
                  <a:lnTo>
                    <a:pt x="314" y="60"/>
                  </a:lnTo>
                  <a:lnTo>
                    <a:pt x="301" y="115"/>
                  </a:lnTo>
                  <a:lnTo>
                    <a:pt x="263" y="134"/>
                  </a:lnTo>
                  <a:lnTo>
                    <a:pt x="219" y="165"/>
                  </a:lnTo>
                  <a:lnTo>
                    <a:pt x="196" y="213"/>
                  </a:lnTo>
                  <a:lnTo>
                    <a:pt x="139" y="209"/>
                  </a:lnTo>
                  <a:lnTo>
                    <a:pt x="128" y="253"/>
                  </a:lnTo>
                  <a:lnTo>
                    <a:pt x="108" y="28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4" name="Freeform 143"/>
            <p:cNvSpPr>
              <a:spLocks noChangeAspect="1"/>
            </p:cNvSpPr>
            <p:nvPr/>
          </p:nvSpPr>
          <p:spPr bwMode="auto">
            <a:xfrm>
              <a:off x="3895833" y="4359997"/>
              <a:ext cx="177582" cy="228970"/>
            </a:xfrm>
            <a:custGeom>
              <a:avLst/>
              <a:gdLst/>
              <a:ahLst/>
              <a:cxnLst>
                <a:cxn ang="0">
                  <a:pos x="76" y="51"/>
                </a:cxn>
                <a:cxn ang="0">
                  <a:pos x="68" y="114"/>
                </a:cxn>
                <a:cxn ang="0">
                  <a:pos x="44" y="142"/>
                </a:cxn>
                <a:cxn ang="0">
                  <a:pos x="37" y="189"/>
                </a:cxn>
                <a:cxn ang="0">
                  <a:pos x="0" y="213"/>
                </a:cxn>
                <a:cxn ang="0">
                  <a:pos x="0" y="296"/>
                </a:cxn>
                <a:cxn ang="0">
                  <a:pos x="41" y="316"/>
                </a:cxn>
                <a:cxn ang="0">
                  <a:pos x="48" y="371"/>
                </a:cxn>
                <a:cxn ang="0">
                  <a:pos x="88" y="379"/>
                </a:cxn>
                <a:cxn ang="0">
                  <a:pos x="103" y="289"/>
                </a:cxn>
                <a:cxn ang="0">
                  <a:pos x="135" y="281"/>
                </a:cxn>
                <a:cxn ang="0">
                  <a:pos x="131" y="351"/>
                </a:cxn>
                <a:cxn ang="0">
                  <a:pos x="167" y="364"/>
                </a:cxn>
                <a:cxn ang="0">
                  <a:pos x="179" y="388"/>
                </a:cxn>
                <a:cxn ang="0">
                  <a:pos x="219" y="379"/>
                </a:cxn>
                <a:cxn ang="0">
                  <a:pos x="214" y="328"/>
                </a:cxn>
                <a:cxn ang="0">
                  <a:pos x="159" y="226"/>
                </a:cxn>
                <a:cxn ang="0">
                  <a:pos x="186" y="202"/>
                </a:cxn>
                <a:cxn ang="0">
                  <a:pos x="214" y="150"/>
                </a:cxn>
                <a:cxn ang="0">
                  <a:pos x="195" y="130"/>
                </a:cxn>
                <a:cxn ang="0">
                  <a:pos x="162" y="147"/>
                </a:cxn>
                <a:cxn ang="0">
                  <a:pos x="131" y="162"/>
                </a:cxn>
                <a:cxn ang="0">
                  <a:pos x="112" y="103"/>
                </a:cxn>
                <a:cxn ang="0">
                  <a:pos x="103" y="48"/>
                </a:cxn>
                <a:cxn ang="0">
                  <a:pos x="127" y="55"/>
                </a:cxn>
                <a:cxn ang="0">
                  <a:pos x="155" y="75"/>
                </a:cxn>
                <a:cxn ang="0">
                  <a:pos x="203" y="68"/>
                </a:cxn>
                <a:cxn ang="0">
                  <a:pos x="226" y="83"/>
                </a:cxn>
                <a:cxn ang="0">
                  <a:pos x="278" y="68"/>
                </a:cxn>
                <a:cxn ang="0">
                  <a:pos x="305" y="51"/>
                </a:cxn>
                <a:cxn ang="0">
                  <a:pos x="293" y="0"/>
                </a:cxn>
                <a:cxn ang="0">
                  <a:pos x="265" y="0"/>
                </a:cxn>
                <a:cxn ang="0">
                  <a:pos x="246" y="35"/>
                </a:cxn>
                <a:cxn ang="0">
                  <a:pos x="144" y="27"/>
                </a:cxn>
                <a:cxn ang="0">
                  <a:pos x="85" y="31"/>
                </a:cxn>
                <a:cxn ang="0">
                  <a:pos x="76" y="51"/>
                </a:cxn>
              </a:cxnLst>
              <a:rect l="0" t="0" r="r" b="b"/>
              <a:pathLst>
                <a:path w="305" h="388">
                  <a:moveTo>
                    <a:pt x="76" y="51"/>
                  </a:moveTo>
                  <a:lnTo>
                    <a:pt x="68" y="114"/>
                  </a:lnTo>
                  <a:lnTo>
                    <a:pt x="44" y="142"/>
                  </a:lnTo>
                  <a:lnTo>
                    <a:pt x="37" y="189"/>
                  </a:lnTo>
                  <a:lnTo>
                    <a:pt x="0" y="213"/>
                  </a:lnTo>
                  <a:lnTo>
                    <a:pt x="0" y="296"/>
                  </a:lnTo>
                  <a:lnTo>
                    <a:pt x="41" y="316"/>
                  </a:lnTo>
                  <a:lnTo>
                    <a:pt x="48" y="371"/>
                  </a:lnTo>
                  <a:lnTo>
                    <a:pt x="88" y="379"/>
                  </a:lnTo>
                  <a:lnTo>
                    <a:pt x="103" y="289"/>
                  </a:lnTo>
                  <a:lnTo>
                    <a:pt x="135" y="281"/>
                  </a:lnTo>
                  <a:lnTo>
                    <a:pt x="131" y="351"/>
                  </a:lnTo>
                  <a:lnTo>
                    <a:pt x="167" y="364"/>
                  </a:lnTo>
                  <a:lnTo>
                    <a:pt x="179" y="388"/>
                  </a:lnTo>
                  <a:lnTo>
                    <a:pt x="219" y="379"/>
                  </a:lnTo>
                  <a:lnTo>
                    <a:pt x="214" y="328"/>
                  </a:lnTo>
                  <a:lnTo>
                    <a:pt x="159" y="226"/>
                  </a:lnTo>
                  <a:lnTo>
                    <a:pt x="186" y="202"/>
                  </a:lnTo>
                  <a:lnTo>
                    <a:pt x="214" y="150"/>
                  </a:lnTo>
                  <a:lnTo>
                    <a:pt x="195" y="130"/>
                  </a:lnTo>
                  <a:lnTo>
                    <a:pt x="162" y="147"/>
                  </a:lnTo>
                  <a:lnTo>
                    <a:pt x="131" y="162"/>
                  </a:lnTo>
                  <a:lnTo>
                    <a:pt x="112" y="103"/>
                  </a:lnTo>
                  <a:lnTo>
                    <a:pt x="103" y="48"/>
                  </a:lnTo>
                  <a:lnTo>
                    <a:pt x="127" y="55"/>
                  </a:lnTo>
                  <a:lnTo>
                    <a:pt x="155" y="75"/>
                  </a:lnTo>
                  <a:lnTo>
                    <a:pt x="203" y="68"/>
                  </a:lnTo>
                  <a:lnTo>
                    <a:pt x="226" y="83"/>
                  </a:lnTo>
                  <a:lnTo>
                    <a:pt x="278" y="68"/>
                  </a:lnTo>
                  <a:lnTo>
                    <a:pt x="305" y="51"/>
                  </a:lnTo>
                  <a:lnTo>
                    <a:pt x="293" y="0"/>
                  </a:lnTo>
                  <a:lnTo>
                    <a:pt x="265" y="0"/>
                  </a:lnTo>
                  <a:lnTo>
                    <a:pt x="246" y="35"/>
                  </a:lnTo>
                  <a:lnTo>
                    <a:pt x="144" y="27"/>
                  </a:lnTo>
                  <a:lnTo>
                    <a:pt x="85" y="31"/>
                  </a:lnTo>
                  <a:lnTo>
                    <a:pt x="76" y="5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5" name="Freeform 144"/>
            <p:cNvSpPr>
              <a:spLocks noChangeAspect="1"/>
            </p:cNvSpPr>
            <p:nvPr/>
          </p:nvSpPr>
          <p:spPr bwMode="auto">
            <a:xfrm>
              <a:off x="3438693" y="3964180"/>
              <a:ext cx="151208" cy="134898"/>
            </a:xfrm>
            <a:custGeom>
              <a:avLst/>
              <a:gdLst/>
              <a:ahLst/>
              <a:cxnLst>
                <a:cxn ang="0">
                  <a:pos x="107" y="189"/>
                </a:cxn>
                <a:cxn ang="0">
                  <a:pos x="48" y="206"/>
                </a:cxn>
                <a:cxn ang="0">
                  <a:pos x="40" y="130"/>
                </a:cxn>
                <a:cxn ang="0">
                  <a:pos x="0" y="99"/>
                </a:cxn>
                <a:cxn ang="0">
                  <a:pos x="20" y="44"/>
                </a:cxn>
                <a:cxn ang="0">
                  <a:pos x="64" y="0"/>
                </a:cxn>
                <a:cxn ang="0">
                  <a:pos x="107" y="27"/>
                </a:cxn>
                <a:cxn ang="0">
                  <a:pos x="154" y="20"/>
                </a:cxn>
                <a:cxn ang="0">
                  <a:pos x="186" y="55"/>
                </a:cxn>
                <a:cxn ang="0">
                  <a:pos x="234" y="20"/>
                </a:cxn>
                <a:cxn ang="0">
                  <a:pos x="254" y="35"/>
                </a:cxn>
                <a:cxn ang="0">
                  <a:pos x="257" y="123"/>
                </a:cxn>
                <a:cxn ang="0">
                  <a:pos x="226" y="147"/>
                </a:cxn>
                <a:cxn ang="0">
                  <a:pos x="182" y="189"/>
                </a:cxn>
                <a:cxn ang="0">
                  <a:pos x="139" y="226"/>
                </a:cxn>
                <a:cxn ang="0">
                  <a:pos x="107" y="189"/>
                </a:cxn>
              </a:cxnLst>
              <a:rect l="0" t="0" r="r" b="b"/>
              <a:pathLst>
                <a:path w="257" h="226">
                  <a:moveTo>
                    <a:pt x="107" y="189"/>
                  </a:moveTo>
                  <a:lnTo>
                    <a:pt x="48" y="206"/>
                  </a:lnTo>
                  <a:lnTo>
                    <a:pt x="40" y="130"/>
                  </a:lnTo>
                  <a:lnTo>
                    <a:pt x="0" y="99"/>
                  </a:lnTo>
                  <a:lnTo>
                    <a:pt x="20" y="44"/>
                  </a:lnTo>
                  <a:lnTo>
                    <a:pt x="64" y="0"/>
                  </a:lnTo>
                  <a:lnTo>
                    <a:pt x="107" y="27"/>
                  </a:lnTo>
                  <a:lnTo>
                    <a:pt x="154" y="20"/>
                  </a:lnTo>
                  <a:lnTo>
                    <a:pt x="186" y="55"/>
                  </a:lnTo>
                  <a:lnTo>
                    <a:pt x="234" y="20"/>
                  </a:lnTo>
                  <a:lnTo>
                    <a:pt x="254" y="35"/>
                  </a:lnTo>
                  <a:lnTo>
                    <a:pt x="257" y="123"/>
                  </a:lnTo>
                  <a:lnTo>
                    <a:pt x="226" y="147"/>
                  </a:lnTo>
                  <a:lnTo>
                    <a:pt x="182" y="189"/>
                  </a:lnTo>
                  <a:lnTo>
                    <a:pt x="139" y="226"/>
                  </a:lnTo>
                  <a:lnTo>
                    <a:pt x="107" y="18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6" name="Freeform 145"/>
            <p:cNvSpPr>
              <a:spLocks noChangeAspect="1"/>
            </p:cNvSpPr>
            <p:nvPr/>
          </p:nvSpPr>
          <p:spPr bwMode="auto">
            <a:xfrm>
              <a:off x="3433417" y="3692609"/>
              <a:ext cx="202197" cy="468590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27" y="111"/>
                </a:cxn>
                <a:cxn ang="0">
                  <a:pos x="106" y="139"/>
                </a:cxn>
                <a:cxn ang="0">
                  <a:pos x="114" y="170"/>
                </a:cxn>
                <a:cxn ang="0">
                  <a:pos x="103" y="221"/>
                </a:cxn>
                <a:cxn ang="0">
                  <a:pos x="134" y="258"/>
                </a:cxn>
                <a:cxn ang="0">
                  <a:pos x="206" y="360"/>
                </a:cxn>
                <a:cxn ang="0">
                  <a:pos x="245" y="388"/>
                </a:cxn>
                <a:cxn ang="0">
                  <a:pos x="245" y="479"/>
                </a:cxn>
                <a:cxn ang="0">
                  <a:pos x="265" y="494"/>
                </a:cxn>
                <a:cxn ang="0">
                  <a:pos x="268" y="582"/>
                </a:cxn>
                <a:cxn ang="0">
                  <a:pos x="237" y="606"/>
                </a:cxn>
                <a:cxn ang="0">
                  <a:pos x="193" y="648"/>
                </a:cxn>
                <a:cxn ang="0">
                  <a:pos x="150" y="685"/>
                </a:cxn>
                <a:cxn ang="0">
                  <a:pos x="169" y="712"/>
                </a:cxn>
                <a:cxn ang="0">
                  <a:pos x="145" y="744"/>
                </a:cxn>
                <a:cxn ang="0">
                  <a:pos x="162" y="792"/>
                </a:cxn>
                <a:cxn ang="0">
                  <a:pos x="245" y="727"/>
                </a:cxn>
                <a:cxn ang="0">
                  <a:pos x="316" y="665"/>
                </a:cxn>
                <a:cxn ang="0">
                  <a:pos x="335" y="637"/>
                </a:cxn>
                <a:cxn ang="0">
                  <a:pos x="347" y="518"/>
                </a:cxn>
                <a:cxn ang="0">
                  <a:pos x="324" y="416"/>
                </a:cxn>
                <a:cxn ang="0">
                  <a:pos x="257" y="344"/>
                </a:cxn>
                <a:cxn ang="0">
                  <a:pos x="178" y="253"/>
                </a:cxn>
                <a:cxn ang="0">
                  <a:pos x="178" y="190"/>
                </a:cxn>
                <a:cxn ang="0">
                  <a:pos x="201" y="162"/>
                </a:cxn>
                <a:cxn ang="0">
                  <a:pos x="257" y="124"/>
                </a:cxn>
                <a:cxn ang="0">
                  <a:pos x="189" y="24"/>
                </a:cxn>
                <a:cxn ang="0">
                  <a:pos x="118" y="0"/>
                </a:cxn>
                <a:cxn ang="0">
                  <a:pos x="71" y="0"/>
                </a:cxn>
                <a:cxn ang="0">
                  <a:pos x="0" y="41"/>
                </a:cxn>
              </a:cxnLst>
              <a:rect l="0" t="0" r="r" b="b"/>
              <a:pathLst>
                <a:path w="347" h="792">
                  <a:moveTo>
                    <a:pt x="0" y="41"/>
                  </a:moveTo>
                  <a:lnTo>
                    <a:pt x="27" y="111"/>
                  </a:lnTo>
                  <a:lnTo>
                    <a:pt x="106" y="139"/>
                  </a:lnTo>
                  <a:lnTo>
                    <a:pt x="114" y="170"/>
                  </a:lnTo>
                  <a:lnTo>
                    <a:pt x="103" y="221"/>
                  </a:lnTo>
                  <a:lnTo>
                    <a:pt x="134" y="258"/>
                  </a:lnTo>
                  <a:lnTo>
                    <a:pt x="206" y="360"/>
                  </a:lnTo>
                  <a:lnTo>
                    <a:pt x="245" y="388"/>
                  </a:lnTo>
                  <a:lnTo>
                    <a:pt x="245" y="479"/>
                  </a:lnTo>
                  <a:lnTo>
                    <a:pt x="265" y="494"/>
                  </a:lnTo>
                  <a:lnTo>
                    <a:pt x="268" y="582"/>
                  </a:lnTo>
                  <a:lnTo>
                    <a:pt x="237" y="606"/>
                  </a:lnTo>
                  <a:lnTo>
                    <a:pt x="193" y="648"/>
                  </a:lnTo>
                  <a:lnTo>
                    <a:pt x="150" y="685"/>
                  </a:lnTo>
                  <a:lnTo>
                    <a:pt x="169" y="712"/>
                  </a:lnTo>
                  <a:lnTo>
                    <a:pt x="145" y="744"/>
                  </a:lnTo>
                  <a:lnTo>
                    <a:pt x="162" y="792"/>
                  </a:lnTo>
                  <a:lnTo>
                    <a:pt x="245" y="727"/>
                  </a:lnTo>
                  <a:lnTo>
                    <a:pt x="316" y="665"/>
                  </a:lnTo>
                  <a:lnTo>
                    <a:pt x="335" y="637"/>
                  </a:lnTo>
                  <a:lnTo>
                    <a:pt x="347" y="518"/>
                  </a:lnTo>
                  <a:lnTo>
                    <a:pt x="324" y="416"/>
                  </a:lnTo>
                  <a:lnTo>
                    <a:pt x="257" y="344"/>
                  </a:lnTo>
                  <a:lnTo>
                    <a:pt x="178" y="253"/>
                  </a:lnTo>
                  <a:lnTo>
                    <a:pt x="178" y="190"/>
                  </a:lnTo>
                  <a:lnTo>
                    <a:pt x="201" y="162"/>
                  </a:lnTo>
                  <a:lnTo>
                    <a:pt x="257" y="124"/>
                  </a:lnTo>
                  <a:lnTo>
                    <a:pt x="189" y="24"/>
                  </a:lnTo>
                  <a:lnTo>
                    <a:pt x="118" y="0"/>
                  </a:lnTo>
                  <a:lnTo>
                    <a:pt x="71" y="0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7" name="Freeform 146"/>
            <p:cNvSpPr>
              <a:spLocks noChangeAspect="1"/>
            </p:cNvSpPr>
            <p:nvPr/>
          </p:nvSpPr>
          <p:spPr bwMode="auto">
            <a:xfrm>
              <a:off x="4300227" y="4457618"/>
              <a:ext cx="265494" cy="241395"/>
            </a:xfrm>
            <a:custGeom>
              <a:avLst/>
              <a:gdLst/>
              <a:ahLst/>
              <a:cxnLst>
                <a:cxn ang="0">
                  <a:pos x="397" y="77"/>
                </a:cxn>
                <a:cxn ang="0">
                  <a:pos x="348" y="60"/>
                </a:cxn>
                <a:cxn ang="0">
                  <a:pos x="254" y="20"/>
                </a:cxn>
                <a:cxn ang="0">
                  <a:pos x="226" y="0"/>
                </a:cxn>
                <a:cxn ang="0">
                  <a:pos x="175" y="12"/>
                </a:cxn>
                <a:cxn ang="0">
                  <a:pos x="127" y="64"/>
                </a:cxn>
                <a:cxn ang="0">
                  <a:pos x="72" y="95"/>
                </a:cxn>
                <a:cxn ang="0">
                  <a:pos x="20" y="103"/>
                </a:cxn>
                <a:cxn ang="0">
                  <a:pos x="0" y="110"/>
                </a:cxn>
                <a:cxn ang="0">
                  <a:pos x="20" y="146"/>
                </a:cxn>
                <a:cxn ang="0">
                  <a:pos x="68" y="138"/>
                </a:cxn>
                <a:cxn ang="0">
                  <a:pos x="131" y="174"/>
                </a:cxn>
                <a:cxn ang="0">
                  <a:pos x="175" y="202"/>
                </a:cxn>
                <a:cxn ang="0">
                  <a:pos x="217" y="241"/>
                </a:cxn>
                <a:cxn ang="0">
                  <a:pos x="222" y="292"/>
                </a:cxn>
                <a:cxn ang="0">
                  <a:pos x="210" y="316"/>
                </a:cxn>
                <a:cxn ang="0">
                  <a:pos x="171" y="332"/>
                </a:cxn>
                <a:cxn ang="0">
                  <a:pos x="178" y="371"/>
                </a:cxn>
                <a:cxn ang="0">
                  <a:pos x="237" y="367"/>
                </a:cxn>
                <a:cxn ang="0">
                  <a:pos x="293" y="367"/>
                </a:cxn>
                <a:cxn ang="0">
                  <a:pos x="313" y="391"/>
                </a:cxn>
                <a:cxn ang="0">
                  <a:pos x="352" y="406"/>
                </a:cxn>
                <a:cxn ang="0">
                  <a:pos x="407" y="388"/>
                </a:cxn>
                <a:cxn ang="0">
                  <a:pos x="431" y="344"/>
                </a:cxn>
                <a:cxn ang="0">
                  <a:pos x="452" y="311"/>
                </a:cxn>
                <a:cxn ang="0">
                  <a:pos x="397" y="77"/>
                </a:cxn>
              </a:cxnLst>
              <a:rect l="0" t="0" r="r" b="b"/>
              <a:pathLst>
                <a:path w="452" h="406">
                  <a:moveTo>
                    <a:pt x="397" y="77"/>
                  </a:moveTo>
                  <a:lnTo>
                    <a:pt x="348" y="60"/>
                  </a:lnTo>
                  <a:lnTo>
                    <a:pt x="254" y="20"/>
                  </a:lnTo>
                  <a:lnTo>
                    <a:pt x="226" y="0"/>
                  </a:lnTo>
                  <a:lnTo>
                    <a:pt x="175" y="12"/>
                  </a:lnTo>
                  <a:lnTo>
                    <a:pt x="127" y="64"/>
                  </a:lnTo>
                  <a:lnTo>
                    <a:pt x="72" y="95"/>
                  </a:lnTo>
                  <a:lnTo>
                    <a:pt x="20" y="103"/>
                  </a:lnTo>
                  <a:lnTo>
                    <a:pt x="0" y="110"/>
                  </a:lnTo>
                  <a:lnTo>
                    <a:pt x="20" y="146"/>
                  </a:lnTo>
                  <a:lnTo>
                    <a:pt x="68" y="138"/>
                  </a:lnTo>
                  <a:lnTo>
                    <a:pt x="131" y="174"/>
                  </a:lnTo>
                  <a:lnTo>
                    <a:pt x="175" y="202"/>
                  </a:lnTo>
                  <a:lnTo>
                    <a:pt x="217" y="241"/>
                  </a:lnTo>
                  <a:lnTo>
                    <a:pt x="222" y="292"/>
                  </a:lnTo>
                  <a:lnTo>
                    <a:pt x="210" y="316"/>
                  </a:lnTo>
                  <a:lnTo>
                    <a:pt x="171" y="332"/>
                  </a:lnTo>
                  <a:lnTo>
                    <a:pt x="178" y="371"/>
                  </a:lnTo>
                  <a:lnTo>
                    <a:pt x="237" y="367"/>
                  </a:lnTo>
                  <a:lnTo>
                    <a:pt x="293" y="367"/>
                  </a:lnTo>
                  <a:lnTo>
                    <a:pt x="313" y="391"/>
                  </a:lnTo>
                  <a:lnTo>
                    <a:pt x="352" y="406"/>
                  </a:lnTo>
                  <a:lnTo>
                    <a:pt x="407" y="388"/>
                  </a:lnTo>
                  <a:lnTo>
                    <a:pt x="431" y="344"/>
                  </a:lnTo>
                  <a:lnTo>
                    <a:pt x="452" y="311"/>
                  </a:lnTo>
                  <a:lnTo>
                    <a:pt x="397" y="7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8" name="Freeform 147"/>
            <p:cNvSpPr>
              <a:spLocks noChangeAspect="1"/>
            </p:cNvSpPr>
            <p:nvPr/>
          </p:nvSpPr>
          <p:spPr bwMode="auto">
            <a:xfrm>
              <a:off x="4124404" y="4328048"/>
              <a:ext cx="47472" cy="97623"/>
            </a:xfrm>
            <a:custGeom>
              <a:avLst/>
              <a:gdLst/>
              <a:ahLst/>
              <a:cxnLst>
                <a:cxn ang="0">
                  <a:pos x="40" y="67"/>
                </a:cxn>
                <a:cxn ang="0">
                  <a:pos x="0" y="86"/>
                </a:cxn>
                <a:cxn ang="0">
                  <a:pos x="13" y="134"/>
                </a:cxn>
                <a:cxn ang="0">
                  <a:pos x="59" y="165"/>
                </a:cxn>
                <a:cxn ang="0">
                  <a:pos x="75" y="99"/>
                </a:cxn>
                <a:cxn ang="0">
                  <a:pos x="79" y="43"/>
                </a:cxn>
                <a:cxn ang="0">
                  <a:pos x="63" y="0"/>
                </a:cxn>
                <a:cxn ang="0">
                  <a:pos x="40" y="20"/>
                </a:cxn>
                <a:cxn ang="0">
                  <a:pos x="40" y="67"/>
                </a:cxn>
              </a:cxnLst>
              <a:rect l="0" t="0" r="r" b="b"/>
              <a:pathLst>
                <a:path w="79" h="165">
                  <a:moveTo>
                    <a:pt x="40" y="67"/>
                  </a:moveTo>
                  <a:lnTo>
                    <a:pt x="0" y="86"/>
                  </a:lnTo>
                  <a:lnTo>
                    <a:pt x="13" y="134"/>
                  </a:lnTo>
                  <a:lnTo>
                    <a:pt x="59" y="165"/>
                  </a:lnTo>
                  <a:lnTo>
                    <a:pt x="75" y="99"/>
                  </a:lnTo>
                  <a:lnTo>
                    <a:pt x="79" y="43"/>
                  </a:lnTo>
                  <a:lnTo>
                    <a:pt x="63" y="0"/>
                  </a:lnTo>
                  <a:lnTo>
                    <a:pt x="40" y="20"/>
                  </a:lnTo>
                  <a:lnTo>
                    <a:pt x="40" y="6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19" name="Freeform 148"/>
            <p:cNvSpPr>
              <a:spLocks noChangeAspect="1"/>
            </p:cNvSpPr>
            <p:nvPr/>
          </p:nvSpPr>
          <p:spPr bwMode="auto">
            <a:xfrm>
              <a:off x="4161327" y="4493119"/>
              <a:ext cx="66813" cy="33724"/>
            </a:xfrm>
            <a:custGeom>
              <a:avLst/>
              <a:gdLst/>
              <a:ahLst/>
              <a:cxnLst>
                <a:cxn ang="0">
                  <a:pos x="12" y="11"/>
                </a:cxn>
                <a:cxn ang="0">
                  <a:pos x="51" y="0"/>
                </a:cxn>
                <a:cxn ang="0">
                  <a:pos x="84" y="0"/>
                </a:cxn>
                <a:cxn ang="0">
                  <a:pos x="107" y="31"/>
                </a:cxn>
                <a:cxn ang="0">
                  <a:pos x="112" y="55"/>
                </a:cxn>
                <a:cxn ang="0">
                  <a:pos x="75" y="39"/>
                </a:cxn>
                <a:cxn ang="0">
                  <a:pos x="40" y="31"/>
                </a:cxn>
                <a:cxn ang="0">
                  <a:pos x="0" y="39"/>
                </a:cxn>
                <a:cxn ang="0">
                  <a:pos x="12" y="11"/>
                </a:cxn>
              </a:cxnLst>
              <a:rect l="0" t="0" r="r" b="b"/>
              <a:pathLst>
                <a:path w="112" h="55">
                  <a:moveTo>
                    <a:pt x="12" y="11"/>
                  </a:moveTo>
                  <a:lnTo>
                    <a:pt x="51" y="0"/>
                  </a:lnTo>
                  <a:lnTo>
                    <a:pt x="84" y="0"/>
                  </a:lnTo>
                  <a:lnTo>
                    <a:pt x="107" y="31"/>
                  </a:lnTo>
                  <a:lnTo>
                    <a:pt x="112" y="55"/>
                  </a:lnTo>
                  <a:lnTo>
                    <a:pt x="75" y="39"/>
                  </a:lnTo>
                  <a:lnTo>
                    <a:pt x="40" y="31"/>
                  </a:lnTo>
                  <a:lnTo>
                    <a:pt x="0" y="39"/>
                  </a:lnTo>
                  <a:lnTo>
                    <a:pt x="12" y="1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0" name="Freeform 149"/>
            <p:cNvSpPr>
              <a:spLocks noChangeAspect="1"/>
            </p:cNvSpPr>
            <p:nvPr/>
          </p:nvSpPr>
          <p:spPr bwMode="auto">
            <a:xfrm>
              <a:off x="4064625" y="4466493"/>
              <a:ext cx="49231" cy="8875"/>
            </a:xfrm>
            <a:custGeom>
              <a:avLst/>
              <a:gdLst/>
              <a:ahLst/>
              <a:cxnLst>
                <a:cxn ang="0">
                  <a:pos x="42" y="17"/>
                </a:cxn>
                <a:cxn ang="0">
                  <a:pos x="42" y="17"/>
                </a:cxn>
                <a:cxn ang="0">
                  <a:pos x="25" y="17"/>
                </a:cxn>
                <a:cxn ang="0">
                  <a:pos x="13" y="14"/>
                </a:cxn>
                <a:cxn ang="0">
                  <a:pos x="3" y="12"/>
                </a:cxn>
                <a:cxn ang="0">
                  <a:pos x="1" y="10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1" y="7"/>
                </a:cxn>
                <a:cxn ang="0">
                  <a:pos x="3" y="5"/>
                </a:cxn>
                <a:cxn ang="0">
                  <a:pos x="13" y="3"/>
                </a:cxn>
                <a:cxn ang="0">
                  <a:pos x="25" y="0"/>
                </a:cxn>
                <a:cxn ang="0">
                  <a:pos x="42" y="0"/>
                </a:cxn>
                <a:cxn ang="0">
                  <a:pos x="42" y="0"/>
                </a:cxn>
                <a:cxn ang="0">
                  <a:pos x="58" y="0"/>
                </a:cxn>
                <a:cxn ang="0">
                  <a:pos x="72" y="3"/>
                </a:cxn>
                <a:cxn ang="0">
                  <a:pos x="81" y="5"/>
                </a:cxn>
                <a:cxn ang="0">
                  <a:pos x="83" y="7"/>
                </a:cxn>
                <a:cxn ang="0">
                  <a:pos x="84" y="9"/>
                </a:cxn>
                <a:cxn ang="0">
                  <a:pos x="84" y="9"/>
                </a:cxn>
                <a:cxn ang="0">
                  <a:pos x="83" y="10"/>
                </a:cxn>
                <a:cxn ang="0">
                  <a:pos x="81" y="12"/>
                </a:cxn>
                <a:cxn ang="0">
                  <a:pos x="72" y="14"/>
                </a:cxn>
                <a:cxn ang="0">
                  <a:pos x="58" y="17"/>
                </a:cxn>
                <a:cxn ang="0">
                  <a:pos x="42" y="17"/>
                </a:cxn>
                <a:cxn ang="0">
                  <a:pos x="42" y="17"/>
                </a:cxn>
              </a:cxnLst>
              <a:rect l="0" t="0" r="r" b="b"/>
              <a:pathLst>
                <a:path w="84" h="17">
                  <a:moveTo>
                    <a:pt x="42" y="17"/>
                  </a:moveTo>
                  <a:lnTo>
                    <a:pt x="42" y="17"/>
                  </a:lnTo>
                  <a:lnTo>
                    <a:pt x="25" y="17"/>
                  </a:lnTo>
                  <a:lnTo>
                    <a:pt x="13" y="14"/>
                  </a:lnTo>
                  <a:lnTo>
                    <a:pt x="3" y="12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7"/>
                  </a:lnTo>
                  <a:lnTo>
                    <a:pt x="3" y="5"/>
                  </a:lnTo>
                  <a:lnTo>
                    <a:pt x="13" y="3"/>
                  </a:lnTo>
                  <a:lnTo>
                    <a:pt x="25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8" y="0"/>
                  </a:lnTo>
                  <a:lnTo>
                    <a:pt x="72" y="3"/>
                  </a:lnTo>
                  <a:lnTo>
                    <a:pt x="81" y="5"/>
                  </a:lnTo>
                  <a:lnTo>
                    <a:pt x="83" y="7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3" y="10"/>
                  </a:lnTo>
                  <a:lnTo>
                    <a:pt x="81" y="12"/>
                  </a:lnTo>
                  <a:lnTo>
                    <a:pt x="72" y="14"/>
                  </a:lnTo>
                  <a:lnTo>
                    <a:pt x="58" y="17"/>
                  </a:lnTo>
                  <a:lnTo>
                    <a:pt x="42" y="17"/>
                  </a:lnTo>
                  <a:lnTo>
                    <a:pt x="42" y="1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1" name="Freeform 150"/>
            <p:cNvSpPr>
              <a:spLocks noChangeAspect="1"/>
            </p:cNvSpPr>
            <p:nvPr/>
          </p:nvSpPr>
          <p:spPr bwMode="auto">
            <a:xfrm>
              <a:off x="4314293" y="4436320"/>
              <a:ext cx="66813" cy="46149"/>
            </a:xfrm>
            <a:custGeom>
              <a:avLst/>
              <a:gdLst/>
              <a:ahLst/>
              <a:cxnLst>
                <a:cxn ang="0">
                  <a:pos x="44" y="72"/>
                </a:cxn>
                <a:cxn ang="0">
                  <a:pos x="0" y="76"/>
                </a:cxn>
                <a:cxn ang="0">
                  <a:pos x="8" y="39"/>
                </a:cxn>
                <a:cxn ang="0">
                  <a:pos x="28" y="0"/>
                </a:cxn>
                <a:cxn ang="0">
                  <a:pos x="75" y="8"/>
                </a:cxn>
                <a:cxn ang="0">
                  <a:pos x="114" y="20"/>
                </a:cxn>
                <a:cxn ang="0">
                  <a:pos x="103" y="48"/>
                </a:cxn>
                <a:cxn ang="0">
                  <a:pos x="72" y="76"/>
                </a:cxn>
                <a:cxn ang="0">
                  <a:pos x="44" y="72"/>
                </a:cxn>
              </a:cxnLst>
              <a:rect l="0" t="0" r="r" b="b"/>
              <a:pathLst>
                <a:path w="114" h="76">
                  <a:moveTo>
                    <a:pt x="44" y="72"/>
                  </a:moveTo>
                  <a:lnTo>
                    <a:pt x="0" y="76"/>
                  </a:lnTo>
                  <a:lnTo>
                    <a:pt x="8" y="39"/>
                  </a:lnTo>
                  <a:lnTo>
                    <a:pt x="28" y="0"/>
                  </a:lnTo>
                  <a:lnTo>
                    <a:pt x="75" y="8"/>
                  </a:lnTo>
                  <a:lnTo>
                    <a:pt x="114" y="20"/>
                  </a:lnTo>
                  <a:lnTo>
                    <a:pt x="103" y="48"/>
                  </a:lnTo>
                  <a:lnTo>
                    <a:pt x="72" y="76"/>
                  </a:lnTo>
                  <a:lnTo>
                    <a:pt x="44" y="7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2" name="Freeform 151"/>
            <p:cNvSpPr>
              <a:spLocks noChangeAspect="1"/>
            </p:cNvSpPr>
            <p:nvPr/>
          </p:nvSpPr>
          <p:spPr bwMode="auto">
            <a:xfrm>
              <a:off x="3605725" y="3793783"/>
              <a:ext cx="50988" cy="76323"/>
            </a:xfrm>
            <a:custGeom>
              <a:avLst/>
              <a:gdLst/>
              <a:ahLst/>
              <a:cxnLst>
                <a:cxn ang="0">
                  <a:pos x="28" y="27"/>
                </a:cxn>
                <a:cxn ang="0">
                  <a:pos x="0" y="70"/>
                </a:cxn>
                <a:cxn ang="0">
                  <a:pos x="4" y="129"/>
                </a:cxn>
                <a:cxn ang="0">
                  <a:pos x="44" y="129"/>
                </a:cxn>
                <a:cxn ang="0">
                  <a:pos x="87" y="74"/>
                </a:cxn>
                <a:cxn ang="0">
                  <a:pos x="59" y="0"/>
                </a:cxn>
                <a:cxn ang="0">
                  <a:pos x="28" y="27"/>
                </a:cxn>
              </a:cxnLst>
              <a:rect l="0" t="0" r="r" b="b"/>
              <a:pathLst>
                <a:path w="87" h="129">
                  <a:moveTo>
                    <a:pt x="28" y="27"/>
                  </a:moveTo>
                  <a:lnTo>
                    <a:pt x="0" y="70"/>
                  </a:lnTo>
                  <a:lnTo>
                    <a:pt x="4" y="129"/>
                  </a:lnTo>
                  <a:lnTo>
                    <a:pt x="44" y="129"/>
                  </a:lnTo>
                  <a:lnTo>
                    <a:pt x="87" y="74"/>
                  </a:lnTo>
                  <a:lnTo>
                    <a:pt x="59" y="0"/>
                  </a:lnTo>
                  <a:lnTo>
                    <a:pt x="28" y="2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3" name="Freeform 152"/>
            <p:cNvSpPr>
              <a:spLocks noChangeAspect="1"/>
            </p:cNvSpPr>
            <p:nvPr/>
          </p:nvSpPr>
          <p:spPr bwMode="auto">
            <a:xfrm>
              <a:off x="3802646" y="4226873"/>
              <a:ext cx="33407" cy="44374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13" y="20"/>
                </a:cxn>
                <a:cxn ang="0">
                  <a:pos x="0" y="75"/>
                </a:cxn>
                <a:cxn ang="0">
                  <a:pos x="43" y="53"/>
                </a:cxn>
                <a:cxn ang="0">
                  <a:pos x="56" y="25"/>
                </a:cxn>
                <a:cxn ang="0">
                  <a:pos x="48" y="0"/>
                </a:cxn>
              </a:cxnLst>
              <a:rect l="0" t="0" r="r" b="b"/>
              <a:pathLst>
                <a:path w="56" h="75">
                  <a:moveTo>
                    <a:pt x="48" y="0"/>
                  </a:moveTo>
                  <a:lnTo>
                    <a:pt x="13" y="20"/>
                  </a:lnTo>
                  <a:lnTo>
                    <a:pt x="0" y="75"/>
                  </a:lnTo>
                  <a:lnTo>
                    <a:pt x="43" y="53"/>
                  </a:lnTo>
                  <a:lnTo>
                    <a:pt x="56" y="25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4" name="Freeform 153"/>
            <p:cNvSpPr>
              <a:spLocks noChangeAspect="1"/>
            </p:cNvSpPr>
            <p:nvPr/>
          </p:nvSpPr>
          <p:spPr bwMode="auto">
            <a:xfrm>
              <a:off x="1865071" y="3138820"/>
              <a:ext cx="527470" cy="486340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44" y="139"/>
                </a:cxn>
                <a:cxn ang="0">
                  <a:pos x="62" y="235"/>
                </a:cxn>
                <a:cxn ang="0">
                  <a:pos x="102" y="291"/>
                </a:cxn>
                <a:cxn ang="0">
                  <a:pos x="71" y="362"/>
                </a:cxn>
                <a:cxn ang="0">
                  <a:pos x="122" y="421"/>
                </a:cxn>
                <a:cxn ang="0">
                  <a:pos x="185" y="421"/>
                </a:cxn>
                <a:cxn ang="0">
                  <a:pos x="178" y="504"/>
                </a:cxn>
                <a:cxn ang="0">
                  <a:pos x="209" y="559"/>
                </a:cxn>
                <a:cxn ang="0">
                  <a:pos x="272" y="571"/>
                </a:cxn>
                <a:cxn ang="0">
                  <a:pos x="299" y="594"/>
                </a:cxn>
                <a:cxn ang="0">
                  <a:pos x="351" y="670"/>
                </a:cxn>
                <a:cxn ang="0">
                  <a:pos x="387" y="701"/>
                </a:cxn>
                <a:cxn ang="0">
                  <a:pos x="549" y="745"/>
                </a:cxn>
                <a:cxn ang="0">
                  <a:pos x="596" y="721"/>
                </a:cxn>
                <a:cxn ang="0">
                  <a:pos x="660" y="824"/>
                </a:cxn>
                <a:cxn ang="0">
                  <a:pos x="825" y="824"/>
                </a:cxn>
                <a:cxn ang="0">
                  <a:pos x="873" y="769"/>
                </a:cxn>
                <a:cxn ang="0">
                  <a:pos x="884" y="705"/>
                </a:cxn>
                <a:cxn ang="0">
                  <a:pos x="837" y="650"/>
                </a:cxn>
                <a:cxn ang="0">
                  <a:pos x="790" y="583"/>
                </a:cxn>
                <a:cxn ang="0">
                  <a:pos x="798" y="496"/>
                </a:cxn>
                <a:cxn ang="0">
                  <a:pos x="754" y="385"/>
                </a:cxn>
                <a:cxn ang="0">
                  <a:pos x="758" y="211"/>
                </a:cxn>
                <a:cxn ang="0">
                  <a:pos x="623" y="129"/>
                </a:cxn>
                <a:cxn ang="0">
                  <a:pos x="493" y="108"/>
                </a:cxn>
                <a:cxn ang="0">
                  <a:pos x="426" y="167"/>
                </a:cxn>
                <a:cxn ang="0">
                  <a:pos x="355" y="208"/>
                </a:cxn>
                <a:cxn ang="0">
                  <a:pos x="248" y="160"/>
                </a:cxn>
                <a:cxn ang="0">
                  <a:pos x="189" y="70"/>
                </a:cxn>
                <a:cxn ang="0">
                  <a:pos x="146" y="26"/>
                </a:cxn>
                <a:cxn ang="0">
                  <a:pos x="75" y="64"/>
                </a:cxn>
                <a:cxn ang="0">
                  <a:pos x="16" y="0"/>
                </a:cxn>
              </a:cxnLst>
              <a:rect l="0" t="0" r="r" b="b"/>
              <a:pathLst>
                <a:path w="901" h="824">
                  <a:moveTo>
                    <a:pt x="16" y="0"/>
                  </a:moveTo>
                  <a:lnTo>
                    <a:pt x="0" y="21"/>
                  </a:lnTo>
                  <a:lnTo>
                    <a:pt x="21" y="80"/>
                  </a:lnTo>
                  <a:lnTo>
                    <a:pt x="44" y="139"/>
                  </a:lnTo>
                  <a:lnTo>
                    <a:pt x="56" y="199"/>
                  </a:lnTo>
                  <a:lnTo>
                    <a:pt x="62" y="235"/>
                  </a:lnTo>
                  <a:lnTo>
                    <a:pt x="110" y="243"/>
                  </a:lnTo>
                  <a:lnTo>
                    <a:pt x="102" y="291"/>
                  </a:lnTo>
                  <a:lnTo>
                    <a:pt x="71" y="314"/>
                  </a:lnTo>
                  <a:lnTo>
                    <a:pt x="71" y="362"/>
                  </a:lnTo>
                  <a:lnTo>
                    <a:pt x="113" y="381"/>
                  </a:lnTo>
                  <a:lnTo>
                    <a:pt x="122" y="421"/>
                  </a:lnTo>
                  <a:lnTo>
                    <a:pt x="154" y="429"/>
                  </a:lnTo>
                  <a:lnTo>
                    <a:pt x="185" y="421"/>
                  </a:lnTo>
                  <a:lnTo>
                    <a:pt x="193" y="460"/>
                  </a:lnTo>
                  <a:lnTo>
                    <a:pt x="178" y="504"/>
                  </a:lnTo>
                  <a:lnTo>
                    <a:pt x="205" y="515"/>
                  </a:lnTo>
                  <a:lnTo>
                    <a:pt x="209" y="559"/>
                  </a:lnTo>
                  <a:lnTo>
                    <a:pt x="229" y="579"/>
                  </a:lnTo>
                  <a:lnTo>
                    <a:pt x="272" y="571"/>
                  </a:lnTo>
                  <a:lnTo>
                    <a:pt x="275" y="552"/>
                  </a:lnTo>
                  <a:lnTo>
                    <a:pt x="299" y="594"/>
                  </a:lnTo>
                  <a:lnTo>
                    <a:pt x="312" y="658"/>
                  </a:lnTo>
                  <a:lnTo>
                    <a:pt x="351" y="670"/>
                  </a:lnTo>
                  <a:lnTo>
                    <a:pt x="347" y="697"/>
                  </a:lnTo>
                  <a:lnTo>
                    <a:pt x="387" y="701"/>
                  </a:lnTo>
                  <a:lnTo>
                    <a:pt x="410" y="738"/>
                  </a:lnTo>
                  <a:lnTo>
                    <a:pt x="549" y="745"/>
                  </a:lnTo>
                  <a:lnTo>
                    <a:pt x="568" y="709"/>
                  </a:lnTo>
                  <a:lnTo>
                    <a:pt x="596" y="721"/>
                  </a:lnTo>
                  <a:lnTo>
                    <a:pt x="612" y="793"/>
                  </a:lnTo>
                  <a:lnTo>
                    <a:pt x="660" y="824"/>
                  </a:lnTo>
                  <a:lnTo>
                    <a:pt x="798" y="815"/>
                  </a:lnTo>
                  <a:lnTo>
                    <a:pt x="825" y="824"/>
                  </a:lnTo>
                  <a:lnTo>
                    <a:pt x="837" y="780"/>
                  </a:lnTo>
                  <a:lnTo>
                    <a:pt x="873" y="769"/>
                  </a:lnTo>
                  <a:lnTo>
                    <a:pt x="901" y="733"/>
                  </a:lnTo>
                  <a:lnTo>
                    <a:pt x="884" y="705"/>
                  </a:lnTo>
                  <a:lnTo>
                    <a:pt x="849" y="701"/>
                  </a:lnTo>
                  <a:lnTo>
                    <a:pt x="837" y="650"/>
                  </a:lnTo>
                  <a:lnTo>
                    <a:pt x="785" y="626"/>
                  </a:lnTo>
                  <a:lnTo>
                    <a:pt x="790" y="583"/>
                  </a:lnTo>
                  <a:lnTo>
                    <a:pt x="813" y="552"/>
                  </a:lnTo>
                  <a:lnTo>
                    <a:pt x="798" y="496"/>
                  </a:lnTo>
                  <a:lnTo>
                    <a:pt x="742" y="496"/>
                  </a:lnTo>
                  <a:lnTo>
                    <a:pt x="754" y="385"/>
                  </a:lnTo>
                  <a:lnTo>
                    <a:pt x="742" y="314"/>
                  </a:lnTo>
                  <a:lnTo>
                    <a:pt x="758" y="211"/>
                  </a:lnTo>
                  <a:lnTo>
                    <a:pt x="695" y="180"/>
                  </a:lnTo>
                  <a:lnTo>
                    <a:pt x="623" y="129"/>
                  </a:lnTo>
                  <a:lnTo>
                    <a:pt x="572" y="125"/>
                  </a:lnTo>
                  <a:lnTo>
                    <a:pt x="493" y="108"/>
                  </a:lnTo>
                  <a:lnTo>
                    <a:pt x="474" y="149"/>
                  </a:lnTo>
                  <a:lnTo>
                    <a:pt x="426" y="167"/>
                  </a:lnTo>
                  <a:lnTo>
                    <a:pt x="378" y="184"/>
                  </a:lnTo>
                  <a:lnTo>
                    <a:pt x="355" y="208"/>
                  </a:lnTo>
                  <a:lnTo>
                    <a:pt x="299" y="199"/>
                  </a:lnTo>
                  <a:lnTo>
                    <a:pt x="248" y="160"/>
                  </a:lnTo>
                  <a:lnTo>
                    <a:pt x="205" y="129"/>
                  </a:lnTo>
                  <a:lnTo>
                    <a:pt x="189" y="70"/>
                  </a:lnTo>
                  <a:lnTo>
                    <a:pt x="174" y="9"/>
                  </a:lnTo>
                  <a:lnTo>
                    <a:pt x="146" y="26"/>
                  </a:lnTo>
                  <a:lnTo>
                    <a:pt x="134" y="64"/>
                  </a:lnTo>
                  <a:lnTo>
                    <a:pt x="75" y="64"/>
                  </a:lnTo>
                  <a:lnTo>
                    <a:pt x="54" y="26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5" name="Freeform 154"/>
            <p:cNvSpPr>
              <a:spLocks noChangeAspect="1"/>
            </p:cNvSpPr>
            <p:nvPr/>
          </p:nvSpPr>
          <p:spPr bwMode="auto">
            <a:xfrm>
              <a:off x="2049686" y="3593211"/>
              <a:ext cx="26373" cy="46149"/>
            </a:xfrm>
            <a:custGeom>
              <a:avLst/>
              <a:gdLst/>
              <a:ahLst/>
              <a:cxnLst>
                <a:cxn ang="0">
                  <a:pos x="31" y="79"/>
                </a:cxn>
                <a:cxn ang="0">
                  <a:pos x="7" y="59"/>
                </a:cxn>
                <a:cxn ang="0">
                  <a:pos x="0" y="0"/>
                </a:cxn>
                <a:cxn ang="0">
                  <a:pos x="31" y="11"/>
                </a:cxn>
                <a:cxn ang="0">
                  <a:pos x="45" y="33"/>
                </a:cxn>
                <a:cxn ang="0">
                  <a:pos x="31" y="79"/>
                </a:cxn>
              </a:cxnLst>
              <a:rect l="0" t="0" r="r" b="b"/>
              <a:pathLst>
                <a:path w="45" h="79">
                  <a:moveTo>
                    <a:pt x="31" y="79"/>
                  </a:moveTo>
                  <a:lnTo>
                    <a:pt x="7" y="59"/>
                  </a:lnTo>
                  <a:lnTo>
                    <a:pt x="0" y="0"/>
                  </a:lnTo>
                  <a:lnTo>
                    <a:pt x="31" y="11"/>
                  </a:lnTo>
                  <a:lnTo>
                    <a:pt x="45" y="33"/>
                  </a:lnTo>
                  <a:lnTo>
                    <a:pt x="31" y="7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6" name="Freeform 155"/>
            <p:cNvSpPr>
              <a:spLocks noChangeAspect="1"/>
            </p:cNvSpPr>
            <p:nvPr/>
          </p:nvSpPr>
          <p:spPr bwMode="auto">
            <a:xfrm>
              <a:off x="2049686" y="3593211"/>
              <a:ext cx="26373" cy="46149"/>
            </a:xfrm>
            <a:custGeom>
              <a:avLst/>
              <a:gdLst/>
              <a:ahLst/>
              <a:cxnLst>
                <a:cxn ang="0">
                  <a:pos x="31" y="79"/>
                </a:cxn>
                <a:cxn ang="0">
                  <a:pos x="7" y="59"/>
                </a:cxn>
                <a:cxn ang="0">
                  <a:pos x="0" y="0"/>
                </a:cxn>
                <a:cxn ang="0">
                  <a:pos x="31" y="11"/>
                </a:cxn>
                <a:cxn ang="0">
                  <a:pos x="45" y="33"/>
                </a:cxn>
                <a:cxn ang="0">
                  <a:pos x="31" y="79"/>
                </a:cxn>
              </a:cxnLst>
              <a:rect l="0" t="0" r="r" b="b"/>
              <a:pathLst>
                <a:path w="45" h="79">
                  <a:moveTo>
                    <a:pt x="31" y="79"/>
                  </a:moveTo>
                  <a:lnTo>
                    <a:pt x="7" y="59"/>
                  </a:lnTo>
                  <a:lnTo>
                    <a:pt x="0" y="0"/>
                  </a:lnTo>
                  <a:lnTo>
                    <a:pt x="31" y="11"/>
                  </a:lnTo>
                  <a:lnTo>
                    <a:pt x="45" y="33"/>
                  </a:lnTo>
                  <a:lnTo>
                    <a:pt x="31" y="79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7" name="Freeform 156"/>
            <p:cNvSpPr>
              <a:spLocks noChangeAspect="1"/>
            </p:cNvSpPr>
            <p:nvPr/>
          </p:nvSpPr>
          <p:spPr bwMode="auto">
            <a:xfrm>
              <a:off x="2098917" y="3644684"/>
              <a:ext cx="200439" cy="260920"/>
            </a:xfrm>
            <a:custGeom>
              <a:avLst/>
              <a:gdLst/>
              <a:ahLst/>
              <a:cxnLst>
                <a:cxn ang="0">
                  <a:pos x="124" y="106"/>
                </a:cxn>
                <a:cxn ang="0">
                  <a:pos x="162" y="162"/>
                </a:cxn>
                <a:cxn ang="0">
                  <a:pos x="131" y="288"/>
                </a:cxn>
                <a:cxn ang="0">
                  <a:pos x="0" y="316"/>
                </a:cxn>
                <a:cxn ang="0">
                  <a:pos x="21" y="371"/>
                </a:cxn>
                <a:cxn ang="0">
                  <a:pos x="48" y="442"/>
                </a:cxn>
                <a:cxn ang="0">
                  <a:pos x="127" y="430"/>
                </a:cxn>
                <a:cxn ang="0">
                  <a:pos x="155" y="383"/>
                </a:cxn>
                <a:cxn ang="0">
                  <a:pos x="194" y="371"/>
                </a:cxn>
                <a:cxn ang="0">
                  <a:pos x="218" y="344"/>
                </a:cxn>
                <a:cxn ang="0">
                  <a:pos x="269" y="331"/>
                </a:cxn>
                <a:cxn ang="0">
                  <a:pos x="277" y="244"/>
                </a:cxn>
                <a:cxn ang="0">
                  <a:pos x="297" y="213"/>
                </a:cxn>
                <a:cxn ang="0">
                  <a:pos x="332" y="193"/>
                </a:cxn>
                <a:cxn ang="0">
                  <a:pos x="344" y="106"/>
                </a:cxn>
                <a:cxn ang="0">
                  <a:pos x="304" y="94"/>
                </a:cxn>
                <a:cxn ang="0">
                  <a:pos x="301" y="51"/>
                </a:cxn>
                <a:cxn ang="0">
                  <a:pos x="200" y="22"/>
                </a:cxn>
                <a:cxn ang="0">
                  <a:pos x="190" y="0"/>
                </a:cxn>
                <a:cxn ang="0">
                  <a:pos x="124" y="106"/>
                </a:cxn>
              </a:cxnLst>
              <a:rect l="0" t="0" r="r" b="b"/>
              <a:pathLst>
                <a:path w="344" h="442">
                  <a:moveTo>
                    <a:pt x="124" y="106"/>
                  </a:moveTo>
                  <a:lnTo>
                    <a:pt x="162" y="162"/>
                  </a:lnTo>
                  <a:lnTo>
                    <a:pt x="131" y="288"/>
                  </a:lnTo>
                  <a:lnTo>
                    <a:pt x="0" y="316"/>
                  </a:lnTo>
                  <a:lnTo>
                    <a:pt x="21" y="371"/>
                  </a:lnTo>
                  <a:lnTo>
                    <a:pt x="48" y="442"/>
                  </a:lnTo>
                  <a:lnTo>
                    <a:pt x="127" y="430"/>
                  </a:lnTo>
                  <a:lnTo>
                    <a:pt x="155" y="383"/>
                  </a:lnTo>
                  <a:lnTo>
                    <a:pt x="194" y="371"/>
                  </a:lnTo>
                  <a:lnTo>
                    <a:pt x="218" y="344"/>
                  </a:lnTo>
                  <a:lnTo>
                    <a:pt x="269" y="331"/>
                  </a:lnTo>
                  <a:lnTo>
                    <a:pt x="277" y="244"/>
                  </a:lnTo>
                  <a:lnTo>
                    <a:pt x="297" y="213"/>
                  </a:lnTo>
                  <a:lnTo>
                    <a:pt x="332" y="193"/>
                  </a:lnTo>
                  <a:lnTo>
                    <a:pt x="344" y="106"/>
                  </a:lnTo>
                  <a:lnTo>
                    <a:pt x="304" y="94"/>
                  </a:lnTo>
                  <a:lnTo>
                    <a:pt x="301" y="51"/>
                  </a:lnTo>
                  <a:lnTo>
                    <a:pt x="200" y="22"/>
                  </a:lnTo>
                  <a:lnTo>
                    <a:pt x="190" y="0"/>
                  </a:lnTo>
                  <a:lnTo>
                    <a:pt x="124" y="10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8" name="Freeform 157"/>
            <p:cNvSpPr>
              <a:spLocks noChangeAspect="1"/>
            </p:cNvSpPr>
            <p:nvPr/>
          </p:nvSpPr>
          <p:spPr bwMode="auto">
            <a:xfrm>
              <a:off x="1726171" y="3234668"/>
              <a:ext cx="261977" cy="299969"/>
            </a:xfrm>
            <a:custGeom>
              <a:avLst/>
              <a:gdLst/>
              <a:ahLst/>
              <a:cxnLst>
                <a:cxn ang="0">
                  <a:pos x="341" y="508"/>
                </a:cxn>
                <a:cxn ang="0">
                  <a:pos x="316" y="491"/>
                </a:cxn>
                <a:cxn ang="0">
                  <a:pos x="265" y="460"/>
                </a:cxn>
                <a:cxn ang="0">
                  <a:pos x="226" y="390"/>
                </a:cxn>
                <a:cxn ang="0">
                  <a:pos x="190" y="377"/>
                </a:cxn>
                <a:cxn ang="0">
                  <a:pos x="158" y="326"/>
                </a:cxn>
                <a:cxn ang="0">
                  <a:pos x="107" y="329"/>
                </a:cxn>
                <a:cxn ang="0">
                  <a:pos x="75" y="306"/>
                </a:cxn>
                <a:cxn ang="0">
                  <a:pos x="44" y="283"/>
                </a:cxn>
                <a:cxn ang="0">
                  <a:pos x="28" y="287"/>
                </a:cxn>
                <a:cxn ang="0">
                  <a:pos x="0" y="239"/>
                </a:cxn>
                <a:cxn ang="0">
                  <a:pos x="48" y="211"/>
                </a:cxn>
                <a:cxn ang="0">
                  <a:pos x="107" y="171"/>
                </a:cxn>
                <a:cxn ang="0">
                  <a:pos x="114" y="129"/>
                </a:cxn>
                <a:cxn ang="0">
                  <a:pos x="115" y="68"/>
                </a:cxn>
                <a:cxn ang="0">
                  <a:pos x="148" y="41"/>
                </a:cxn>
                <a:cxn ang="0">
                  <a:pos x="176" y="13"/>
                </a:cxn>
                <a:cxn ang="0">
                  <a:pos x="218" y="0"/>
                </a:cxn>
                <a:cxn ang="0">
                  <a:pos x="238" y="32"/>
                </a:cxn>
                <a:cxn ang="0">
                  <a:pos x="294" y="37"/>
                </a:cxn>
                <a:cxn ang="0">
                  <a:pos x="300" y="73"/>
                </a:cxn>
                <a:cxn ang="0">
                  <a:pos x="348" y="81"/>
                </a:cxn>
                <a:cxn ang="0">
                  <a:pos x="340" y="129"/>
                </a:cxn>
                <a:cxn ang="0">
                  <a:pos x="309" y="152"/>
                </a:cxn>
                <a:cxn ang="0">
                  <a:pos x="309" y="200"/>
                </a:cxn>
                <a:cxn ang="0">
                  <a:pos x="351" y="219"/>
                </a:cxn>
                <a:cxn ang="0">
                  <a:pos x="360" y="259"/>
                </a:cxn>
                <a:cxn ang="0">
                  <a:pos x="392" y="267"/>
                </a:cxn>
                <a:cxn ang="0">
                  <a:pos x="423" y="259"/>
                </a:cxn>
                <a:cxn ang="0">
                  <a:pos x="431" y="298"/>
                </a:cxn>
                <a:cxn ang="0">
                  <a:pos x="416" y="342"/>
                </a:cxn>
                <a:cxn ang="0">
                  <a:pos x="443" y="353"/>
                </a:cxn>
                <a:cxn ang="0">
                  <a:pos x="447" y="397"/>
                </a:cxn>
                <a:cxn ang="0">
                  <a:pos x="407" y="409"/>
                </a:cxn>
                <a:cxn ang="0">
                  <a:pos x="379" y="417"/>
                </a:cxn>
                <a:cxn ang="0">
                  <a:pos x="375" y="484"/>
                </a:cxn>
                <a:cxn ang="0">
                  <a:pos x="341" y="508"/>
                </a:cxn>
              </a:cxnLst>
              <a:rect l="0" t="0" r="r" b="b"/>
              <a:pathLst>
                <a:path w="447" h="508">
                  <a:moveTo>
                    <a:pt x="341" y="508"/>
                  </a:moveTo>
                  <a:lnTo>
                    <a:pt x="316" y="491"/>
                  </a:lnTo>
                  <a:lnTo>
                    <a:pt x="265" y="460"/>
                  </a:lnTo>
                  <a:lnTo>
                    <a:pt x="226" y="390"/>
                  </a:lnTo>
                  <a:lnTo>
                    <a:pt x="190" y="377"/>
                  </a:lnTo>
                  <a:lnTo>
                    <a:pt x="158" y="326"/>
                  </a:lnTo>
                  <a:lnTo>
                    <a:pt x="107" y="329"/>
                  </a:lnTo>
                  <a:lnTo>
                    <a:pt x="75" y="306"/>
                  </a:lnTo>
                  <a:lnTo>
                    <a:pt x="44" y="283"/>
                  </a:lnTo>
                  <a:lnTo>
                    <a:pt x="28" y="287"/>
                  </a:lnTo>
                  <a:lnTo>
                    <a:pt x="0" y="239"/>
                  </a:lnTo>
                  <a:lnTo>
                    <a:pt x="48" y="211"/>
                  </a:lnTo>
                  <a:lnTo>
                    <a:pt x="107" y="171"/>
                  </a:lnTo>
                  <a:lnTo>
                    <a:pt x="114" y="129"/>
                  </a:lnTo>
                  <a:lnTo>
                    <a:pt x="115" y="68"/>
                  </a:lnTo>
                  <a:lnTo>
                    <a:pt x="148" y="41"/>
                  </a:lnTo>
                  <a:lnTo>
                    <a:pt x="176" y="13"/>
                  </a:lnTo>
                  <a:lnTo>
                    <a:pt x="218" y="0"/>
                  </a:lnTo>
                  <a:lnTo>
                    <a:pt x="238" y="32"/>
                  </a:lnTo>
                  <a:lnTo>
                    <a:pt x="294" y="37"/>
                  </a:lnTo>
                  <a:lnTo>
                    <a:pt x="300" y="73"/>
                  </a:lnTo>
                  <a:lnTo>
                    <a:pt x="348" y="81"/>
                  </a:lnTo>
                  <a:lnTo>
                    <a:pt x="340" y="129"/>
                  </a:lnTo>
                  <a:lnTo>
                    <a:pt x="309" y="152"/>
                  </a:lnTo>
                  <a:lnTo>
                    <a:pt x="309" y="200"/>
                  </a:lnTo>
                  <a:lnTo>
                    <a:pt x="351" y="219"/>
                  </a:lnTo>
                  <a:lnTo>
                    <a:pt x="360" y="259"/>
                  </a:lnTo>
                  <a:lnTo>
                    <a:pt x="392" y="267"/>
                  </a:lnTo>
                  <a:lnTo>
                    <a:pt x="423" y="259"/>
                  </a:lnTo>
                  <a:lnTo>
                    <a:pt x="431" y="298"/>
                  </a:lnTo>
                  <a:lnTo>
                    <a:pt x="416" y="342"/>
                  </a:lnTo>
                  <a:lnTo>
                    <a:pt x="443" y="353"/>
                  </a:lnTo>
                  <a:lnTo>
                    <a:pt x="447" y="397"/>
                  </a:lnTo>
                  <a:lnTo>
                    <a:pt x="407" y="409"/>
                  </a:lnTo>
                  <a:lnTo>
                    <a:pt x="379" y="417"/>
                  </a:lnTo>
                  <a:lnTo>
                    <a:pt x="375" y="484"/>
                  </a:lnTo>
                  <a:lnTo>
                    <a:pt x="341" y="50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29" name="Freeform 158"/>
            <p:cNvSpPr>
              <a:spLocks noChangeAspect="1"/>
            </p:cNvSpPr>
            <p:nvPr/>
          </p:nvSpPr>
          <p:spPr bwMode="auto">
            <a:xfrm>
              <a:off x="1726171" y="3234668"/>
              <a:ext cx="261977" cy="299969"/>
            </a:xfrm>
            <a:custGeom>
              <a:avLst/>
              <a:gdLst/>
              <a:ahLst/>
              <a:cxnLst>
                <a:cxn ang="0">
                  <a:pos x="341" y="508"/>
                </a:cxn>
                <a:cxn ang="0">
                  <a:pos x="316" y="491"/>
                </a:cxn>
                <a:cxn ang="0">
                  <a:pos x="265" y="460"/>
                </a:cxn>
                <a:cxn ang="0">
                  <a:pos x="226" y="390"/>
                </a:cxn>
                <a:cxn ang="0">
                  <a:pos x="190" y="377"/>
                </a:cxn>
                <a:cxn ang="0">
                  <a:pos x="158" y="326"/>
                </a:cxn>
                <a:cxn ang="0">
                  <a:pos x="107" y="329"/>
                </a:cxn>
                <a:cxn ang="0">
                  <a:pos x="75" y="306"/>
                </a:cxn>
                <a:cxn ang="0">
                  <a:pos x="44" y="283"/>
                </a:cxn>
                <a:cxn ang="0">
                  <a:pos x="28" y="287"/>
                </a:cxn>
                <a:cxn ang="0">
                  <a:pos x="0" y="239"/>
                </a:cxn>
                <a:cxn ang="0">
                  <a:pos x="48" y="211"/>
                </a:cxn>
                <a:cxn ang="0">
                  <a:pos x="107" y="171"/>
                </a:cxn>
                <a:cxn ang="0">
                  <a:pos x="114" y="129"/>
                </a:cxn>
                <a:cxn ang="0">
                  <a:pos x="115" y="68"/>
                </a:cxn>
                <a:cxn ang="0">
                  <a:pos x="148" y="41"/>
                </a:cxn>
                <a:cxn ang="0">
                  <a:pos x="176" y="13"/>
                </a:cxn>
                <a:cxn ang="0">
                  <a:pos x="218" y="0"/>
                </a:cxn>
                <a:cxn ang="0">
                  <a:pos x="238" y="32"/>
                </a:cxn>
                <a:cxn ang="0">
                  <a:pos x="294" y="37"/>
                </a:cxn>
                <a:cxn ang="0">
                  <a:pos x="300" y="73"/>
                </a:cxn>
                <a:cxn ang="0">
                  <a:pos x="348" y="81"/>
                </a:cxn>
                <a:cxn ang="0">
                  <a:pos x="340" y="129"/>
                </a:cxn>
                <a:cxn ang="0">
                  <a:pos x="309" y="152"/>
                </a:cxn>
                <a:cxn ang="0">
                  <a:pos x="309" y="200"/>
                </a:cxn>
                <a:cxn ang="0">
                  <a:pos x="351" y="219"/>
                </a:cxn>
                <a:cxn ang="0">
                  <a:pos x="360" y="259"/>
                </a:cxn>
                <a:cxn ang="0">
                  <a:pos x="392" y="267"/>
                </a:cxn>
                <a:cxn ang="0">
                  <a:pos x="423" y="259"/>
                </a:cxn>
                <a:cxn ang="0">
                  <a:pos x="431" y="298"/>
                </a:cxn>
                <a:cxn ang="0">
                  <a:pos x="416" y="342"/>
                </a:cxn>
                <a:cxn ang="0">
                  <a:pos x="443" y="353"/>
                </a:cxn>
                <a:cxn ang="0">
                  <a:pos x="447" y="397"/>
                </a:cxn>
                <a:cxn ang="0">
                  <a:pos x="407" y="409"/>
                </a:cxn>
                <a:cxn ang="0">
                  <a:pos x="379" y="417"/>
                </a:cxn>
                <a:cxn ang="0">
                  <a:pos x="375" y="484"/>
                </a:cxn>
                <a:cxn ang="0">
                  <a:pos x="341" y="508"/>
                </a:cxn>
              </a:cxnLst>
              <a:rect l="0" t="0" r="r" b="b"/>
              <a:pathLst>
                <a:path w="447" h="508">
                  <a:moveTo>
                    <a:pt x="341" y="508"/>
                  </a:moveTo>
                  <a:lnTo>
                    <a:pt x="316" y="491"/>
                  </a:lnTo>
                  <a:lnTo>
                    <a:pt x="265" y="460"/>
                  </a:lnTo>
                  <a:lnTo>
                    <a:pt x="226" y="390"/>
                  </a:lnTo>
                  <a:lnTo>
                    <a:pt x="190" y="377"/>
                  </a:lnTo>
                  <a:lnTo>
                    <a:pt x="158" y="326"/>
                  </a:lnTo>
                  <a:lnTo>
                    <a:pt x="107" y="329"/>
                  </a:lnTo>
                  <a:lnTo>
                    <a:pt x="75" y="306"/>
                  </a:lnTo>
                  <a:lnTo>
                    <a:pt x="44" y="283"/>
                  </a:lnTo>
                  <a:lnTo>
                    <a:pt x="28" y="287"/>
                  </a:lnTo>
                  <a:lnTo>
                    <a:pt x="0" y="239"/>
                  </a:lnTo>
                  <a:lnTo>
                    <a:pt x="48" y="211"/>
                  </a:lnTo>
                  <a:lnTo>
                    <a:pt x="107" y="171"/>
                  </a:lnTo>
                  <a:lnTo>
                    <a:pt x="114" y="129"/>
                  </a:lnTo>
                  <a:lnTo>
                    <a:pt x="115" y="68"/>
                  </a:lnTo>
                  <a:lnTo>
                    <a:pt x="148" y="41"/>
                  </a:lnTo>
                  <a:lnTo>
                    <a:pt x="176" y="13"/>
                  </a:lnTo>
                  <a:lnTo>
                    <a:pt x="218" y="0"/>
                  </a:lnTo>
                  <a:lnTo>
                    <a:pt x="238" y="32"/>
                  </a:lnTo>
                  <a:lnTo>
                    <a:pt x="294" y="37"/>
                  </a:lnTo>
                  <a:lnTo>
                    <a:pt x="300" y="73"/>
                  </a:lnTo>
                  <a:lnTo>
                    <a:pt x="348" y="81"/>
                  </a:lnTo>
                  <a:lnTo>
                    <a:pt x="340" y="129"/>
                  </a:lnTo>
                  <a:lnTo>
                    <a:pt x="309" y="152"/>
                  </a:lnTo>
                  <a:lnTo>
                    <a:pt x="309" y="200"/>
                  </a:lnTo>
                  <a:lnTo>
                    <a:pt x="351" y="219"/>
                  </a:lnTo>
                  <a:lnTo>
                    <a:pt x="360" y="259"/>
                  </a:lnTo>
                  <a:lnTo>
                    <a:pt x="392" y="267"/>
                  </a:lnTo>
                  <a:lnTo>
                    <a:pt x="423" y="259"/>
                  </a:lnTo>
                  <a:lnTo>
                    <a:pt x="431" y="298"/>
                  </a:lnTo>
                  <a:lnTo>
                    <a:pt x="416" y="342"/>
                  </a:lnTo>
                  <a:lnTo>
                    <a:pt x="443" y="353"/>
                  </a:lnTo>
                  <a:lnTo>
                    <a:pt x="447" y="397"/>
                  </a:lnTo>
                  <a:lnTo>
                    <a:pt x="407" y="409"/>
                  </a:lnTo>
                  <a:lnTo>
                    <a:pt x="379" y="417"/>
                  </a:lnTo>
                  <a:lnTo>
                    <a:pt x="375" y="484"/>
                  </a:lnTo>
                  <a:lnTo>
                    <a:pt x="341" y="508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0" name="Freeform 159"/>
            <p:cNvSpPr>
              <a:spLocks noChangeAspect="1"/>
            </p:cNvSpPr>
            <p:nvPr/>
          </p:nvSpPr>
          <p:spPr bwMode="auto">
            <a:xfrm>
              <a:off x="723978" y="4109727"/>
              <a:ext cx="43956" cy="131348"/>
            </a:xfrm>
            <a:custGeom>
              <a:avLst/>
              <a:gdLst/>
              <a:ahLst/>
              <a:cxnLst>
                <a:cxn ang="0">
                  <a:pos x="44" y="222"/>
                </a:cxn>
                <a:cxn ang="0">
                  <a:pos x="29" y="162"/>
                </a:cxn>
                <a:cxn ang="0">
                  <a:pos x="21" y="99"/>
                </a:cxn>
                <a:cxn ang="0">
                  <a:pos x="24" y="60"/>
                </a:cxn>
                <a:cxn ang="0">
                  <a:pos x="6" y="47"/>
                </a:cxn>
                <a:cxn ang="0">
                  <a:pos x="0" y="3"/>
                </a:cxn>
                <a:cxn ang="0">
                  <a:pos x="22" y="0"/>
                </a:cxn>
                <a:cxn ang="0">
                  <a:pos x="42" y="31"/>
                </a:cxn>
                <a:cxn ang="0">
                  <a:pos x="53" y="94"/>
                </a:cxn>
                <a:cxn ang="0">
                  <a:pos x="58" y="153"/>
                </a:cxn>
                <a:cxn ang="0">
                  <a:pos x="73" y="212"/>
                </a:cxn>
                <a:cxn ang="0">
                  <a:pos x="44" y="222"/>
                </a:cxn>
              </a:cxnLst>
              <a:rect l="0" t="0" r="r" b="b"/>
              <a:pathLst>
                <a:path w="73" h="222">
                  <a:moveTo>
                    <a:pt x="44" y="222"/>
                  </a:moveTo>
                  <a:lnTo>
                    <a:pt x="29" y="162"/>
                  </a:lnTo>
                  <a:lnTo>
                    <a:pt x="21" y="99"/>
                  </a:lnTo>
                  <a:lnTo>
                    <a:pt x="24" y="60"/>
                  </a:lnTo>
                  <a:lnTo>
                    <a:pt x="6" y="47"/>
                  </a:lnTo>
                  <a:lnTo>
                    <a:pt x="0" y="3"/>
                  </a:lnTo>
                  <a:lnTo>
                    <a:pt x="22" y="0"/>
                  </a:lnTo>
                  <a:lnTo>
                    <a:pt x="42" y="31"/>
                  </a:lnTo>
                  <a:lnTo>
                    <a:pt x="53" y="94"/>
                  </a:lnTo>
                  <a:lnTo>
                    <a:pt x="58" y="153"/>
                  </a:lnTo>
                  <a:lnTo>
                    <a:pt x="73" y="212"/>
                  </a:lnTo>
                  <a:lnTo>
                    <a:pt x="44" y="22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1" name="Freeform 160"/>
            <p:cNvSpPr>
              <a:spLocks noChangeAspect="1"/>
            </p:cNvSpPr>
            <p:nvPr/>
          </p:nvSpPr>
          <p:spPr bwMode="auto">
            <a:xfrm>
              <a:off x="437384" y="4168299"/>
              <a:ext cx="121318" cy="138448"/>
            </a:xfrm>
            <a:custGeom>
              <a:avLst/>
              <a:gdLst/>
              <a:ahLst/>
              <a:cxnLst>
                <a:cxn ang="0">
                  <a:pos x="0" y="83"/>
                </a:cxn>
                <a:cxn ang="0">
                  <a:pos x="44" y="0"/>
                </a:cxn>
                <a:cxn ang="0">
                  <a:pos x="71" y="55"/>
                </a:cxn>
                <a:cxn ang="0">
                  <a:pos x="108" y="66"/>
                </a:cxn>
                <a:cxn ang="0">
                  <a:pos x="120" y="109"/>
                </a:cxn>
                <a:cxn ang="0">
                  <a:pos x="148" y="117"/>
                </a:cxn>
                <a:cxn ang="0">
                  <a:pos x="156" y="168"/>
                </a:cxn>
                <a:cxn ang="0">
                  <a:pos x="207" y="188"/>
                </a:cxn>
                <a:cxn ang="0">
                  <a:pos x="198" y="213"/>
                </a:cxn>
                <a:cxn ang="0">
                  <a:pos x="171" y="233"/>
                </a:cxn>
                <a:cxn ang="0">
                  <a:pos x="114" y="217"/>
                </a:cxn>
                <a:cxn ang="0">
                  <a:pos x="0" y="83"/>
                </a:cxn>
              </a:cxnLst>
              <a:rect l="0" t="0" r="r" b="b"/>
              <a:pathLst>
                <a:path w="207" h="233">
                  <a:moveTo>
                    <a:pt x="0" y="83"/>
                  </a:moveTo>
                  <a:lnTo>
                    <a:pt x="44" y="0"/>
                  </a:lnTo>
                  <a:lnTo>
                    <a:pt x="71" y="55"/>
                  </a:lnTo>
                  <a:lnTo>
                    <a:pt x="108" y="66"/>
                  </a:lnTo>
                  <a:lnTo>
                    <a:pt x="120" y="109"/>
                  </a:lnTo>
                  <a:lnTo>
                    <a:pt x="148" y="117"/>
                  </a:lnTo>
                  <a:lnTo>
                    <a:pt x="156" y="168"/>
                  </a:lnTo>
                  <a:lnTo>
                    <a:pt x="207" y="188"/>
                  </a:lnTo>
                  <a:lnTo>
                    <a:pt x="198" y="213"/>
                  </a:lnTo>
                  <a:lnTo>
                    <a:pt x="171" y="233"/>
                  </a:lnTo>
                  <a:lnTo>
                    <a:pt x="114" y="217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2" name="Freeform 161"/>
            <p:cNvSpPr>
              <a:spLocks noChangeAspect="1"/>
            </p:cNvSpPr>
            <p:nvPr/>
          </p:nvSpPr>
          <p:spPr bwMode="auto">
            <a:xfrm>
              <a:off x="7058261" y="3681631"/>
              <a:ext cx="274285" cy="118923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44" y="20"/>
                </a:cxn>
                <a:cxn ang="0">
                  <a:pos x="83" y="0"/>
                </a:cxn>
                <a:cxn ang="0">
                  <a:pos x="147" y="7"/>
                </a:cxn>
                <a:cxn ang="0">
                  <a:pos x="238" y="28"/>
                </a:cxn>
                <a:cxn ang="0">
                  <a:pos x="317" y="71"/>
                </a:cxn>
                <a:cxn ang="0">
                  <a:pos x="447" y="134"/>
                </a:cxn>
                <a:cxn ang="0">
                  <a:pos x="467" y="166"/>
                </a:cxn>
                <a:cxn ang="0">
                  <a:pos x="403" y="201"/>
                </a:cxn>
                <a:cxn ang="0">
                  <a:pos x="309" y="193"/>
                </a:cxn>
                <a:cxn ang="0">
                  <a:pos x="317" y="142"/>
                </a:cxn>
                <a:cxn ang="0">
                  <a:pos x="285" y="110"/>
                </a:cxn>
                <a:cxn ang="0">
                  <a:pos x="218" y="63"/>
                </a:cxn>
                <a:cxn ang="0">
                  <a:pos x="190" y="51"/>
                </a:cxn>
                <a:cxn ang="0">
                  <a:pos x="56" y="44"/>
                </a:cxn>
                <a:cxn ang="0">
                  <a:pos x="0" y="59"/>
                </a:cxn>
              </a:cxnLst>
              <a:rect l="0" t="0" r="r" b="b"/>
              <a:pathLst>
                <a:path w="467" h="201">
                  <a:moveTo>
                    <a:pt x="0" y="59"/>
                  </a:moveTo>
                  <a:lnTo>
                    <a:pt x="44" y="20"/>
                  </a:lnTo>
                  <a:lnTo>
                    <a:pt x="83" y="0"/>
                  </a:lnTo>
                  <a:lnTo>
                    <a:pt x="147" y="7"/>
                  </a:lnTo>
                  <a:lnTo>
                    <a:pt x="238" y="28"/>
                  </a:lnTo>
                  <a:lnTo>
                    <a:pt x="317" y="71"/>
                  </a:lnTo>
                  <a:lnTo>
                    <a:pt x="447" y="134"/>
                  </a:lnTo>
                  <a:lnTo>
                    <a:pt x="467" y="166"/>
                  </a:lnTo>
                  <a:lnTo>
                    <a:pt x="403" y="201"/>
                  </a:lnTo>
                  <a:lnTo>
                    <a:pt x="309" y="193"/>
                  </a:lnTo>
                  <a:lnTo>
                    <a:pt x="317" y="142"/>
                  </a:lnTo>
                  <a:lnTo>
                    <a:pt x="285" y="110"/>
                  </a:lnTo>
                  <a:lnTo>
                    <a:pt x="218" y="63"/>
                  </a:lnTo>
                  <a:lnTo>
                    <a:pt x="190" y="51"/>
                  </a:lnTo>
                  <a:lnTo>
                    <a:pt x="56" y="44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3" name="Freeform 162"/>
            <p:cNvSpPr>
              <a:spLocks noChangeAspect="1"/>
            </p:cNvSpPr>
            <p:nvPr/>
          </p:nvSpPr>
          <p:spPr bwMode="auto">
            <a:xfrm>
              <a:off x="1604853" y="4729190"/>
              <a:ext cx="86154" cy="207671"/>
            </a:xfrm>
            <a:custGeom>
              <a:avLst/>
              <a:gdLst/>
              <a:ahLst/>
              <a:cxnLst>
                <a:cxn ang="0">
                  <a:pos x="0" y="223"/>
                </a:cxn>
                <a:cxn ang="0">
                  <a:pos x="5" y="138"/>
                </a:cxn>
                <a:cxn ang="0">
                  <a:pos x="32" y="116"/>
                </a:cxn>
                <a:cxn ang="0">
                  <a:pos x="19" y="62"/>
                </a:cxn>
                <a:cxn ang="0">
                  <a:pos x="23" y="0"/>
                </a:cxn>
                <a:cxn ang="0">
                  <a:pos x="47" y="10"/>
                </a:cxn>
                <a:cxn ang="0">
                  <a:pos x="83" y="31"/>
                </a:cxn>
                <a:cxn ang="0">
                  <a:pos x="91" y="76"/>
                </a:cxn>
                <a:cxn ang="0">
                  <a:pos x="81" y="116"/>
                </a:cxn>
                <a:cxn ang="0">
                  <a:pos x="74" y="149"/>
                </a:cxn>
                <a:cxn ang="0">
                  <a:pos x="94" y="173"/>
                </a:cxn>
                <a:cxn ang="0">
                  <a:pos x="107" y="189"/>
                </a:cxn>
                <a:cxn ang="0">
                  <a:pos x="126" y="217"/>
                </a:cxn>
                <a:cxn ang="0">
                  <a:pos x="138" y="248"/>
                </a:cxn>
                <a:cxn ang="0">
                  <a:pos x="146" y="290"/>
                </a:cxn>
                <a:cxn ang="0">
                  <a:pos x="116" y="311"/>
                </a:cxn>
                <a:cxn ang="0">
                  <a:pos x="102" y="345"/>
                </a:cxn>
                <a:cxn ang="0">
                  <a:pos x="71" y="351"/>
                </a:cxn>
                <a:cxn ang="0">
                  <a:pos x="51" y="330"/>
                </a:cxn>
                <a:cxn ang="0">
                  <a:pos x="67" y="283"/>
                </a:cxn>
                <a:cxn ang="0">
                  <a:pos x="69" y="248"/>
                </a:cxn>
                <a:cxn ang="0">
                  <a:pos x="33" y="238"/>
                </a:cxn>
                <a:cxn ang="0">
                  <a:pos x="0" y="223"/>
                </a:cxn>
              </a:cxnLst>
              <a:rect l="0" t="0" r="r" b="b"/>
              <a:pathLst>
                <a:path w="146" h="351">
                  <a:moveTo>
                    <a:pt x="0" y="223"/>
                  </a:moveTo>
                  <a:lnTo>
                    <a:pt x="5" y="138"/>
                  </a:lnTo>
                  <a:lnTo>
                    <a:pt x="32" y="116"/>
                  </a:lnTo>
                  <a:lnTo>
                    <a:pt x="19" y="62"/>
                  </a:lnTo>
                  <a:lnTo>
                    <a:pt x="23" y="0"/>
                  </a:lnTo>
                  <a:lnTo>
                    <a:pt x="47" y="10"/>
                  </a:lnTo>
                  <a:lnTo>
                    <a:pt x="83" y="31"/>
                  </a:lnTo>
                  <a:lnTo>
                    <a:pt x="91" y="76"/>
                  </a:lnTo>
                  <a:lnTo>
                    <a:pt x="81" y="116"/>
                  </a:lnTo>
                  <a:lnTo>
                    <a:pt x="74" y="149"/>
                  </a:lnTo>
                  <a:lnTo>
                    <a:pt x="94" y="173"/>
                  </a:lnTo>
                  <a:lnTo>
                    <a:pt x="107" y="189"/>
                  </a:lnTo>
                  <a:lnTo>
                    <a:pt x="126" y="217"/>
                  </a:lnTo>
                  <a:lnTo>
                    <a:pt x="138" y="248"/>
                  </a:lnTo>
                  <a:lnTo>
                    <a:pt x="146" y="290"/>
                  </a:lnTo>
                  <a:lnTo>
                    <a:pt x="116" y="311"/>
                  </a:lnTo>
                  <a:lnTo>
                    <a:pt x="102" y="345"/>
                  </a:lnTo>
                  <a:lnTo>
                    <a:pt x="71" y="351"/>
                  </a:lnTo>
                  <a:lnTo>
                    <a:pt x="51" y="330"/>
                  </a:lnTo>
                  <a:lnTo>
                    <a:pt x="67" y="283"/>
                  </a:lnTo>
                  <a:lnTo>
                    <a:pt x="69" y="248"/>
                  </a:lnTo>
                  <a:lnTo>
                    <a:pt x="33" y="238"/>
                  </a:lnTo>
                  <a:lnTo>
                    <a:pt x="0" y="22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4" name="Freeform 163"/>
            <p:cNvSpPr>
              <a:spLocks noChangeAspect="1"/>
            </p:cNvSpPr>
            <p:nvPr/>
          </p:nvSpPr>
          <p:spPr bwMode="auto">
            <a:xfrm>
              <a:off x="1413206" y="4897811"/>
              <a:ext cx="196922" cy="232520"/>
            </a:xfrm>
            <a:custGeom>
              <a:avLst/>
              <a:gdLst/>
              <a:ahLst/>
              <a:cxnLst>
                <a:cxn ang="0">
                  <a:pos x="206" y="0"/>
                </a:cxn>
                <a:cxn ang="0">
                  <a:pos x="189" y="25"/>
                </a:cxn>
                <a:cxn ang="0">
                  <a:pos x="147" y="31"/>
                </a:cxn>
                <a:cxn ang="0">
                  <a:pos x="143" y="63"/>
                </a:cxn>
                <a:cxn ang="0">
                  <a:pos x="125" y="75"/>
                </a:cxn>
                <a:cxn ang="0">
                  <a:pos x="102" y="82"/>
                </a:cxn>
                <a:cxn ang="0">
                  <a:pos x="96" y="114"/>
                </a:cxn>
                <a:cxn ang="0">
                  <a:pos x="69" y="124"/>
                </a:cxn>
                <a:cxn ang="0">
                  <a:pos x="28" y="124"/>
                </a:cxn>
                <a:cxn ang="0">
                  <a:pos x="0" y="134"/>
                </a:cxn>
                <a:cxn ang="0">
                  <a:pos x="18" y="203"/>
                </a:cxn>
                <a:cxn ang="0">
                  <a:pos x="23" y="238"/>
                </a:cxn>
                <a:cxn ang="0">
                  <a:pos x="48" y="251"/>
                </a:cxn>
                <a:cxn ang="0">
                  <a:pos x="58" y="289"/>
                </a:cxn>
                <a:cxn ang="0">
                  <a:pos x="86" y="290"/>
                </a:cxn>
                <a:cxn ang="0">
                  <a:pos x="100" y="340"/>
                </a:cxn>
                <a:cxn ang="0">
                  <a:pos x="120" y="344"/>
                </a:cxn>
                <a:cxn ang="0">
                  <a:pos x="165" y="364"/>
                </a:cxn>
                <a:cxn ang="0">
                  <a:pos x="195" y="378"/>
                </a:cxn>
                <a:cxn ang="0">
                  <a:pos x="209" y="393"/>
                </a:cxn>
                <a:cxn ang="0">
                  <a:pos x="258" y="393"/>
                </a:cxn>
                <a:cxn ang="0">
                  <a:pos x="268" y="358"/>
                </a:cxn>
                <a:cxn ang="0">
                  <a:pos x="293" y="341"/>
                </a:cxn>
                <a:cxn ang="0">
                  <a:pos x="292" y="280"/>
                </a:cxn>
                <a:cxn ang="0">
                  <a:pos x="321" y="261"/>
                </a:cxn>
                <a:cxn ang="0">
                  <a:pos x="337" y="237"/>
                </a:cxn>
                <a:cxn ang="0">
                  <a:pos x="319" y="196"/>
                </a:cxn>
                <a:cxn ang="0">
                  <a:pos x="317" y="162"/>
                </a:cxn>
                <a:cxn ang="0">
                  <a:pos x="333" y="99"/>
                </a:cxn>
                <a:cxn ang="0">
                  <a:pos x="309" y="54"/>
                </a:cxn>
                <a:cxn ang="0">
                  <a:pos x="244" y="41"/>
                </a:cxn>
                <a:cxn ang="0">
                  <a:pos x="224" y="6"/>
                </a:cxn>
                <a:cxn ang="0">
                  <a:pos x="206" y="0"/>
                </a:cxn>
              </a:cxnLst>
              <a:rect l="0" t="0" r="r" b="b"/>
              <a:pathLst>
                <a:path w="337" h="393">
                  <a:moveTo>
                    <a:pt x="206" y="0"/>
                  </a:moveTo>
                  <a:lnTo>
                    <a:pt x="189" y="25"/>
                  </a:lnTo>
                  <a:lnTo>
                    <a:pt x="147" y="31"/>
                  </a:lnTo>
                  <a:lnTo>
                    <a:pt x="143" y="63"/>
                  </a:lnTo>
                  <a:lnTo>
                    <a:pt x="125" y="75"/>
                  </a:lnTo>
                  <a:lnTo>
                    <a:pt x="102" y="82"/>
                  </a:lnTo>
                  <a:lnTo>
                    <a:pt x="96" y="114"/>
                  </a:lnTo>
                  <a:lnTo>
                    <a:pt x="69" y="124"/>
                  </a:lnTo>
                  <a:lnTo>
                    <a:pt x="28" y="124"/>
                  </a:lnTo>
                  <a:lnTo>
                    <a:pt x="0" y="134"/>
                  </a:lnTo>
                  <a:lnTo>
                    <a:pt x="18" y="203"/>
                  </a:lnTo>
                  <a:lnTo>
                    <a:pt x="23" y="238"/>
                  </a:lnTo>
                  <a:lnTo>
                    <a:pt x="48" y="251"/>
                  </a:lnTo>
                  <a:lnTo>
                    <a:pt x="58" y="289"/>
                  </a:lnTo>
                  <a:lnTo>
                    <a:pt x="86" y="290"/>
                  </a:lnTo>
                  <a:lnTo>
                    <a:pt x="100" y="340"/>
                  </a:lnTo>
                  <a:lnTo>
                    <a:pt x="120" y="344"/>
                  </a:lnTo>
                  <a:lnTo>
                    <a:pt x="165" y="364"/>
                  </a:lnTo>
                  <a:lnTo>
                    <a:pt x="195" y="378"/>
                  </a:lnTo>
                  <a:lnTo>
                    <a:pt x="209" y="393"/>
                  </a:lnTo>
                  <a:lnTo>
                    <a:pt x="258" y="393"/>
                  </a:lnTo>
                  <a:lnTo>
                    <a:pt x="268" y="358"/>
                  </a:lnTo>
                  <a:lnTo>
                    <a:pt x="293" y="341"/>
                  </a:lnTo>
                  <a:lnTo>
                    <a:pt x="292" y="280"/>
                  </a:lnTo>
                  <a:lnTo>
                    <a:pt x="321" y="261"/>
                  </a:lnTo>
                  <a:lnTo>
                    <a:pt x="337" y="237"/>
                  </a:lnTo>
                  <a:lnTo>
                    <a:pt x="319" y="196"/>
                  </a:lnTo>
                  <a:lnTo>
                    <a:pt x="317" y="162"/>
                  </a:lnTo>
                  <a:lnTo>
                    <a:pt x="333" y="99"/>
                  </a:lnTo>
                  <a:lnTo>
                    <a:pt x="309" y="54"/>
                  </a:lnTo>
                  <a:lnTo>
                    <a:pt x="244" y="41"/>
                  </a:lnTo>
                  <a:lnTo>
                    <a:pt x="224" y="6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5" name="Freeform 164"/>
            <p:cNvSpPr>
              <a:spLocks noChangeAspect="1"/>
            </p:cNvSpPr>
            <p:nvPr/>
          </p:nvSpPr>
          <p:spPr bwMode="auto">
            <a:xfrm>
              <a:off x="309035" y="3547062"/>
              <a:ext cx="277802" cy="429541"/>
            </a:xfrm>
            <a:custGeom>
              <a:avLst/>
              <a:gdLst/>
              <a:ahLst/>
              <a:cxnLst>
                <a:cxn ang="0">
                  <a:pos x="353" y="0"/>
                </a:cxn>
                <a:cxn ang="0">
                  <a:pos x="335" y="64"/>
                </a:cxn>
                <a:cxn ang="0">
                  <a:pos x="316" y="92"/>
                </a:cxn>
                <a:cxn ang="0">
                  <a:pos x="206" y="101"/>
                </a:cxn>
                <a:cxn ang="0">
                  <a:pos x="206" y="254"/>
                </a:cxn>
                <a:cxn ang="0">
                  <a:pos x="166" y="243"/>
                </a:cxn>
                <a:cxn ang="0">
                  <a:pos x="138" y="267"/>
                </a:cxn>
                <a:cxn ang="0">
                  <a:pos x="127" y="305"/>
                </a:cxn>
                <a:cxn ang="0">
                  <a:pos x="123" y="373"/>
                </a:cxn>
                <a:cxn ang="0">
                  <a:pos x="83" y="373"/>
                </a:cxn>
                <a:cxn ang="0">
                  <a:pos x="16" y="364"/>
                </a:cxn>
                <a:cxn ang="0">
                  <a:pos x="0" y="357"/>
                </a:cxn>
                <a:cxn ang="0">
                  <a:pos x="0" y="495"/>
                </a:cxn>
                <a:cxn ang="0">
                  <a:pos x="11" y="511"/>
                </a:cxn>
                <a:cxn ang="0">
                  <a:pos x="12" y="617"/>
                </a:cxn>
                <a:cxn ang="0">
                  <a:pos x="53" y="609"/>
                </a:cxn>
                <a:cxn ang="0">
                  <a:pos x="73" y="637"/>
                </a:cxn>
                <a:cxn ang="0">
                  <a:pos x="104" y="648"/>
                </a:cxn>
                <a:cxn ang="0">
                  <a:pos x="139" y="700"/>
                </a:cxn>
                <a:cxn ang="0">
                  <a:pos x="171" y="724"/>
                </a:cxn>
                <a:cxn ang="0">
                  <a:pos x="217" y="662"/>
                </a:cxn>
                <a:cxn ang="0">
                  <a:pos x="252" y="681"/>
                </a:cxn>
                <a:cxn ang="0">
                  <a:pos x="414" y="693"/>
                </a:cxn>
                <a:cxn ang="0">
                  <a:pos x="474" y="685"/>
                </a:cxn>
                <a:cxn ang="0">
                  <a:pos x="471" y="629"/>
                </a:cxn>
                <a:cxn ang="0">
                  <a:pos x="434" y="618"/>
                </a:cxn>
                <a:cxn ang="0">
                  <a:pos x="438" y="267"/>
                </a:cxn>
                <a:cxn ang="0">
                  <a:pos x="414" y="235"/>
                </a:cxn>
                <a:cxn ang="0">
                  <a:pos x="414" y="167"/>
                </a:cxn>
                <a:cxn ang="0">
                  <a:pos x="447" y="160"/>
                </a:cxn>
                <a:cxn ang="0">
                  <a:pos x="447" y="115"/>
                </a:cxn>
                <a:cxn ang="0">
                  <a:pos x="353" y="0"/>
                </a:cxn>
              </a:cxnLst>
              <a:rect l="0" t="0" r="r" b="b"/>
              <a:pathLst>
                <a:path w="474" h="724">
                  <a:moveTo>
                    <a:pt x="353" y="0"/>
                  </a:moveTo>
                  <a:lnTo>
                    <a:pt x="335" y="64"/>
                  </a:lnTo>
                  <a:lnTo>
                    <a:pt x="316" y="92"/>
                  </a:lnTo>
                  <a:lnTo>
                    <a:pt x="206" y="101"/>
                  </a:lnTo>
                  <a:lnTo>
                    <a:pt x="206" y="254"/>
                  </a:lnTo>
                  <a:lnTo>
                    <a:pt x="166" y="243"/>
                  </a:lnTo>
                  <a:lnTo>
                    <a:pt x="138" y="267"/>
                  </a:lnTo>
                  <a:lnTo>
                    <a:pt x="127" y="305"/>
                  </a:lnTo>
                  <a:lnTo>
                    <a:pt x="123" y="373"/>
                  </a:lnTo>
                  <a:lnTo>
                    <a:pt x="83" y="373"/>
                  </a:lnTo>
                  <a:lnTo>
                    <a:pt x="16" y="364"/>
                  </a:lnTo>
                  <a:lnTo>
                    <a:pt x="0" y="357"/>
                  </a:lnTo>
                  <a:lnTo>
                    <a:pt x="0" y="495"/>
                  </a:lnTo>
                  <a:lnTo>
                    <a:pt x="11" y="511"/>
                  </a:lnTo>
                  <a:lnTo>
                    <a:pt x="12" y="617"/>
                  </a:lnTo>
                  <a:lnTo>
                    <a:pt x="53" y="609"/>
                  </a:lnTo>
                  <a:lnTo>
                    <a:pt x="73" y="637"/>
                  </a:lnTo>
                  <a:lnTo>
                    <a:pt x="104" y="648"/>
                  </a:lnTo>
                  <a:lnTo>
                    <a:pt x="139" y="700"/>
                  </a:lnTo>
                  <a:lnTo>
                    <a:pt x="171" y="724"/>
                  </a:lnTo>
                  <a:lnTo>
                    <a:pt x="217" y="662"/>
                  </a:lnTo>
                  <a:lnTo>
                    <a:pt x="252" y="681"/>
                  </a:lnTo>
                  <a:lnTo>
                    <a:pt x="414" y="693"/>
                  </a:lnTo>
                  <a:lnTo>
                    <a:pt x="474" y="685"/>
                  </a:lnTo>
                  <a:lnTo>
                    <a:pt x="471" y="629"/>
                  </a:lnTo>
                  <a:lnTo>
                    <a:pt x="434" y="618"/>
                  </a:lnTo>
                  <a:lnTo>
                    <a:pt x="438" y="267"/>
                  </a:lnTo>
                  <a:lnTo>
                    <a:pt x="414" y="235"/>
                  </a:lnTo>
                  <a:lnTo>
                    <a:pt x="414" y="167"/>
                  </a:lnTo>
                  <a:lnTo>
                    <a:pt x="447" y="160"/>
                  </a:lnTo>
                  <a:lnTo>
                    <a:pt x="447" y="115"/>
                  </a:lnTo>
                  <a:lnTo>
                    <a:pt x="353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6" name="Freeform 165"/>
            <p:cNvSpPr>
              <a:spLocks noChangeAspect="1"/>
            </p:cNvSpPr>
            <p:nvPr/>
          </p:nvSpPr>
          <p:spPr bwMode="auto">
            <a:xfrm>
              <a:off x="1038701" y="4306748"/>
              <a:ext cx="189889" cy="271569"/>
            </a:xfrm>
            <a:custGeom>
              <a:avLst/>
              <a:gdLst/>
              <a:ahLst/>
              <a:cxnLst>
                <a:cxn ang="0">
                  <a:pos x="0" y="420"/>
                </a:cxn>
                <a:cxn ang="0">
                  <a:pos x="16" y="398"/>
                </a:cxn>
                <a:cxn ang="0">
                  <a:pos x="31" y="360"/>
                </a:cxn>
                <a:cxn ang="0">
                  <a:pos x="10" y="344"/>
                </a:cxn>
                <a:cxn ang="0">
                  <a:pos x="6" y="319"/>
                </a:cxn>
                <a:cxn ang="0">
                  <a:pos x="37" y="305"/>
                </a:cxn>
                <a:cxn ang="0">
                  <a:pos x="61" y="298"/>
                </a:cxn>
                <a:cxn ang="0">
                  <a:pos x="85" y="330"/>
                </a:cxn>
                <a:cxn ang="0">
                  <a:pos x="123" y="315"/>
                </a:cxn>
                <a:cxn ang="0">
                  <a:pos x="151" y="271"/>
                </a:cxn>
                <a:cxn ang="0">
                  <a:pos x="144" y="227"/>
                </a:cxn>
                <a:cxn ang="0">
                  <a:pos x="120" y="206"/>
                </a:cxn>
                <a:cxn ang="0">
                  <a:pos x="106" y="174"/>
                </a:cxn>
                <a:cxn ang="0">
                  <a:pos x="118" y="150"/>
                </a:cxn>
                <a:cxn ang="0">
                  <a:pos x="109" y="120"/>
                </a:cxn>
                <a:cxn ang="0">
                  <a:pos x="76" y="119"/>
                </a:cxn>
                <a:cxn ang="0">
                  <a:pos x="76" y="77"/>
                </a:cxn>
                <a:cxn ang="0">
                  <a:pos x="219" y="59"/>
                </a:cxn>
                <a:cxn ang="0">
                  <a:pos x="237" y="31"/>
                </a:cxn>
                <a:cxn ang="0">
                  <a:pos x="261" y="6"/>
                </a:cxn>
                <a:cxn ang="0">
                  <a:pos x="295" y="0"/>
                </a:cxn>
                <a:cxn ang="0">
                  <a:pos x="323" y="10"/>
                </a:cxn>
                <a:cxn ang="0">
                  <a:pos x="312" y="69"/>
                </a:cxn>
                <a:cxn ang="0">
                  <a:pos x="298" y="81"/>
                </a:cxn>
                <a:cxn ang="0">
                  <a:pos x="293" y="226"/>
                </a:cxn>
                <a:cxn ang="0">
                  <a:pos x="285" y="243"/>
                </a:cxn>
                <a:cxn ang="0">
                  <a:pos x="264" y="265"/>
                </a:cxn>
                <a:cxn ang="0">
                  <a:pos x="258" y="326"/>
                </a:cxn>
                <a:cxn ang="0">
                  <a:pos x="223" y="330"/>
                </a:cxn>
                <a:cxn ang="0">
                  <a:pos x="219" y="403"/>
                </a:cxn>
                <a:cxn ang="0">
                  <a:pos x="169" y="423"/>
                </a:cxn>
                <a:cxn ang="0">
                  <a:pos x="159" y="439"/>
                </a:cxn>
                <a:cxn ang="0">
                  <a:pos x="123" y="439"/>
                </a:cxn>
                <a:cxn ang="0">
                  <a:pos x="100" y="425"/>
                </a:cxn>
                <a:cxn ang="0">
                  <a:pos x="71" y="439"/>
                </a:cxn>
                <a:cxn ang="0">
                  <a:pos x="47" y="450"/>
                </a:cxn>
                <a:cxn ang="0">
                  <a:pos x="27" y="457"/>
                </a:cxn>
                <a:cxn ang="0">
                  <a:pos x="27" y="433"/>
                </a:cxn>
                <a:cxn ang="0">
                  <a:pos x="0" y="420"/>
                </a:cxn>
              </a:cxnLst>
              <a:rect l="0" t="0" r="r" b="b"/>
              <a:pathLst>
                <a:path w="323" h="457">
                  <a:moveTo>
                    <a:pt x="0" y="420"/>
                  </a:moveTo>
                  <a:lnTo>
                    <a:pt x="16" y="398"/>
                  </a:lnTo>
                  <a:lnTo>
                    <a:pt x="31" y="360"/>
                  </a:lnTo>
                  <a:lnTo>
                    <a:pt x="10" y="344"/>
                  </a:lnTo>
                  <a:lnTo>
                    <a:pt x="6" y="319"/>
                  </a:lnTo>
                  <a:lnTo>
                    <a:pt x="37" y="305"/>
                  </a:lnTo>
                  <a:lnTo>
                    <a:pt x="61" y="298"/>
                  </a:lnTo>
                  <a:lnTo>
                    <a:pt x="85" y="330"/>
                  </a:lnTo>
                  <a:lnTo>
                    <a:pt x="123" y="315"/>
                  </a:lnTo>
                  <a:lnTo>
                    <a:pt x="151" y="271"/>
                  </a:lnTo>
                  <a:lnTo>
                    <a:pt x="144" y="227"/>
                  </a:lnTo>
                  <a:lnTo>
                    <a:pt x="120" y="206"/>
                  </a:lnTo>
                  <a:lnTo>
                    <a:pt x="106" y="174"/>
                  </a:lnTo>
                  <a:lnTo>
                    <a:pt x="118" y="150"/>
                  </a:lnTo>
                  <a:lnTo>
                    <a:pt x="109" y="120"/>
                  </a:lnTo>
                  <a:lnTo>
                    <a:pt x="76" y="119"/>
                  </a:lnTo>
                  <a:lnTo>
                    <a:pt x="76" y="77"/>
                  </a:lnTo>
                  <a:lnTo>
                    <a:pt x="219" y="59"/>
                  </a:lnTo>
                  <a:lnTo>
                    <a:pt x="237" y="31"/>
                  </a:lnTo>
                  <a:lnTo>
                    <a:pt x="261" y="6"/>
                  </a:lnTo>
                  <a:lnTo>
                    <a:pt x="295" y="0"/>
                  </a:lnTo>
                  <a:lnTo>
                    <a:pt x="323" y="10"/>
                  </a:lnTo>
                  <a:lnTo>
                    <a:pt x="312" y="69"/>
                  </a:lnTo>
                  <a:lnTo>
                    <a:pt x="298" y="81"/>
                  </a:lnTo>
                  <a:lnTo>
                    <a:pt x="293" y="226"/>
                  </a:lnTo>
                  <a:lnTo>
                    <a:pt x="285" y="243"/>
                  </a:lnTo>
                  <a:lnTo>
                    <a:pt x="264" y="265"/>
                  </a:lnTo>
                  <a:lnTo>
                    <a:pt x="258" y="326"/>
                  </a:lnTo>
                  <a:lnTo>
                    <a:pt x="223" y="330"/>
                  </a:lnTo>
                  <a:lnTo>
                    <a:pt x="219" y="403"/>
                  </a:lnTo>
                  <a:lnTo>
                    <a:pt x="169" y="423"/>
                  </a:lnTo>
                  <a:lnTo>
                    <a:pt x="159" y="439"/>
                  </a:lnTo>
                  <a:lnTo>
                    <a:pt x="123" y="439"/>
                  </a:lnTo>
                  <a:lnTo>
                    <a:pt x="100" y="425"/>
                  </a:lnTo>
                  <a:lnTo>
                    <a:pt x="71" y="439"/>
                  </a:lnTo>
                  <a:lnTo>
                    <a:pt x="47" y="450"/>
                  </a:lnTo>
                  <a:lnTo>
                    <a:pt x="27" y="457"/>
                  </a:lnTo>
                  <a:lnTo>
                    <a:pt x="27" y="433"/>
                  </a:lnTo>
                  <a:lnTo>
                    <a:pt x="0" y="42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7" name="Freeform 166"/>
            <p:cNvSpPr>
              <a:spLocks noChangeAspect="1"/>
            </p:cNvSpPr>
            <p:nvPr/>
          </p:nvSpPr>
          <p:spPr bwMode="auto">
            <a:xfrm>
              <a:off x="1052768" y="4265922"/>
              <a:ext cx="520437" cy="582189"/>
            </a:xfrm>
            <a:custGeom>
              <a:avLst/>
              <a:gdLst/>
              <a:ahLst/>
              <a:cxnLst>
                <a:cxn ang="0">
                  <a:pos x="4" y="553"/>
                </a:cxn>
                <a:cxn ang="0">
                  <a:pos x="22" y="578"/>
                </a:cxn>
                <a:cxn ang="0">
                  <a:pos x="135" y="565"/>
                </a:cxn>
                <a:cxn ang="0">
                  <a:pos x="238" y="653"/>
                </a:cxn>
                <a:cxn ang="0">
                  <a:pos x="262" y="689"/>
                </a:cxn>
                <a:cxn ang="0">
                  <a:pos x="346" y="636"/>
                </a:cxn>
                <a:cxn ang="0">
                  <a:pos x="391" y="674"/>
                </a:cxn>
                <a:cxn ang="0">
                  <a:pos x="441" y="654"/>
                </a:cxn>
                <a:cxn ang="0">
                  <a:pos x="462" y="784"/>
                </a:cxn>
                <a:cxn ang="0">
                  <a:pos x="490" y="846"/>
                </a:cxn>
                <a:cxn ang="0">
                  <a:pos x="593" y="851"/>
                </a:cxn>
                <a:cxn ang="0">
                  <a:pos x="628" y="907"/>
                </a:cxn>
                <a:cxn ang="0">
                  <a:pos x="678" y="871"/>
                </a:cxn>
                <a:cxn ang="0">
                  <a:pos x="720" y="909"/>
                </a:cxn>
                <a:cxn ang="0">
                  <a:pos x="749" y="982"/>
                </a:cxn>
                <a:cxn ang="0">
                  <a:pos x="810" y="950"/>
                </a:cxn>
                <a:cxn ang="0">
                  <a:pos x="771" y="891"/>
                </a:cxn>
                <a:cxn ang="0">
                  <a:pos x="763" y="733"/>
                </a:cxn>
                <a:cxn ang="0">
                  <a:pos x="817" y="685"/>
                </a:cxn>
                <a:cxn ang="0">
                  <a:pos x="828" y="634"/>
                </a:cxn>
                <a:cxn ang="0">
                  <a:pos x="814" y="573"/>
                </a:cxn>
                <a:cxn ang="0">
                  <a:pos x="810" y="506"/>
                </a:cxn>
                <a:cxn ang="0">
                  <a:pos x="781" y="458"/>
                </a:cxn>
                <a:cxn ang="0">
                  <a:pos x="761" y="413"/>
                </a:cxn>
                <a:cxn ang="0">
                  <a:pos x="776" y="369"/>
                </a:cxn>
                <a:cxn ang="0">
                  <a:pos x="799" y="326"/>
                </a:cxn>
                <a:cxn ang="0">
                  <a:pos x="858" y="198"/>
                </a:cxn>
                <a:cxn ang="0">
                  <a:pos x="887" y="157"/>
                </a:cxn>
                <a:cxn ang="0">
                  <a:pos x="858" y="130"/>
                </a:cxn>
                <a:cxn ang="0">
                  <a:pos x="845" y="67"/>
                </a:cxn>
                <a:cxn ang="0">
                  <a:pos x="800" y="36"/>
                </a:cxn>
                <a:cxn ang="0">
                  <a:pos x="678" y="2"/>
                </a:cxn>
                <a:cxn ang="0">
                  <a:pos x="599" y="12"/>
                </a:cxn>
                <a:cxn ang="0">
                  <a:pos x="555" y="23"/>
                </a:cxn>
                <a:cxn ang="0">
                  <a:pos x="455" y="54"/>
                </a:cxn>
                <a:cxn ang="0">
                  <a:pos x="360" y="30"/>
                </a:cxn>
                <a:cxn ang="0">
                  <a:pos x="311" y="44"/>
                </a:cxn>
                <a:cxn ang="0">
                  <a:pos x="272" y="69"/>
                </a:cxn>
                <a:cxn ang="0">
                  <a:pos x="289" y="138"/>
                </a:cxn>
                <a:cxn ang="0">
                  <a:pos x="270" y="295"/>
                </a:cxn>
                <a:cxn ang="0">
                  <a:pos x="241" y="334"/>
                </a:cxn>
                <a:cxn ang="0">
                  <a:pos x="200" y="399"/>
                </a:cxn>
                <a:cxn ang="0">
                  <a:pos x="146" y="492"/>
                </a:cxn>
                <a:cxn ang="0">
                  <a:pos x="100" y="508"/>
                </a:cxn>
                <a:cxn ang="0">
                  <a:pos x="48" y="508"/>
                </a:cxn>
                <a:cxn ang="0">
                  <a:pos x="4" y="526"/>
                </a:cxn>
                <a:cxn ang="0">
                  <a:pos x="21" y="543"/>
                </a:cxn>
              </a:cxnLst>
              <a:rect l="0" t="0" r="r" b="b"/>
              <a:pathLst>
                <a:path w="887" h="982">
                  <a:moveTo>
                    <a:pt x="21" y="543"/>
                  </a:moveTo>
                  <a:lnTo>
                    <a:pt x="4" y="553"/>
                  </a:lnTo>
                  <a:lnTo>
                    <a:pt x="0" y="573"/>
                  </a:lnTo>
                  <a:lnTo>
                    <a:pt x="22" y="578"/>
                  </a:lnTo>
                  <a:lnTo>
                    <a:pt x="87" y="582"/>
                  </a:lnTo>
                  <a:lnTo>
                    <a:pt x="135" y="565"/>
                  </a:lnTo>
                  <a:lnTo>
                    <a:pt x="220" y="575"/>
                  </a:lnTo>
                  <a:lnTo>
                    <a:pt x="238" y="653"/>
                  </a:lnTo>
                  <a:lnTo>
                    <a:pt x="257" y="660"/>
                  </a:lnTo>
                  <a:lnTo>
                    <a:pt x="262" y="689"/>
                  </a:lnTo>
                  <a:lnTo>
                    <a:pt x="342" y="688"/>
                  </a:lnTo>
                  <a:lnTo>
                    <a:pt x="346" y="636"/>
                  </a:lnTo>
                  <a:lnTo>
                    <a:pt x="368" y="619"/>
                  </a:lnTo>
                  <a:lnTo>
                    <a:pt x="391" y="674"/>
                  </a:lnTo>
                  <a:lnTo>
                    <a:pt x="411" y="660"/>
                  </a:lnTo>
                  <a:lnTo>
                    <a:pt x="441" y="654"/>
                  </a:lnTo>
                  <a:lnTo>
                    <a:pt x="459" y="681"/>
                  </a:lnTo>
                  <a:lnTo>
                    <a:pt x="462" y="784"/>
                  </a:lnTo>
                  <a:lnTo>
                    <a:pt x="462" y="822"/>
                  </a:lnTo>
                  <a:lnTo>
                    <a:pt x="490" y="846"/>
                  </a:lnTo>
                  <a:lnTo>
                    <a:pt x="544" y="846"/>
                  </a:lnTo>
                  <a:lnTo>
                    <a:pt x="593" y="851"/>
                  </a:lnTo>
                  <a:lnTo>
                    <a:pt x="607" y="899"/>
                  </a:lnTo>
                  <a:lnTo>
                    <a:pt x="628" y="907"/>
                  </a:lnTo>
                  <a:lnTo>
                    <a:pt x="642" y="880"/>
                  </a:lnTo>
                  <a:lnTo>
                    <a:pt x="678" y="871"/>
                  </a:lnTo>
                  <a:lnTo>
                    <a:pt x="683" y="889"/>
                  </a:lnTo>
                  <a:lnTo>
                    <a:pt x="720" y="909"/>
                  </a:lnTo>
                  <a:lnTo>
                    <a:pt x="730" y="958"/>
                  </a:lnTo>
                  <a:lnTo>
                    <a:pt x="749" y="982"/>
                  </a:lnTo>
                  <a:lnTo>
                    <a:pt x="799" y="980"/>
                  </a:lnTo>
                  <a:lnTo>
                    <a:pt x="810" y="950"/>
                  </a:lnTo>
                  <a:lnTo>
                    <a:pt x="803" y="895"/>
                  </a:lnTo>
                  <a:lnTo>
                    <a:pt x="771" y="891"/>
                  </a:lnTo>
                  <a:lnTo>
                    <a:pt x="751" y="871"/>
                  </a:lnTo>
                  <a:lnTo>
                    <a:pt x="763" y="733"/>
                  </a:lnTo>
                  <a:lnTo>
                    <a:pt x="781" y="701"/>
                  </a:lnTo>
                  <a:lnTo>
                    <a:pt x="817" y="685"/>
                  </a:lnTo>
                  <a:lnTo>
                    <a:pt x="824" y="658"/>
                  </a:lnTo>
                  <a:lnTo>
                    <a:pt x="828" y="634"/>
                  </a:lnTo>
                  <a:lnTo>
                    <a:pt x="824" y="602"/>
                  </a:lnTo>
                  <a:lnTo>
                    <a:pt x="814" y="573"/>
                  </a:lnTo>
                  <a:lnTo>
                    <a:pt x="806" y="550"/>
                  </a:lnTo>
                  <a:lnTo>
                    <a:pt x="810" y="506"/>
                  </a:lnTo>
                  <a:lnTo>
                    <a:pt x="799" y="474"/>
                  </a:lnTo>
                  <a:lnTo>
                    <a:pt x="781" y="458"/>
                  </a:lnTo>
                  <a:lnTo>
                    <a:pt x="789" y="409"/>
                  </a:lnTo>
                  <a:lnTo>
                    <a:pt x="761" y="413"/>
                  </a:lnTo>
                  <a:lnTo>
                    <a:pt x="759" y="385"/>
                  </a:lnTo>
                  <a:lnTo>
                    <a:pt x="776" y="369"/>
                  </a:lnTo>
                  <a:lnTo>
                    <a:pt x="771" y="340"/>
                  </a:lnTo>
                  <a:lnTo>
                    <a:pt x="799" y="326"/>
                  </a:lnTo>
                  <a:lnTo>
                    <a:pt x="810" y="216"/>
                  </a:lnTo>
                  <a:lnTo>
                    <a:pt x="858" y="198"/>
                  </a:lnTo>
                  <a:lnTo>
                    <a:pt x="886" y="184"/>
                  </a:lnTo>
                  <a:lnTo>
                    <a:pt x="887" y="157"/>
                  </a:lnTo>
                  <a:lnTo>
                    <a:pt x="858" y="152"/>
                  </a:lnTo>
                  <a:lnTo>
                    <a:pt x="858" y="130"/>
                  </a:lnTo>
                  <a:lnTo>
                    <a:pt x="848" y="75"/>
                  </a:lnTo>
                  <a:lnTo>
                    <a:pt x="845" y="67"/>
                  </a:lnTo>
                  <a:lnTo>
                    <a:pt x="817" y="59"/>
                  </a:lnTo>
                  <a:lnTo>
                    <a:pt x="800" y="36"/>
                  </a:lnTo>
                  <a:lnTo>
                    <a:pt x="696" y="27"/>
                  </a:lnTo>
                  <a:lnTo>
                    <a:pt x="678" y="2"/>
                  </a:lnTo>
                  <a:lnTo>
                    <a:pt x="652" y="0"/>
                  </a:lnTo>
                  <a:lnTo>
                    <a:pt x="599" y="12"/>
                  </a:lnTo>
                  <a:lnTo>
                    <a:pt x="559" y="6"/>
                  </a:lnTo>
                  <a:lnTo>
                    <a:pt x="555" y="23"/>
                  </a:lnTo>
                  <a:lnTo>
                    <a:pt x="461" y="33"/>
                  </a:lnTo>
                  <a:lnTo>
                    <a:pt x="455" y="54"/>
                  </a:lnTo>
                  <a:lnTo>
                    <a:pt x="376" y="61"/>
                  </a:lnTo>
                  <a:lnTo>
                    <a:pt x="360" y="30"/>
                  </a:lnTo>
                  <a:lnTo>
                    <a:pt x="331" y="17"/>
                  </a:lnTo>
                  <a:lnTo>
                    <a:pt x="311" y="44"/>
                  </a:lnTo>
                  <a:lnTo>
                    <a:pt x="289" y="55"/>
                  </a:lnTo>
                  <a:lnTo>
                    <a:pt x="272" y="69"/>
                  </a:lnTo>
                  <a:lnTo>
                    <a:pt x="300" y="79"/>
                  </a:lnTo>
                  <a:lnTo>
                    <a:pt x="289" y="138"/>
                  </a:lnTo>
                  <a:lnTo>
                    <a:pt x="275" y="150"/>
                  </a:lnTo>
                  <a:lnTo>
                    <a:pt x="270" y="295"/>
                  </a:lnTo>
                  <a:lnTo>
                    <a:pt x="262" y="312"/>
                  </a:lnTo>
                  <a:lnTo>
                    <a:pt x="241" y="334"/>
                  </a:lnTo>
                  <a:lnTo>
                    <a:pt x="235" y="395"/>
                  </a:lnTo>
                  <a:lnTo>
                    <a:pt x="200" y="399"/>
                  </a:lnTo>
                  <a:lnTo>
                    <a:pt x="196" y="472"/>
                  </a:lnTo>
                  <a:lnTo>
                    <a:pt x="146" y="492"/>
                  </a:lnTo>
                  <a:lnTo>
                    <a:pt x="136" y="508"/>
                  </a:lnTo>
                  <a:lnTo>
                    <a:pt x="100" y="508"/>
                  </a:lnTo>
                  <a:lnTo>
                    <a:pt x="77" y="494"/>
                  </a:lnTo>
                  <a:lnTo>
                    <a:pt x="48" y="508"/>
                  </a:lnTo>
                  <a:lnTo>
                    <a:pt x="24" y="519"/>
                  </a:lnTo>
                  <a:lnTo>
                    <a:pt x="4" y="526"/>
                  </a:lnTo>
                  <a:lnTo>
                    <a:pt x="16" y="541"/>
                  </a:lnTo>
                  <a:lnTo>
                    <a:pt x="21" y="54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8" name="Freeform 167"/>
            <p:cNvSpPr>
              <a:spLocks noChangeAspect="1"/>
            </p:cNvSpPr>
            <p:nvPr/>
          </p:nvSpPr>
          <p:spPr bwMode="auto">
            <a:xfrm>
              <a:off x="1052768" y="4265922"/>
              <a:ext cx="520437" cy="582189"/>
            </a:xfrm>
            <a:custGeom>
              <a:avLst/>
              <a:gdLst/>
              <a:ahLst/>
              <a:cxnLst>
                <a:cxn ang="0">
                  <a:pos x="4" y="553"/>
                </a:cxn>
                <a:cxn ang="0">
                  <a:pos x="22" y="578"/>
                </a:cxn>
                <a:cxn ang="0">
                  <a:pos x="135" y="565"/>
                </a:cxn>
                <a:cxn ang="0">
                  <a:pos x="238" y="653"/>
                </a:cxn>
                <a:cxn ang="0">
                  <a:pos x="262" y="689"/>
                </a:cxn>
                <a:cxn ang="0">
                  <a:pos x="346" y="636"/>
                </a:cxn>
                <a:cxn ang="0">
                  <a:pos x="391" y="674"/>
                </a:cxn>
                <a:cxn ang="0">
                  <a:pos x="441" y="654"/>
                </a:cxn>
                <a:cxn ang="0">
                  <a:pos x="462" y="784"/>
                </a:cxn>
                <a:cxn ang="0">
                  <a:pos x="490" y="846"/>
                </a:cxn>
                <a:cxn ang="0">
                  <a:pos x="593" y="851"/>
                </a:cxn>
                <a:cxn ang="0">
                  <a:pos x="628" y="907"/>
                </a:cxn>
                <a:cxn ang="0">
                  <a:pos x="678" y="871"/>
                </a:cxn>
                <a:cxn ang="0">
                  <a:pos x="720" y="909"/>
                </a:cxn>
                <a:cxn ang="0">
                  <a:pos x="749" y="982"/>
                </a:cxn>
                <a:cxn ang="0">
                  <a:pos x="810" y="950"/>
                </a:cxn>
                <a:cxn ang="0">
                  <a:pos x="771" y="891"/>
                </a:cxn>
                <a:cxn ang="0">
                  <a:pos x="763" y="733"/>
                </a:cxn>
                <a:cxn ang="0">
                  <a:pos x="817" y="685"/>
                </a:cxn>
                <a:cxn ang="0">
                  <a:pos x="828" y="634"/>
                </a:cxn>
                <a:cxn ang="0">
                  <a:pos x="814" y="573"/>
                </a:cxn>
                <a:cxn ang="0">
                  <a:pos x="810" y="506"/>
                </a:cxn>
                <a:cxn ang="0">
                  <a:pos x="781" y="458"/>
                </a:cxn>
                <a:cxn ang="0">
                  <a:pos x="761" y="413"/>
                </a:cxn>
                <a:cxn ang="0">
                  <a:pos x="776" y="369"/>
                </a:cxn>
                <a:cxn ang="0">
                  <a:pos x="799" y="326"/>
                </a:cxn>
                <a:cxn ang="0">
                  <a:pos x="858" y="198"/>
                </a:cxn>
                <a:cxn ang="0">
                  <a:pos x="887" y="157"/>
                </a:cxn>
                <a:cxn ang="0">
                  <a:pos x="858" y="130"/>
                </a:cxn>
                <a:cxn ang="0">
                  <a:pos x="845" y="67"/>
                </a:cxn>
                <a:cxn ang="0">
                  <a:pos x="800" y="36"/>
                </a:cxn>
                <a:cxn ang="0">
                  <a:pos x="678" y="2"/>
                </a:cxn>
                <a:cxn ang="0">
                  <a:pos x="599" y="12"/>
                </a:cxn>
                <a:cxn ang="0">
                  <a:pos x="555" y="23"/>
                </a:cxn>
                <a:cxn ang="0">
                  <a:pos x="455" y="54"/>
                </a:cxn>
                <a:cxn ang="0">
                  <a:pos x="360" y="30"/>
                </a:cxn>
                <a:cxn ang="0">
                  <a:pos x="311" y="44"/>
                </a:cxn>
                <a:cxn ang="0">
                  <a:pos x="272" y="69"/>
                </a:cxn>
                <a:cxn ang="0">
                  <a:pos x="289" y="138"/>
                </a:cxn>
                <a:cxn ang="0">
                  <a:pos x="270" y="295"/>
                </a:cxn>
                <a:cxn ang="0">
                  <a:pos x="241" y="334"/>
                </a:cxn>
                <a:cxn ang="0">
                  <a:pos x="200" y="399"/>
                </a:cxn>
                <a:cxn ang="0">
                  <a:pos x="146" y="492"/>
                </a:cxn>
                <a:cxn ang="0">
                  <a:pos x="100" y="508"/>
                </a:cxn>
                <a:cxn ang="0">
                  <a:pos x="48" y="508"/>
                </a:cxn>
                <a:cxn ang="0">
                  <a:pos x="4" y="526"/>
                </a:cxn>
              </a:cxnLst>
              <a:rect l="0" t="0" r="r" b="b"/>
              <a:pathLst>
                <a:path w="887" h="982">
                  <a:moveTo>
                    <a:pt x="21" y="543"/>
                  </a:moveTo>
                  <a:lnTo>
                    <a:pt x="4" y="553"/>
                  </a:lnTo>
                  <a:lnTo>
                    <a:pt x="0" y="573"/>
                  </a:lnTo>
                  <a:lnTo>
                    <a:pt x="22" y="578"/>
                  </a:lnTo>
                  <a:lnTo>
                    <a:pt x="87" y="582"/>
                  </a:lnTo>
                  <a:lnTo>
                    <a:pt x="135" y="565"/>
                  </a:lnTo>
                  <a:lnTo>
                    <a:pt x="220" y="575"/>
                  </a:lnTo>
                  <a:lnTo>
                    <a:pt x="238" y="653"/>
                  </a:lnTo>
                  <a:lnTo>
                    <a:pt x="257" y="660"/>
                  </a:lnTo>
                  <a:lnTo>
                    <a:pt x="262" y="689"/>
                  </a:lnTo>
                  <a:lnTo>
                    <a:pt x="342" y="688"/>
                  </a:lnTo>
                  <a:lnTo>
                    <a:pt x="346" y="636"/>
                  </a:lnTo>
                  <a:lnTo>
                    <a:pt x="368" y="619"/>
                  </a:lnTo>
                  <a:lnTo>
                    <a:pt x="391" y="674"/>
                  </a:lnTo>
                  <a:lnTo>
                    <a:pt x="411" y="660"/>
                  </a:lnTo>
                  <a:lnTo>
                    <a:pt x="441" y="654"/>
                  </a:lnTo>
                  <a:lnTo>
                    <a:pt x="459" y="681"/>
                  </a:lnTo>
                  <a:lnTo>
                    <a:pt x="462" y="784"/>
                  </a:lnTo>
                  <a:lnTo>
                    <a:pt x="462" y="822"/>
                  </a:lnTo>
                  <a:lnTo>
                    <a:pt x="490" y="846"/>
                  </a:lnTo>
                  <a:lnTo>
                    <a:pt x="544" y="846"/>
                  </a:lnTo>
                  <a:lnTo>
                    <a:pt x="593" y="851"/>
                  </a:lnTo>
                  <a:lnTo>
                    <a:pt x="607" y="899"/>
                  </a:lnTo>
                  <a:lnTo>
                    <a:pt x="628" y="907"/>
                  </a:lnTo>
                  <a:lnTo>
                    <a:pt x="642" y="880"/>
                  </a:lnTo>
                  <a:lnTo>
                    <a:pt x="678" y="871"/>
                  </a:lnTo>
                  <a:lnTo>
                    <a:pt x="683" y="889"/>
                  </a:lnTo>
                  <a:lnTo>
                    <a:pt x="720" y="909"/>
                  </a:lnTo>
                  <a:lnTo>
                    <a:pt x="730" y="958"/>
                  </a:lnTo>
                  <a:lnTo>
                    <a:pt x="749" y="982"/>
                  </a:lnTo>
                  <a:lnTo>
                    <a:pt x="799" y="980"/>
                  </a:lnTo>
                  <a:lnTo>
                    <a:pt x="810" y="950"/>
                  </a:lnTo>
                  <a:lnTo>
                    <a:pt x="803" y="895"/>
                  </a:lnTo>
                  <a:lnTo>
                    <a:pt x="771" y="891"/>
                  </a:lnTo>
                  <a:lnTo>
                    <a:pt x="751" y="871"/>
                  </a:lnTo>
                  <a:lnTo>
                    <a:pt x="763" y="733"/>
                  </a:lnTo>
                  <a:lnTo>
                    <a:pt x="781" y="701"/>
                  </a:lnTo>
                  <a:lnTo>
                    <a:pt x="817" y="685"/>
                  </a:lnTo>
                  <a:lnTo>
                    <a:pt x="824" y="658"/>
                  </a:lnTo>
                  <a:lnTo>
                    <a:pt x="828" y="634"/>
                  </a:lnTo>
                  <a:lnTo>
                    <a:pt x="824" y="602"/>
                  </a:lnTo>
                  <a:lnTo>
                    <a:pt x="814" y="573"/>
                  </a:lnTo>
                  <a:lnTo>
                    <a:pt x="806" y="550"/>
                  </a:lnTo>
                  <a:lnTo>
                    <a:pt x="810" y="506"/>
                  </a:lnTo>
                  <a:lnTo>
                    <a:pt x="799" y="474"/>
                  </a:lnTo>
                  <a:lnTo>
                    <a:pt x="781" y="458"/>
                  </a:lnTo>
                  <a:lnTo>
                    <a:pt x="789" y="409"/>
                  </a:lnTo>
                  <a:lnTo>
                    <a:pt x="761" y="413"/>
                  </a:lnTo>
                  <a:lnTo>
                    <a:pt x="759" y="385"/>
                  </a:lnTo>
                  <a:lnTo>
                    <a:pt x="776" y="369"/>
                  </a:lnTo>
                  <a:lnTo>
                    <a:pt x="771" y="340"/>
                  </a:lnTo>
                  <a:lnTo>
                    <a:pt x="799" y="326"/>
                  </a:lnTo>
                  <a:lnTo>
                    <a:pt x="810" y="216"/>
                  </a:lnTo>
                  <a:lnTo>
                    <a:pt x="858" y="198"/>
                  </a:lnTo>
                  <a:lnTo>
                    <a:pt x="886" y="184"/>
                  </a:lnTo>
                  <a:lnTo>
                    <a:pt x="887" y="157"/>
                  </a:lnTo>
                  <a:lnTo>
                    <a:pt x="858" y="152"/>
                  </a:lnTo>
                  <a:lnTo>
                    <a:pt x="858" y="130"/>
                  </a:lnTo>
                  <a:lnTo>
                    <a:pt x="848" y="75"/>
                  </a:lnTo>
                  <a:lnTo>
                    <a:pt x="845" y="67"/>
                  </a:lnTo>
                  <a:lnTo>
                    <a:pt x="817" y="59"/>
                  </a:lnTo>
                  <a:lnTo>
                    <a:pt x="800" y="36"/>
                  </a:lnTo>
                  <a:lnTo>
                    <a:pt x="696" y="27"/>
                  </a:lnTo>
                  <a:lnTo>
                    <a:pt x="678" y="2"/>
                  </a:lnTo>
                  <a:lnTo>
                    <a:pt x="652" y="0"/>
                  </a:lnTo>
                  <a:lnTo>
                    <a:pt x="599" y="12"/>
                  </a:lnTo>
                  <a:lnTo>
                    <a:pt x="559" y="6"/>
                  </a:lnTo>
                  <a:lnTo>
                    <a:pt x="555" y="23"/>
                  </a:lnTo>
                  <a:lnTo>
                    <a:pt x="461" y="33"/>
                  </a:lnTo>
                  <a:lnTo>
                    <a:pt x="455" y="54"/>
                  </a:lnTo>
                  <a:lnTo>
                    <a:pt x="376" y="61"/>
                  </a:lnTo>
                  <a:lnTo>
                    <a:pt x="360" y="30"/>
                  </a:lnTo>
                  <a:lnTo>
                    <a:pt x="331" y="17"/>
                  </a:lnTo>
                  <a:lnTo>
                    <a:pt x="311" y="44"/>
                  </a:lnTo>
                  <a:lnTo>
                    <a:pt x="289" y="55"/>
                  </a:lnTo>
                  <a:lnTo>
                    <a:pt x="272" y="69"/>
                  </a:lnTo>
                  <a:lnTo>
                    <a:pt x="300" y="79"/>
                  </a:lnTo>
                  <a:lnTo>
                    <a:pt x="289" y="138"/>
                  </a:lnTo>
                  <a:lnTo>
                    <a:pt x="275" y="150"/>
                  </a:lnTo>
                  <a:lnTo>
                    <a:pt x="270" y="295"/>
                  </a:lnTo>
                  <a:lnTo>
                    <a:pt x="262" y="312"/>
                  </a:lnTo>
                  <a:lnTo>
                    <a:pt x="241" y="334"/>
                  </a:lnTo>
                  <a:lnTo>
                    <a:pt x="235" y="395"/>
                  </a:lnTo>
                  <a:lnTo>
                    <a:pt x="200" y="399"/>
                  </a:lnTo>
                  <a:lnTo>
                    <a:pt x="196" y="472"/>
                  </a:lnTo>
                  <a:lnTo>
                    <a:pt x="146" y="492"/>
                  </a:lnTo>
                  <a:lnTo>
                    <a:pt x="136" y="508"/>
                  </a:lnTo>
                  <a:lnTo>
                    <a:pt x="100" y="508"/>
                  </a:lnTo>
                  <a:lnTo>
                    <a:pt x="77" y="494"/>
                  </a:lnTo>
                  <a:lnTo>
                    <a:pt x="48" y="508"/>
                  </a:lnTo>
                  <a:lnTo>
                    <a:pt x="24" y="519"/>
                  </a:lnTo>
                  <a:lnTo>
                    <a:pt x="4" y="526"/>
                  </a:lnTo>
                  <a:lnTo>
                    <a:pt x="16" y="541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39" name="Freeform 168"/>
            <p:cNvSpPr>
              <a:spLocks noChangeAspect="1"/>
            </p:cNvSpPr>
            <p:nvPr/>
          </p:nvSpPr>
          <p:spPr bwMode="auto">
            <a:xfrm>
              <a:off x="1038701" y="4601392"/>
              <a:ext cx="332306" cy="379843"/>
            </a:xfrm>
            <a:custGeom>
              <a:avLst/>
              <a:gdLst/>
              <a:ahLst/>
              <a:cxnLst>
                <a:cxn ang="0">
                  <a:pos x="23" y="8"/>
                </a:cxn>
                <a:cxn ang="0">
                  <a:pos x="45" y="13"/>
                </a:cxn>
                <a:cxn ang="0">
                  <a:pos x="110" y="17"/>
                </a:cxn>
                <a:cxn ang="0">
                  <a:pos x="158" y="0"/>
                </a:cxn>
                <a:cxn ang="0">
                  <a:pos x="243" y="10"/>
                </a:cxn>
                <a:cxn ang="0">
                  <a:pos x="261" y="88"/>
                </a:cxn>
                <a:cxn ang="0">
                  <a:pos x="280" y="95"/>
                </a:cxn>
                <a:cxn ang="0">
                  <a:pos x="285" y="124"/>
                </a:cxn>
                <a:cxn ang="0">
                  <a:pos x="365" y="123"/>
                </a:cxn>
                <a:cxn ang="0">
                  <a:pos x="369" y="71"/>
                </a:cxn>
                <a:cxn ang="0">
                  <a:pos x="391" y="54"/>
                </a:cxn>
                <a:cxn ang="0">
                  <a:pos x="414" y="109"/>
                </a:cxn>
                <a:cxn ang="0">
                  <a:pos x="434" y="95"/>
                </a:cxn>
                <a:cxn ang="0">
                  <a:pos x="464" y="89"/>
                </a:cxn>
                <a:cxn ang="0">
                  <a:pos x="482" y="116"/>
                </a:cxn>
                <a:cxn ang="0">
                  <a:pos x="485" y="219"/>
                </a:cxn>
                <a:cxn ang="0">
                  <a:pos x="485" y="257"/>
                </a:cxn>
                <a:cxn ang="0">
                  <a:pos x="513" y="281"/>
                </a:cxn>
                <a:cxn ang="0">
                  <a:pos x="567" y="281"/>
                </a:cxn>
                <a:cxn ang="0">
                  <a:pos x="561" y="388"/>
                </a:cxn>
                <a:cxn ang="0">
                  <a:pos x="519" y="388"/>
                </a:cxn>
                <a:cxn ang="0">
                  <a:pos x="503" y="360"/>
                </a:cxn>
                <a:cxn ang="0">
                  <a:pos x="485" y="361"/>
                </a:cxn>
                <a:cxn ang="0">
                  <a:pos x="484" y="388"/>
                </a:cxn>
                <a:cxn ang="0">
                  <a:pos x="454" y="391"/>
                </a:cxn>
                <a:cxn ang="0">
                  <a:pos x="452" y="513"/>
                </a:cxn>
                <a:cxn ang="0">
                  <a:pos x="457" y="553"/>
                </a:cxn>
                <a:cxn ang="0">
                  <a:pos x="492" y="599"/>
                </a:cxn>
                <a:cxn ang="0">
                  <a:pos x="493" y="622"/>
                </a:cxn>
                <a:cxn ang="0">
                  <a:pos x="442" y="644"/>
                </a:cxn>
                <a:cxn ang="0">
                  <a:pos x="404" y="638"/>
                </a:cxn>
                <a:cxn ang="0">
                  <a:pos x="307" y="625"/>
                </a:cxn>
                <a:cxn ang="0">
                  <a:pos x="291" y="600"/>
                </a:cxn>
                <a:cxn ang="0">
                  <a:pos x="174" y="604"/>
                </a:cxn>
                <a:cxn ang="0">
                  <a:pos x="94" y="596"/>
                </a:cxn>
                <a:cxn ang="0">
                  <a:pos x="46" y="573"/>
                </a:cxn>
                <a:cxn ang="0">
                  <a:pos x="1" y="591"/>
                </a:cxn>
                <a:cxn ang="0">
                  <a:pos x="0" y="513"/>
                </a:cxn>
                <a:cxn ang="0">
                  <a:pos x="51" y="425"/>
                </a:cxn>
                <a:cxn ang="0">
                  <a:pos x="76" y="365"/>
                </a:cxn>
                <a:cxn ang="0">
                  <a:pos x="81" y="350"/>
                </a:cxn>
                <a:cxn ang="0">
                  <a:pos x="103" y="344"/>
                </a:cxn>
                <a:cxn ang="0">
                  <a:pos x="113" y="298"/>
                </a:cxn>
                <a:cxn ang="0">
                  <a:pos x="82" y="250"/>
                </a:cxn>
                <a:cxn ang="0">
                  <a:pos x="72" y="188"/>
                </a:cxn>
                <a:cxn ang="0">
                  <a:pos x="65" y="120"/>
                </a:cxn>
                <a:cxn ang="0">
                  <a:pos x="41" y="106"/>
                </a:cxn>
                <a:cxn ang="0">
                  <a:pos x="41" y="36"/>
                </a:cxn>
                <a:cxn ang="0">
                  <a:pos x="16" y="36"/>
                </a:cxn>
                <a:cxn ang="0">
                  <a:pos x="23" y="8"/>
                </a:cxn>
              </a:cxnLst>
              <a:rect l="0" t="0" r="r" b="b"/>
              <a:pathLst>
                <a:path w="567" h="644">
                  <a:moveTo>
                    <a:pt x="23" y="8"/>
                  </a:moveTo>
                  <a:lnTo>
                    <a:pt x="45" y="13"/>
                  </a:lnTo>
                  <a:lnTo>
                    <a:pt x="110" y="17"/>
                  </a:lnTo>
                  <a:lnTo>
                    <a:pt x="158" y="0"/>
                  </a:lnTo>
                  <a:lnTo>
                    <a:pt x="243" y="10"/>
                  </a:lnTo>
                  <a:lnTo>
                    <a:pt x="261" y="88"/>
                  </a:lnTo>
                  <a:lnTo>
                    <a:pt x="280" y="95"/>
                  </a:lnTo>
                  <a:lnTo>
                    <a:pt x="285" y="124"/>
                  </a:lnTo>
                  <a:lnTo>
                    <a:pt x="365" y="123"/>
                  </a:lnTo>
                  <a:lnTo>
                    <a:pt x="369" y="71"/>
                  </a:lnTo>
                  <a:lnTo>
                    <a:pt x="391" y="54"/>
                  </a:lnTo>
                  <a:lnTo>
                    <a:pt x="414" y="109"/>
                  </a:lnTo>
                  <a:lnTo>
                    <a:pt x="434" y="95"/>
                  </a:lnTo>
                  <a:lnTo>
                    <a:pt x="464" y="89"/>
                  </a:lnTo>
                  <a:lnTo>
                    <a:pt x="482" y="116"/>
                  </a:lnTo>
                  <a:lnTo>
                    <a:pt x="485" y="219"/>
                  </a:lnTo>
                  <a:lnTo>
                    <a:pt x="485" y="257"/>
                  </a:lnTo>
                  <a:lnTo>
                    <a:pt x="513" y="281"/>
                  </a:lnTo>
                  <a:lnTo>
                    <a:pt x="567" y="281"/>
                  </a:lnTo>
                  <a:lnTo>
                    <a:pt x="561" y="388"/>
                  </a:lnTo>
                  <a:lnTo>
                    <a:pt x="519" y="388"/>
                  </a:lnTo>
                  <a:lnTo>
                    <a:pt x="503" y="360"/>
                  </a:lnTo>
                  <a:lnTo>
                    <a:pt x="485" y="361"/>
                  </a:lnTo>
                  <a:lnTo>
                    <a:pt x="484" y="388"/>
                  </a:lnTo>
                  <a:lnTo>
                    <a:pt x="454" y="391"/>
                  </a:lnTo>
                  <a:lnTo>
                    <a:pt x="452" y="513"/>
                  </a:lnTo>
                  <a:lnTo>
                    <a:pt x="457" y="553"/>
                  </a:lnTo>
                  <a:lnTo>
                    <a:pt x="492" y="599"/>
                  </a:lnTo>
                  <a:lnTo>
                    <a:pt x="493" y="622"/>
                  </a:lnTo>
                  <a:lnTo>
                    <a:pt x="442" y="644"/>
                  </a:lnTo>
                  <a:lnTo>
                    <a:pt x="404" y="638"/>
                  </a:lnTo>
                  <a:lnTo>
                    <a:pt x="307" y="625"/>
                  </a:lnTo>
                  <a:lnTo>
                    <a:pt x="291" y="600"/>
                  </a:lnTo>
                  <a:lnTo>
                    <a:pt x="174" y="604"/>
                  </a:lnTo>
                  <a:lnTo>
                    <a:pt x="94" y="596"/>
                  </a:lnTo>
                  <a:lnTo>
                    <a:pt x="46" y="573"/>
                  </a:lnTo>
                  <a:lnTo>
                    <a:pt x="1" y="591"/>
                  </a:lnTo>
                  <a:lnTo>
                    <a:pt x="0" y="513"/>
                  </a:lnTo>
                  <a:lnTo>
                    <a:pt x="51" y="425"/>
                  </a:lnTo>
                  <a:lnTo>
                    <a:pt x="76" y="365"/>
                  </a:lnTo>
                  <a:lnTo>
                    <a:pt x="81" y="350"/>
                  </a:lnTo>
                  <a:lnTo>
                    <a:pt x="103" y="344"/>
                  </a:lnTo>
                  <a:lnTo>
                    <a:pt x="113" y="298"/>
                  </a:lnTo>
                  <a:lnTo>
                    <a:pt x="82" y="250"/>
                  </a:lnTo>
                  <a:lnTo>
                    <a:pt x="72" y="188"/>
                  </a:lnTo>
                  <a:lnTo>
                    <a:pt x="65" y="120"/>
                  </a:lnTo>
                  <a:lnTo>
                    <a:pt x="41" y="106"/>
                  </a:lnTo>
                  <a:lnTo>
                    <a:pt x="41" y="36"/>
                  </a:lnTo>
                  <a:lnTo>
                    <a:pt x="16" y="36"/>
                  </a:lnTo>
                  <a:lnTo>
                    <a:pt x="23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0" name="Freeform 169"/>
            <p:cNvSpPr>
              <a:spLocks noChangeAspect="1"/>
            </p:cNvSpPr>
            <p:nvPr/>
          </p:nvSpPr>
          <p:spPr bwMode="auto">
            <a:xfrm>
              <a:off x="1538040" y="5236829"/>
              <a:ext cx="40440" cy="49699"/>
            </a:xfrm>
            <a:custGeom>
              <a:avLst/>
              <a:gdLst/>
              <a:ahLst/>
              <a:cxnLst>
                <a:cxn ang="0">
                  <a:pos x="69" y="72"/>
                </a:cxn>
                <a:cxn ang="0">
                  <a:pos x="59" y="34"/>
                </a:cxn>
                <a:cxn ang="0">
                  <a:pos x="41" y="0"/>
                </a:cxn>
                <a:cxn ang="0">
                  <a:pos x="6" y="17"/>
                </a:cxn>
                <a:cxn ang="0">
                  <a:pos x="0" y="47"/>
                </a:cxn>
                <a:cxn ang="0">
                  <a:pos x="4" y="68"/>
                </a:cxn>
                <a:cxn ang="0">
                  <a:pos x="24" y="76"/>
                </a:cxn>
                <a:cxn ang="0">
                  <a:pos x="54" y="85"/>
                </a:cxn>
                <a:cxn ang="0">
                  <a:pos x="69" y="72"/>
                </a:cxn>
              </a:cxnLst>
              <a:rect l="0" t="0" r="r" b="b"/>
              <a:pathLst>
                <a:path w="69" h="85">
                  <a:moveTo>
                    <a:pt x="69" y="72"/>
                  </a:moveTo>
                  <a:lnTo>
                    <a:pt x="59" y="34"/>
                  </a:lnTo>
                  <a:lnTo>
                    <a:pt x="41" y="0"/>
                  </a:lnTo>
                  <a:lnTo>
                    <a:pt x="6" y="17"/>
                  </a:lnTo>
                  <a:lnTo>
                    <a:pt x="0" y="47"/>
                  </a:lnTo>
                  <a:lnTo>
                    <a:pt x="4" y="68"/>
                  </a:lnTo>
                  <a:lnTo>
                    <a:pt x="24" y="76"/>
                  </a:lnTo>
                  <a:lnTo>
                    <a:pt x="54" y="85"/>
                  </a:lnTo>
                  <a:lnTo>
                    <a:pt x="69" y="7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1" name="Freeform 170"/>
            <p:cNvSpPr>
              <a:spLocks noChangeAspect="1"/>
            </p:cNvSpPr>
            <p:nvPr/>
          </p:nvSpPr>
          <p:spPr bwMode="auto">
            <a:xfrm>
              <a:off x="1629469" y="4273022"/>
              <a:ext cx="212747" cy="283994"/>
            </a:xfrm>
            <a:custGeom>
              <a:avLst/>
              <a:gdLst/>
              <a:ahLst/>
              <a:cxnLst>
                <a:cxn ang="0">
                  <a:pos x="260" y="480"/>
                </a:cxn>
                <a:cxn ang="0">
                  <a:pos x="191" y="441"/>
                </a:cxn>
                <a:cxn ang="0">
                  <a:pos x="186" y="403"/>
                </a:cxn>
                <a:cxn ang="0">
                  <a:pos x="138" y="389"/>
                </a:cxn>
                <a:cxn ang="0">
                  <a:pos x="46" y="312"/>
                </a:cxn>
                <a:cxn ang="0">
                  <a:pos x="11" y="312"/>
                </a:cxn>
                <a:cxn ang="0">
                  <a:pos x="0" y="283"/>
                </a:cxn>
                <a:cxn ang="0">
                  <a:pos x="9" y="232"/>
                </a:cxn>
                <a:cxn ang="0">
                  <a:pos x="34" y="180"/>
                </a:cxn>
                <a:cxn ang="0">
                  <a:pos x="34" y="93"/>
                </a:cxn>
                <a:cxn ang="0">
                  <a:pos x="9" y="48"/>
                </a:cxn>
                <a:cxn ang="0">
                  <a:pos x="69" y="0"/>
                </a:cxn>
                <a:cxn ang="0">
                  <a:pos x="118" y="11"/>
                </a:cxn>
                <a:cxn ang="0">
                  <a:pos x="159" y="43"/>
                </a:cxn>
                <a:cxn ang="0">
                  <a:pos x="165" y="74"/>
                </a:cxn>
                <a:cxn ang="0">
                  <a:pos x="263" y="67"/>
                </a:cxn>
                <a:cxn ang="0">
                  <a:pos x="263" y="47"/>
                </a:cxn>
                <a:cxn ang="0">
                  <a:pos x="325" y="43"/>
                </a:cxn>
                <a:cxn ang="0">
                  <a:pos x="341" y="60"/>
                </a:cxn>
                <a:cxn ang="0">
                  <a:pos x="361" y="74"/>
                </a:cxn>
                <a:cxn ang="0">
                  <a:pos x="337" y="97"/>
                </a:cxn>
                <a:cxn ang="0">
                  <a:pos x="324" y="126"/>
                </a:cxn>
                <a:cxn ang="0">
                  <a:pos x="334" y="325"/>
                </a:cxn>
                <a:cxn ang="0">
                  <a:pos x="351" y="338"/>
                </a:cxn>
                <a:cxn ang="0">
                  <a:pos x="331" y="357"/>
                </a:cxn>
                <a:cxn ang="0">
                  <a:pos x="317" y="388"/>
                </a:cxn>
                <a:cxn ang="0">
                  <a:pos x="283" y="417"/>
                </a:cxn>
                <a:cxn ang="0">
                  <a:pos x="276" y="448"/>
                </a:cxn>
                <a:cxn ang="0">
                  <a:pos x="260" y="480"/>
                </a:cxn>
              </a:cxnLst>
              <a:rect l="0" t="0" r="r" b="b"/>
              <a:pathLst>
                <a:path w="361" h="480">
                  <a:moveTo>
                    <a:pt x="260" y="480"/>
                  </a:moveTo>
                  <a:lnTo>
                    <a:pt x="191" y="441"/>
                  </a:lnTo>
                  <a:lnTo>
                    <a:pt x="186" y="403"/>
                  </a:lnTo>
                  <a:lnTo>
                    <a:pt x="138" y="389"/>
                  </a:lnTo>
                  <a:lnTo>
                    <a:pt x="46" y="312"/>
                  </a:lnTo>
                  <a:lnTo>
                    <a:pt x="11" y="312"/>
                  </a:lnTo>
                  <a:lnTo>
                    <a:pt x="0" y="283"/>
                  </a:lnTo>
                  <a:lnTo>
                    <a:pt x="9" y="232"/>
                  </a:lnTo>
                  <a:lnTo>
                    <a:pt x="34" y="180"/>
                  </a:lnTo>
                  <a:lnTo>
                    <a:pt x="34" y="93"/>
                  </a:lnTo>
                  <a:lnTo>
                    <a:pt x="9" y="48"/>
                  </a:lnTo>
                  <a:lnTo>
                    <a:pt x="69" y="0"/>
                  </a:lnTo>
                  <a:lnTo>
                    <a:pt x="118" y="11"/>
                  </a:lnTo>
                  <a:lnTo>
                    <a:pt x="159" y="43"/>
                  </a:lnTo>
                  <a:lnTo>
                    <a:pt x="165" y="74"/>
                  </a:lnTo>
                  <a:lnTo>
                    <a:pt x="263" y="67"/>
                  </a:lnTo>
                  <a:lnTo>
                    <a:pt x="263" y="47"/>
                  </a:lnTo>
                  <a:lnTo>
                    <a:pt x="325" y="43"/>
                  </a:lnTo>
                  <a:lnTo>
                    <a:pt x="341" y="60"/>
                  </a:lnTo>
                  <a:lnTo>
                    <a:pt x="361" y="74"/>
                  </a:lnTo>
                  <a:lnTo>
                    <a:pt x="337" y="97"/>
                  </a:lnTo>
                  <a:lnTo>
                    <a:pt x="324" y="126"/>
                  </a:lnTo>
                  <a:lnTo>
                    <a:pt x="334" y="325"/>
                  </a:lnTo>
                  <a:lnTo>
                    <a:pt x="351" y="338"/>
                  </a:lnTo>
                  <a:lnTo>
                    <a:pt x="331" y="357"/>
                  </a:lnTo>
                  <a:lnTo>
                    <a:pt x="317" y="388"/>
                  </a:lnTo>
                  <a:lnTo>
                    <a:pt x="283" y="417"/>
                  </a:lnTo>
                  <a:lnTo>
                    <a:pt x="276" y="448"/>
                  </a:lnTo>
                  <a:lnTo>
                    <a:pt x="260" y="48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2" name="Freeform 171"/>
            <p:cNvSpPr>
              <a:spLocks noChangeAspect="1"/>
            </p:cNvSpPr>
            <p:nvPr/>
          </p:nvSpPr>
          <p:spPr bwMode="auto">
            <a:xfrm>
              <a:off x="1608370" y="3800883"/>
              <a:ext cx="376262" cy="516515"/>
            </a:xfrm>
            <a:custGeom>
              <a:avLst/>
              <a:gdLst/>
              <a:ahLst/>
              <a:cxnLst>
                <a:cxn ang="0">
                  <a:pos x="399" y="872"/>
                </a:cxn>
                <a:cxn ang="0">
                  <a:pos x="379" y="858"/>
                </a:cxn>
                <a:cxn ang="0">
                  <a:pos x="363" y="841"/>
                </a:cxn>
                <a:cxn ang="0">
                  <a:pos x="301" y="845"/>
                </a:cxn>
                <a:cxn ang="0">
                  <a:pos x="301" y="865"/>
                </a:cxn>
                <a:cxn ang="0">
                  <a:pos x="203" y="872"/>
                </a:cxn>
                <a:cxn ang="0">
                  <a:pos x="197" y="841"/>
                </a:cxn>
                <a:cxn ang="0">
                  <a:pos x="156" y="809"/>
                </a:cxn>
                <a:cxn ang="0">
                  <a:pos x="107" y="798"/>
                </a:cxn>
                <a:cxn ang="0">
                  <a:pos x="111" y="771"/>
                </a:cxn>
                <a:cxn ang="0">
                  <a:pos x="89" y="734"/>
                </a:cxn>
                <a:cxn ang="0">
                  <a:pos x="73" y="723"/>
                </a:cxn>
                <a:cxn ang="0">
                  <a:pos x="52" y="705"/>
                </a:cxn>
                <a:cxn ang="0">
                  <a:pos x="49" y="669"/>
                </a:cxn>
                <a:cxn ang="0">
                  <a:pos x="25" y="664"/>
                </a:cxn>
                <a:cxn ang="0">
                  <a:pos x="0" y="617"/>
                </a:cxn>
                <a:cxn ang="0">
                  <a:pos x="47" y="614"/>
                </a:cxn>
                <a:cxn ang="0">
                  <a:pos x="59" y="511"/>
                </a:cxn>
                <a:cxn ang="0">
                  <a:pos x="97" y="509"/>
                </a:cxn>
                <a:cxn ang="0">
                  <a:pos x="104" y="404"/>
                </a:cxn>
                <a:cxn ang="0">
                  <a:pos x="162" y="395"/>
                </a:cxn>
                <a:cxn ang="0">
                  <a:pos x="156" y="269"/>
                </a:cxn>
                <a:cxn ang="0">
                  <a:pos x="124" y="262"/>
                </a:cxn>
                <a:cxn ang="0">
                  <a:pos x="126" y="227"/>
                </a:cxn>
                <a:cxn ang="0">
                  <a:pos x="167" y="228"/>
                </a:cxn>
                <a:cxn ang="0">
                  <a:pos x="163" y="190"/>
                </a:cxn>
                <a:cxn ang="0">
                  <a:pos x="146" y="145"/>
                </a:cxn>
                <a:cxn ang="0">
                  <a:pos x="142" y="86"/>
                </a:cxn>
                <a:cxn ang="0">
                  <a:pos x="173" y="0"/>
                </a:cxn>
                <a:cxn ang="0">
                  <a:pos x="191" y="37"/>
                </a:cxn>
                <a:cxn ang="0">
                  <a:pos x="215" y="79"/>
                </a:cxn>
                <a:cxn ang="0">
                  <a:pos x="237" y="106"/>
                </a:cxn>
                <a:cxn ang="0">
                  <a:pos x="265" y="163"/>
                </a:cxn>
                <a:cxn ang="0">
                  <a:pos x="283" y="200"/>
                </a:cxn>
                <a:cxn ang="0">
                  <a:pos x="286" y="242"/>
                </a:cxn>
                <a:cxn ang="0">
                  <a:pos x="344" y="258"/>
                </a:cxn>
                <a:cxn ang="0">
                  <a:pos x="367" y="316"/>
                </a:cxn>
                <a:cxn ang="0">
                  <a:pos x="403" y="385"/>
                </a:cxn>
                <a:cxn ang="0">
                  <a:pos x="391" y="418"/>
                </a:cxn>
                <a:cxn ang="0">
                  <a:pos x="383" y="506"/>
                </a:cxn>
                <a:cxn ang="0">
                  <a:pos x="434" y="513"/>
                </a:cxn>
                <a:cxn ang="0">
                  <a:pos x="470" y="544"/>
                </a:cxn>
                <a:cxn ang="0">
                  <a:pos x="545" y="620"/>
                </a:cxn>
                <a:cxn ang="0">
                  <a:pos x="600" y="616"/>
                </a:cxn>
                <a:cxn ang="0">
                  <a:pos x="644" y="659"/>
                </a:cxn>
                <a:cxn ang="0">
                  <a:pos x="596" y="699"/>
                </a:cxn>
                <a:cxn ang="0">
                  <a:pos x="589" y="762"/>
                </a:cxn>
                <a:cxn ang="0">
                  <a:pos x="541" y="809"/>
                </a:cxn>
                <a:cxn ang="0">
                  <a:pos x="482" y="826"/>
                </a:cxn>
                <a:cxn ang="0">
                  <a:pos x="434" y="826"/>
                </a:cxn>
                <a:cxn ang="0">
                  <a:pos x="399" y="872"/>
                </a:cxn>
              </a:cxnLst>
              <a:rect l="0" t="0" r="r" b="b"/>
              <a:pathLst>
                <a:path w="644" h="872">
                  <a:moveTo>
                    <a:pt x="399" y="872"/>
                  </a:moveTo>
                  <a:lnTo>
                    <a:pt x="379" y="858"/>
                  </a:lnTo>
                  <a:lnTo>
                    <a:pt x="363" y="841"/>
                  </a:lnTo>
                  <a:lnTo>
                    <a:pt x="301" y="845"/>
                  </a:lnTo>
                  <a:lnTo>
                    <a:pt x="301" y="865"/>
                  </a:lnTo>
                  <a:lnTo>
                    <a:pt x="203" y="872"/>
                  </a:lnTo>
                  <a:lnTo>
                    <a:pt x="197" y="841"/>
                  </a:lnTo>
                  <a:lnTo>
                    <a:pt x="156" y="809"/>
                  </a:lnTo>
                  <a:lnTo>
                    <a:pt x="107" y="798"/>
                  </a:lnTo>
                  <a:lnTo>
                    <a:pt x="111" y="771"/>
                  </a:lnTo>
                  <a:lnTo>
                    <a:pt x="89" y="734"/>
                  </a:lnTo>
                  <a:lnTo>
                    <a:pt x="73" y="723"/>
                  </a:lnTo>
                  <a:lnTo>
                    <a:pt x="52" y="705"/>
                  </a:lnTo>
                  <a:lnTo>
                    <a:pt x="49" y="669"/>
                  </a:lnTo>
                  <a:lnTo>
                    <a:pt x="25" y="664"/>
                  </a:lnTo>
                  <a:lnTo>
                    <a:pt x="0" y="617"/>
                  </a:lnTo>
                  <a:lnTo>
                    <a:pt x="47" y="614"/>
                  </a:lnTo>
                  <a:lnTo>
                    <a:pt x="59" y="511"/>
                  </a:lnTo>
                  <a:lnTo>
                    <a:pt x="97" y="509"/>
                  </a:lnTo>
                  <a:lnTo>
                    <a:pt x="104" y="404"/>
                  </a:lnTo>
                  <a:lnTo>
                    <a:pt x="162" y="395"/>
                  </a:lnTo>
                  <a:lnTo>
                    <a:pt x="156" y="269"/>
                  </a:lnTo>
                  <a:lnTo>
                    <a:pt x="124" y="262"/>
                  </a:lnTo>
                  <a:lnTo>
                    <a:pt x="126" y="227"/>
                  </a:lnTo>
                  <a:lnTo>
                    <a:pt x="167" y="228"/>
                  </a:lnTo>
                  <a:lnTo>
                    <a:pt x="163" y="190"/>
                  </a:lnTo>
                  <a:lnTo>
                    <a:pt x="146" y="145"/>
                  </a:lnTo>
                  <a:lnTo>
                    <a:pt x="142" y="86"/>
                  </a:lnTo>
                  <a:lnTo>
                    <a:pt x="173" y="0"/>
                  </a:lnTo>
                  <a:lnTo>
                    <a:pt x="191" y="37"/>
                  </a:lnTo>
                  <a:lnTo>
                    <a:pt x="215" y="79"/>
                  </a:lnTo>
                  <a:lnTo>
                    <a:pt x="237" y="106"/>
                  </a:lnTo>
                  <a:lnTo>
                    <a:pt x="265" y="163"/>
                  </a:lnTo>
                  <a:lnTo>
                    <a:pt x="283" y="200"/>
                  </a:lnTo>
                  <a:lnTo>
                    <a:pt x="286" y="242"/>
                  </a:lnTo>
                  <a:lnTo>
                    <a:pt x="344" y="258"/>
                  </a:lnTo>
                  <a:lnTo>
                    <a:pt x="367" y="316"/>
                  </a:lnTo>
                  <a:lnTo>
                    <a:pt x="403" y="385"/>
                  </a:lnTo>
                  <a:lnTo>
                    <a:pt x="391" y="418"/>
                  </a:lnTo>
                  <a:lnTo>
                    <a:pt x="383" y="506"/>
                  </a:lnTo>
                  <a:lnTo>
                    <a:pt x="434" y="513"/>
                  </a:lnTo>
                  <a:lnTo>
                    <a:pt x="470" y="544"/>
                  </a:lnTo>
                  <a:lnTo>
                    <a:pt x="545" y="620"/>
                  </a:lnTo>
                  <a:lnTo>
                    <a:pt x="600" y="616"/>
                  </a:lnTo>
                  <a:lnTo>
                    <a:pt x="644" y="659"/>
                  </a:lnTo>
                  <a:lnTo>
                    <a:pt x="596" y="699"/>
                  </a:lnTo>
                  <a:lnTo>
                    <a:pt x="589" y="762"/>
                  </a:lnTo>
                  <a:lnTo>
                    <a:pt x="541" y="809"/>
                  </a:lnTo>
                  <a:lnTo>
                    <a:pt x="482" y="826"/>
                  </a:lnTo>
                  <a:lnTo>
                    <a:pt x="434" y="826"/>
                  </a:lnTo>
                  <a:lnTo>
                    <a:pt x="399" y="87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3" name="Freeform 172"/>
            <p:cNvSpPr>
              <a:spLocks noChangeAspect="1"/>
            </p:cNvSpPr>
            <p:nvPr/>
          </p:nvSpPr>
          <p:spPr bwMode="auto">
            <a:xfrm>
              <a:off x="1608370" y="3800883"/>
              <a:ext cx="376262" cy="516515"/>
            </a:xfrm>
            <a:custGeom>
              <a:avLst/>
              <a:gdLst/>
              <a:ahLst/>
              <a:cxnLst>
                <a:cxn ang="0">
                  <a:pos x="399" y="872"/>
                </a:cxn>
                <a:cxn ang="0">
                  <a:pos x="379" y="858"/>
                </a:cxn>
                <a:cxn ang="0">
                  <a:pos x="363" y="841"/>
                </a:cxn>
                <a:cxn ang="0">
                  <a:pos x="301" y="845"/>
                </a:cxn>
                <a:cxn ang="0">
                  <a:pos x="301" y="865"/>
                </a:cxn>
                <a:cxn ang="0">
                  <a:pos x="203" y="872"/>
                </a:cxn>
                <a:cxn ang="0">
                  <a:pos x="197" y="841"/>
                </a:cxn>
                <a:cxn ang="0">
                  <a:pos x="156" y="809"/>
                </a:cxn>
                <a:cxn ang="0">
                  <a:pos x="107" y="798"/>
                </a:cxn>
                <a:cxn ang="0">
                  <a:pos x="111" y="771"/>
                </a:cxn>
                <a:cxn ang="0">
                  <a:pos x="89" y="734"/>
                </a:cxn>
                <a:cxn ang="0">
                  <a:pos x="73" y="723"/>
                </a:cxn>
                <a:cxn ang="0">
                  <a:pos x="52" y="705"/>
                </a:cxn>
                <a:cxn ang="0">
                  <a:pos x="49" y="669"/>
                </a:cxn>
                <a:cxn ang="0">
                  <a:pos x="25" y="664"/>
                </a:cxn>
                <a:cxn ang="0">
                  <a:pos x="0" y="617"/>
                </a:cxn>
                <a:cxn ang="0">
                  <a:pos x="47" y="614"/>
                </a:cxn>
                <a:cxn ang="0">
                  <a:pos x="59" y="511"/>
                </a:cxn>
                <a:cxn ang="0">
                  <a:pos x="97" y="509"/>
                </a:cxn>
                <a:cxn ang="0">
                  <a:pos x="104" y="404"/>
                </a:cxn>
                <a:cxn ang="0">
                  <a:pos x="162" y="395"/>
                </a:cxn>
                <a:cxn ang="0">
                  <a:pos x="156" y="269"/>
                </a:cxn>
                <a:cxn ang="0">
                  <a:pos x="124" y="262"/>
                </a:cxn>
                <a:cxn ang="0">
                  <a:pos x="126" y="227"/>
                </a:cxn>
                <a:cxn ang="0">
                  <a:pos x="167" y="228"/>
                </a:cxn>
                <a:cxn ang="0">
                  <a:pos x="163" y="190"/>
                </a:cxn>
                <a:cxn ang="0">
                  <a:pos x="146" y="145"/>
                </a:cxn>
                <a:cxn ang="0">
                  <a:pos x="142" y="86"/>
                </a:cxn>
                <a:cxn ang="0">
                  <a:pos x="173" y="0"/>
                </a:cxn>
                <a:cxn ang="0">
                  <a:pos x="191" y="37"/>
                </a:cxn>
                <a:cxn ang="0">
                  <a:pos x="215" y="79"/>
                </a:cxn>
                <a:cxn ang="0">
                  <a:pos x="237" y="106"/>
                </a:cxn>
                <a:cxn ang="0">
                  <a:pos x="265" y="163"/>
                </a:cxn>
                <a:cxn ang="0">
                  <a:pos x="283" y="200"/>
                </a:cxn>
                <a:cxn ang="0">
                  <a:pos x="286" y="242"/>
                </a:cxn>
                <a:cxn ang="0">
                  <a:pos x="344" y="258"/>
                </a:cxn>
                <a:cxn ang="0">
                  <a:pos x="367" y="316"/>
                </a:cxn>
                <a:cxn ang="0">
                  <a:pos x="403" y="385"/>
                </a:cxn>
                <a:cxn ang="0">
                  <a:pos x="391" y="418"/>
                </a:cxn>
                <a:cxn ang="0">
                  <a:pos x="383" y="506"/>
                </a:cxn>
                <a:cxn ang="0">
                  <a:pos x="434" y="513"/>
                </a:cxn>
                <a:cxn ang="0">
                  <a:pos x="470" y="544"/>
                </a:cxn>
                <a:cxn ang="0">
                  <a:pos x="545" y="620"/>
                </a:cxn>
                <a:cxn ang="0">
                  <a:pos x="600" y="616"/>
                </a:cxn>
                <a:cxn ang="0">
                  <a:pos x="644" y="659"/>
                </a:cxn>
                <a:cxn ang="0">
                  <a:pos x="596" y="699"/>
                </a:cxn>
                <a:cxn ang="0">
                  <a:pos x="589" y="762"/>
                </a:cxn>
                <a:cxn ang="0">
                  <a:pos x="541" y="809"/>
                </a:cxn>
                <a:cxn ang="0">
                  <a:pos x="482" y="826"/>
                </a:cxn>
                <a:cxn ang="0">
                  <a:pos x="434" y="826"/>
                </a:cxn>
                <a:cxn ang="0">
                  <a:pos x="399" y="872"/>
                </a:cxn>
              </a:cxnLst>
              <a:rect l="0" t="0" r="r" b="b"/>
              <a:pathLst>
                <a:path w="644" h="872">
                  <a:moveTo>
                    <a:pt x="399" y="872"/>
                  </a:moveTo>
                  <a:lnTo>
                    <a:pt x="379" y="858"/>
                  </a:lnTo>
                  <a:lnTo>
                    <a:pt x="363" y="841"/>
                  </a:lnTo>
                  <a:lnTo>
                    <a:pt x="301" y="845"/>
                  </a:lnTo>
                  <a:lnTo>
                    <a:pt x="301" y="865"/>
                  </a:lnTo>
                  <a:lnTo>
                    <a:pt x="203" y="872"/>
                  </a:lnTo>
                  <a:lnTo>
                    <a:pt x="197" y="841"/>
                  </a:lnTo>
                  <a:lnTo>
                    <a:pt x="156" y="809"/>
                  </a:lnTo>
                  <a:lnTo>
                    <a:pt x="107" y="798"/>
                  </a:lnTo>
                  <a:lnTo>
                    <a:pt x="111" y="771"/>
                  </a:lnTo>
                  <a:lnTo>
                    <a:pt x="89" y="734"/>
                  </a:lnTo>
                  <a:lnTo>
                    <a:pt x="73" y="723"/>
                  </a:lnTo>
                  <a:lnTo>
                    <a:pt x="52" y="705"/>
                  </a:lnTo>
                  <a:lnTo>
                    <a:pt x="49" y="669"/>
                  </a:lnTo>
                  <a:lnTo>
                    <a:pt x="25" y="664"/>
                  </a:lnTo>
                  <a:lnTo>
                    <a:pt x="0" y="617"/>
                  </a:lnTo>
                  <a:lnTo>
                    <a:pt x="47" y="614"/>
                  </a:lnTo>
                  <a:lnTo>
                    <a:pt x="59" y="511"/>
                  </a:lnTo>
                  <a:lnTo>
                    <a:pt x="97" y="509"/>
                  </a:lnTo>
                  <a:lnTo>
                    <a:pt x="104" y="404"/>
                  </a:lnTo>
                  <a:lnTo>
                    <a:pt x="162" y="395"/>
                  </a:lnTo>
                  <a:lnTo>
                    <a:pt x="156" y="269"/>
                  </a:lnTo>
                  <a:lnTo>
                    <a:pt x="124" y="262"/>
                  </a:lnTo>
                  <a:lnTo>
                    <a:pt x="126" y="227"/>
                  </a:lnTo>
                  <a:lnTo>
                    <a:pt x="167" y="228"/>
                  </a:lnTo>
                  <a:lnTo>
                    <a:pt x="163" y="190"/>
                  </a:lnTo>
                  <a:lnTo>
                    <a:pt x="146" y="145"/>
                  </a:lnTo>
                  <a:lnTo>
                    <a:pt x="142" y="86"/>
                  </a:lnTo>
                  <a:lnTo>
                    <a:pt x="173" y="0"/>
                  </a:lnTo>
                  <a:lnTo>
                    <a:pt x="191" y="37"/>
                  </a:lnTo>
                  <a:lnTo>
                    <a:pt x="215" y="79"/>
                  </a:lnTo>
                  <a:lnTo>
                    <a:pt x="237" y="106"/>
                  </a:lnTo>
                  <a:lnTo>
                    <a:pt x="265" y="163"/>
                  </a:lnTo>
                  <a:lnTo>
                    <a:pt x="283" y="200"/>
                  </a:lnTo>
                  <a:lnTo>
                    <a:pt x="286" y="242"/>
                  </a:lnTo>
                  <a:lnTo>
                    <a:pt x="344" y="258"/>
                  </a:lnTo>
                  <a:lnTo>
                    <a:pt x="367" y="316"/>
                  </a:lnTo>
                  <a:lnTo>
                    <a:pt x="403" y="385"/>
                  </a:lnTo>
                  <a:lnTo>
                    <a:pt x="391" y="418"/>
                  </a:lnTo>
                  <a:lnTo>
                    <a:pt x="383" y="506"/>
                  </a:lnTo>
                  <a:lnTo>
                    <a:pt x="434" y="513"/>
                  </a:lnTo>
                  <a:lnTo>
                    <a:pt x="470" y="544"/>
                  </a:lnTo>
                  <a:lnTo>
                    <a:pt x="545" y="620"/>
                  </a:lnTo>
                  <a:lnTo>
                    <a:pt x="600" y="616"/>
                  </a:lnTo>
                  <a:lnTo>
                    <a:pt x="644" y="659"/>
                  </a:lnTo>
                  <a:lnTo>
                    <a:pt x="596" y="699"/>
                  </a:lnTo>
                  <a:lnTo>
                    <a:pt x="589" y="762"/>
                  </a:lnTo>
                  <a:lnTo>
                    <a:pt x="541" y="809"/>
                  </a:lnTo>
                  <a:lnTo>
                    <a:pt x="482" y="826"/>
                  </a:lnTo>
                  <a:lnTo>
                    <a:pt x="434" y="826"/>
                  </a:lnTo>
                  <a:lnTo>
                    <a:pt x="399" y="872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4" name="Freeform 173"/>
            <p:cNvSpPr>
              <a:spLocks noChangeAspect="1"/>
            </p:cNvSpPr>
            <p:nvPr/>
          </p:nvSpPr>
          <p:spPr bwMode="auto">
            <a:xfrm>
              <a:off x="1819357" y="4044053"/>
              <a:ext cx="286592" cy="429541"/>
            </a:xfrm>
            <a:custGeom>
              <a:avLst/>
              <a:gdLst/>
              <a:ahLst/>
              <a:cxnLst>
                <a:cxn ang="0">
                  <a:pos x="72" y="103"/>
                </a:cxn>
                <a:cxn ang="0">
                  <a:pos x="108" y="134"/>
                </a:cxn>
                <a:cxn ang="0">
                  <a:pos x="183" y="210"/>
                </a:cxn>
                <a:cxn ang="0">
                  <a:pos x="238" y="206"/>
                </a:cxn>
                <a:cxn ang="0">
                  <a:pos x="282" y="249"/>
                </a:cxn>
                <a:cxn ang="0">
                  <a:pos x="234" y="289"/>
                </a:cxn>
                <a:cxn ang="0">
                  <a:pos x="227" y="352"/>
                </a:cxn>
                <a:cxn ang="0">
                  <a:pos x="179" y="399"/>
                </a:cxn>
                <a:cxn ang="0">
                  <a:pos x="120" y="416"/>
                </a:cxn>
                <a:cxn ang="0">
                  <a:pos x="72" y="416"/>
                </a:cxn>
                <a:cxn ang="0">
                  <a:pos x="37" y="462"/>
                </a:cxn>
                <a:cxn ang="0">
                  <a:pos x="13" y="485"/>
                </a:cxn>
                <a:cxn ang="0">
                  <a:pos x="0" y="514"/>
                </a:cxn>
                <a:cxn ang="0">
                  <a:pos x="10" y="713"/>
                </a:cxn>
                <a:cxn ang="0">
                  <a:pos x="27" y="726"/>
                </a:cxn>
                <a:cxn ang="0">
                  <a:pos x="60" y="681"/>
                </a:cxn>
                <a:cxn ang="0">
                  <a:pos x="89" y="633"/>
                </a:cxn>
                <a:cxn ang="0">
                  <a:pos x="140" y="597"/>
                </a:cxn>
                <a:cxn ang="0">
                  <a:pos x="227" y="517"/>
                </a:cxn>
                <a:cxn ang="0">
                  <a:pos x="310" y="435"/>
                </a:cxn>
                <a:cxn ang="0">
                  <a:pos x="361" y="364"/>
                </a:cxn>
                <a:cxn ang="0">
                  <a:pos x="380" y="278"/>
                </a:cxn>
                <a:cxn ang="0">
                  <a:pos x="408" y="210"/>
                </a:cxn>
                <a:cxn ang="0">
                  <a:pos x="448" y="158"/>
                </a:cxn>
                <a:cxn ang="0">
                  <a:pos x="464" y="103"/>
                </a:cxn>
                <a:cxn ang="0">
                  <a:pos x="487" y="75"/>
                </a:cxn>
                <a:cxn ang="0">
                  <a:pos x="459" y="48"/>
                </a:cxn>
                <a:cxn ang="0">
                  <a:pos x="424" y="0"/>
                </a:cxn>
                <a:cxn ang="0">
                  <a:pos x="376" y="44"/>
                </a:cxn>
                <a:cxn ang="0">
                  <a:pos x="325" y="52"/>
                </a:cxn>
                <a:cxn ang="0">
                  <a:pos x="296" y="69"/>
                </a:cxn>
                <a:cxn ang="0">
                  <a:pos x="265" y="89"/>
                </a:cxn>
                <a:cxn ang="0">
                  <a:pos x="172" y="83"/>
                </a:cxn>
                <a:cxn ang="0">
                  <a:pos x="118" y="64"/>
                </a:cxn>
                <a:cxn ang="0">
                  <a:pos x="72" y="103"/>
                </a:cxn>
              </a:cxnLst>
              <a:rect l="0" t="0" r="r" b="b"/>
              <a:pathLst>
                <a:path w="487" h="726">
                  <a:moveTo>
                    <a:pt x="72" y="103"/>
                  </a:moveTo>
                  <a:lnTo>
                    <a:pt x="108" y="134"/>
                  </a:lnTo>
                  <a:lnTo>
                    <a:pt x="183" y="210"/>
                  </a:lnTo>
                  <a:lnTo>
                    <a:pt x="238" y="206"/>
                  </a:lnTo>
                  <a:lnTo>
                    <a:pt x="282" y="249"/>
                  </a:lnTo>
                  <a:lnTo>
                    <a:pt x="234" y="289"/>
                  </a:lnTo>
                  <a:lnTo>
                    <a:pt x="227" y="352"/>
                  </a:lnTo>
                  <a:lnTo>
                    <a:pt x="179" y="399"/>
                  </a:lnTo>
                  <a:lnTo>
                    <a:pt x="120" y="416"/>
                  </a:lnTo>
                  <a:lnTo>
                    <a:pt x="72" y="416"/>
                  </a:lnTo>
                  <a:lnTo>
                    <a:pt x="37" y="462"/>
                  </a:lnTo>
                  <a:lnTo>
                    <a:pt x="13" y="485"/>
                  </a:lnTo>
                  <a:lnTo>
                    <a:pt x="0" y="514"/>
                  </a:lnTo>
                  <a:lnTo>
                    <a:pt x="10" y="713"/>
                  </a:lnTo>
                  <a:lnTo>
                    <a:pt x="27" y="726"/>
                  </a:lnTo>
                  <a:lnTo>
                    <a:pt x="60" y="681"/>
                  </a:lnTo>
                  <a:lnTo>
                    <a:pt x="89" y="633"/>
                  </a:lnTo>
                  <a:lnTo>
                    <a:pt x="140" y="597"/>
                  </a:lnTo>
                  <a:lnTo>
                    <a:pt x="227" y="517"/>
                  </a:lnTo>
                  <a:lnTo>
                    <a:pt x="310" y="435"/>
                  </a:lnTo>
                  <a:lnTo>
                    <a:pt x="361" y="364"/>
                  </a:lnTo>
                  <a:lnTo>
                    <a:pt x="380" y="278"/>
                  </a:lnTo>
                  <a:lnTo>
                    <a:pt x="408" y="210"/>
                  </a:lnTo>
                  <a:lnTo>
                    <a:pt x="448" y="158"/>
                  </a:lnTo>
                  <a:lnTo>
                    <a:pt x="464" y="103"/>
                  </a:lnTo>
                  <a:lnTo>
                    <a:pt x="487" y="75"/>
                  </a:lnTo>
                  <a:lnTo>
                    <a:pt x="459" y="48"/>
                  </a:lnTo>
                  <a:lnTo>
                    <a:pt x="424" y="0"/>
                  </a:lnTo>
                  <a:lnTo>
                    <a:pt x="376" y="44"/>
                  </a:lnTo>
                  <a:lnTo>
                    <a:pt x="325" y="52"/>
                  </a:lnTo>
                  <a:lnTo>
                    <a:pt x="296" y="69"/>
                  </a:lnTo>
                  <a:lnTo>
                    <a:pt x="265" y="89"/>
                  </a:lnTo>
                  <a:lnTo>
                    <a:pt x="172" y="83"/>
                  </a:lnTo>
                  <a:lnTo>
                    <a:pt x="118" y="64"/>
                  </a:lnTo>
                  <a:lnTo>
                    <a:pt x="72" y="10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5" name="Freeform 174"/>
            <p:cNvSpPr>
              <a:spLocks noChangeAspect="1"/>
            </p:cNvSpPr>
            <p:nvPr/>
          </p:nvSpPr>
          <p:spPr bwMode="auto">
            <a:xfrm>
              <a:off x="978921" y="3369565"/>
              <a:ext cx="407911" cy="491665"/>
            </a:xfrm>
            <a:custGeom>
              <a:avLst/>
              <a:gdLst/>
              <a:ahLst/>
              <a:cxnLst>
                <a:cxn ang="0">
                  <a:pos x="86" y="4"/>
                </a:cxn>
                <a:cxn ang="0">
                  <a:pos x="124" y="28"/>
                </a:cxn>
                <a:cxn ang="0">
                  <a:pos x="152" y="31"/>
                </a:cxn>
                <a:cxn ang="0">
                  <a:pos x="254" y="48"/>
                </a:cxn>
                <a:cxn ang="0">
                  <a:pos x="268" y="87"/>
                </a:cxn>
                <a:cxn ang="0">
                  <a:pos x="341" y="97"/>
                </a:cxn>
                <a:cxn ang="0">
                  <a:pos x="344" y="121"/>
                </a:cxn>
                <a:cxn ang="0">
                  <a:pos x="408" y="136"/>
                </a:cxn>
                <a:cxn ang="0">
                  <a:pos x="448" y="151"/>
                </a:cxn>
                <a:cxn ang="0">
                  <a:pos x="460" y="128"/>
                </a:cxn>
                <a:cxn ang="0">
                  <a:pos x="460" y="63"/>
                </a:cxn>
                <a:cxn ang="0">
                  <a:pos x="480" y="44"/>
                </a:cxn>
                <a:cxn ang="0">
                  <a:pos x="499" y="16"/>
                </a:cxn>
                <a:cxn ang="0">
                  <a:pos x="517" y="0"/>
                </a:cxn>
                <a:cxn ang="0">
                  <a:pos x="563" y="2"/>
                </a:cxn>
                <a:cxn ang="0">
                  <a:pos x="591" y="30"/>
                </a:cxn>
                <a:cxn ang="0">
                  <a:pos x="615" y="51"/>
                </a:cxn>
                <a:cxn ang="0">
                  <a:pos x="656" y="49"/>
                </a:cxn>
                <a:cxn ang="0">
                  <a:pos x="695" y="63"/>
                </a:cxn>
                <a:cxn ang="0">
                  <a:pos x="691" y="109"/>
                </a:cxn>
                <a:cxn ang="0">
                  <a:pos x="694" y="662"/>
                </a:cxn>
                <a:cxn ang="0">
                  <a:pos x="689" y="741"/>
                </a:cxn>
                <a:cxn ang="0">
                  <a:pos x="658" y="750"/>
                </a:cxn>
                <a:cxn ang="0">
                  <a:pos x="666" y="832"/>
                </a:cxn>
                <a:cxn ang="0">
                  <a:pos x="634" y="829"/>
                </a:cxn>
                <a:cxn ang="0">
                  <a:pos x="560" y="768"/>
                </a:cxn>
                <a:cxn ang="0">
                  <a:pos x="527" y="751"/>
                </a:cxn>
                <a:cxn ang="0">
                  <a:pos x="458" y="717"/>
                </a:cxn>
                <a:cxn ang="0">
                  <a:pos x="434" y="676"/>
                </a:cxn>
                <a:cxn ang="0">
                  <a:pos x="355" y="664"/>
                </a:cxn>
                <a:cxn ang="0">
                  <a:pos x="340" y="624"/>
                </a:cxn>
                <a:cxn ang="0">
                  <a:pos x="300" y="610"/>
                </a:cxn>
                <a:cxn ang="0">
                  <a:pos x="296" y="593"/>
                </a:cxn>
                <a:cxn ang="0">
                  <a:pos x="253" y="588"/>
                </a:cxn>
                <a:cxn ang="0">
                  <a:pos x="224" y="578"/>
                </a:cxn>
                <a:cxn ang="0">
                  <a:pos x="170" y="573"/>
                </a:cxn>
                <a:cxn ang="0">
                  <a:pos x="165" y="550"/>
                </a:cxn>
                <a:cxn ang="0">
                  <a:pos x="106" y="550"/>
                </a:cxn>
                <a:cxn ang="0">
                  <a:pos x="98" y="502"/>
                </a:cxn>
                <a:cxn ang="0">
                  <a:pos x="27" y="491"/>
                </a:cxn>
                <a:cxn ang="0">
                  <a:pos x="3" y="467"/>
                </a:cxn>
                <a:cxn ang="0">
                  <a:pos x="0" y="412"/>
                </a:cxn>
                <a:cxn ang="0">
                  <a:pos x="11" y="104"/>
                </a:cxn>
                <a:cxn ang="0">
                  <a:pos x="55" y="83"/>
                </a:cxn>
                <a:cxn ang="0">
                  <a:pos x="79" y="77"/>
                </a:cxn>
                <a:cxn ang="0">
                  <a:pos x="86" y="4"/>
                </a:cxn>
              </a:cxnLst>
              <a:rect l="0" t="0" r="r" b="b"/>
              <a:pathLst>
                <a:path w="695" h="832">
                  <a:moveTo>
                    <a:pt x="86" y="4"/>
                  </a:moveTo>
                  <a:lnTo>
                    <a:pt x="124" y="28"/>
                  </a:lnTo>
                  <a:lnTo>
                    <a:pt x="152" y="31"/>
                  </a:lnTo>
                  <a:lnTo>
                    <a:pt x="254" y="48"/>
                  </a:lnTo>
                  <a:lnTo>
                    <a:pt x="268" y="87"/>
                  </a:lnTo>
                  <a:lnTo>
                    <a:pt x="341" y="97"/>
                  </a:lnTo>
                  <a:lnTo>
                    <a:pt x="344" y="121"/>
                  </a:lnTo>
                  <a:lnTo>
                    <a:pt x="408" y="136"/>
                  </a:lnTo>
                  <a:lnTo>
                    <a:pt x="448" y="151"/>
                  </a:lnTo>
                  <a:lnTo>
                    <a:pt x="460" y="128"/>
                  </a:lnTo>
                  <a:lnTo>
                    <a:pt x="460" y="63"/>
                  </a:lnTo>
                  <a:lnTo>
                    <a:pt x="480" y="44"/>
                  </a:lnTo>
                  <a:lnTo>
                    <a:pt x="499" y="16"/>
                  </a:lnTo>
                  <a:lnTo>
                    <a:pt x="517" y="0"/>
                  </a:lnTo>
                  <a:lnTo>
                    <a:pt x="563" y="2"/>
                  </a:lnTo>
                  <a:lnTo>
                    <a:pt x="591" y="30"/>
                  </a:lnTo>
                  <a:lnTo>
                    <a:pt x="615" y="51"/>
                  </a:lnTo>
                  <a:lnTo>
                    <a:pt x="656" y="49"/>
                  </a:lnTo>
                  <a:lnTo>
                    <a:pt x="695" y="63"/>
                  </a:lnTo>
                  <a:lnTo>
                    <a:pt x="691" y="109"/>
                  </a:lnTo>
                  <a:lnTo>
                    <a:pt x="694" y="662"/>
                  </a:lnTo>
                  <a:lnTo>
                    <a:pt x="689" y="741"/>
                  </a:lnTo>
                  <a:lnTo>
                    <a:pt x="658" y="750"/>
                  </a:lnTo>
                  <a:lnTo>
                    <a:pt x="666" y="832"/>
                  </a:lnTo>
                  <a:lnTo>
                    <a:pt x="634" y="829"/>
                  </a:lnTo>
                  <a:lnTo>
                    <a:pt x="560" y="768"/>
                  </a:lnTo>
                  <a:lnTo>
                    <a:pt x="527" y="751"/>
                  </a:lnTo>
                  <a:lnTo>
                    <a:pt x="458" y="717"/>
                  </a:lnTo>
                  <a:lnTo>
                    <a:pt x="434" y="676"/>
                  </a:lnTo>
                  <a:lnTo>
                    <a:pt x="355" y="664"/>
                  </a:lnTo>
                  <a:lnTo>
                    <a:pt x="340" y="624"/>
                  </a:lnTo>
                  <a:lnTo>
                    <a:pt x="300" y="610"/>
                  </a:lnTo>
                  <a:lnTo>
                    <a:pt x="296" y="593"/>
                  </a:lnTo>
                  <a:lnTo>
                    <a:pt x="253" y="588"/>
                  </a:lnTo>
                  <a:lnTo>
                    <a:pt x="224" y="578"/>
                  </a:lnTo>
                  <a:lnTo>
                    <a:pt x="170" y="573"/>
                  </a:lnTo>
                  <a:lnTo>
                    <a:pt x="165" y="550"/>
                  </a:lnTo>
                  <a:lnTo>
                    <a:pt x="106" y="550"/>
                  </a:lnTo>
                  <a:lnTo>
                    <a:pt x="98" y="502"/>
                  </a:lnTo>
                  <a:lnTo>
                    <a:pt x="27" y="491"/>
                  </a:lnTo>
                  <a:lnTo>
                    <a:pt x="3" y="467"/>
                  </a:lnTo>
                  <a:lnTo>
                    <a:pt x="0" y="412"/>
                  </a:lnTo>
                  <a:lnTo>
                    <a:pt x="11" y="104"/>
                  </a:lnTo>
                  <a:lnTo>
                    <a:pt x="55" y="83"/>
                  </a:lnTo>
                  <a:lnTo>
                    <a:pt x="79" y="77"/>
                  </a:lnTo>
                  <a:lnTo>
                    <a:pt x="86" y="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6" name="Freeform 175"/>
            <p:cNvSpPr>
              <a:spLocks noChangeAspect="1"/>
            </p:cNvSpPr>
            <p:nvPr/>
          </p:nvSpPr>
          <p:spPr bwMode="auto">
            <a:xfrm>
              <a:off x="978921" y="3369565"/>
              <a:ext cx="407911" cy="491665"/>
            </a:xfrm>
            <a:custGeom>
              <a:avLst/>
              <a:gdLst/>
              <a:ahLst/>
              <a:cxnLst>
                <a:cxn ang="0">
                  <a:pos x="86" y="4"/>
                </a:cxn>
                <a:cxn ang="0">
                  <a:pos x="124" y="28"/>
                </a:cxn>
                <a:cxn ang="0">
                  <a:pos x="152" y="31"/>
                </a:cxn>
                <a:cxn ang="0">
                  <a:pos x="254" y="48"/>
                </a:cxn>
                <a:cxn ang="0">
                  <a:pos x="268" y="87"/>
                </a:cxn>
                <a:cxn ang="0">
                  <a:pos x="341" y="97"/>
                </a:cxn>
                <a:cxn ang="0">
                  <a:pos x="344" y="121"/>
                </a:cxn>
                <a:cxn ang="0">
                  <a:pos x="408" y="136"/>
                </a:cxn>
                <a:cxn ang="0">
                  <a:pos x="448" y="151"/>
                </a:cxn>
                <a:cxn ang="0">
                  <a:pos x="460" y="128"/>
                </a:cxn>
                <a:cxn ang="0">
                  <a:pos x="460" y="63"/>
                </a:cxn>
                <a:cxn ang="0">
                  <a:pos x="480" y="44"/>
                </a:cxn>
                <a:cxn ang="0">
                  <a:pos x="499" y="16"/>
                </a:cxn>
                <a:cxn ang="0">
                  <a:pos x="517" y="0"/>
                </a:cxn>
                <a:cxn ang="0">
                  <a:pos x="563" y="2"/>
                </a:cxn>
                <a:cxn ang="0">
                  <a:pos x="591" y="30"/>
                </a:cxn>
                <a:cxn ang="0">
                  <a:pos x="615" y="51"/>
                </a:cxn>
                <a:cxn ang="0">
                  <a:pos x="656" y="49"/>
                </a:cxn>
                <a:cxn ang="0">
                  <a:pos x="695" y="63"/>
                </a:cxn>
                <a:cxn ang="0">
                  <a:pos x="691" y="109"/>
                </a:cxn>
                <a:cxn ang="0">
                  <a:pos x="694" y="662"/>
                </a:cxn>
                <a:cxn ang="0">
                  <a:pos x="689" y="741"/>
                </a:cxn>
                <a:cxn ang="0">
                  <a:pos x="658" y="750"/>
                </a:cxn>
                <a:cxn ang="0">
                  <a:pos x="666" y="832"/>
                </a:cxn>
                <a:cxn ang="0">
                  <a:pos x="634" y="829"/>
                </a:cxn>
                <a:cxn ang="0">
                  <a:pos x="560" y="768"/>
                </a:cxn>
                <a:cxn ang="0">
                  <a:pos x="527" y="751"/>
                </a:cxn>
                <a:cxn ang="0">
                  <a:pos x="458" y="717"/>
                </a:cxn>
                <a:cxn ang="0">
                  <a:pos x="434" y="676"/>
                </a:cxn>
                <a:cxn ang="0">
                  <a:pos x="355" y="664"/>
                </a:cxn>
                <a:cxn ang="0">
                  <a:pos x="340" y="624"/>
                </a:cxn>
                <a:cxn ang="0">
                  <a:pos x="300" y="610"/>
                </a:cxn>
                <a:cxn ang="0">
                  <a:pos x="296" y="593"/>
                </a:cxn>
                <a:cxn ang="0">
                  <a:pos x="253" y="588"/>
                </a:cxn>
                <a:cxn ang="0">
                  <a:pos x="224" y="578"/>
                </a:cxn>
                <a:cxn ang="0">
                  <a:pos x="170" y="573"/>
                </a:cxn>
                <a:cxn ang="0">
                  <a:pos x="165" y="550"/>
                </a:cxn>
                <a:cxn ang="0">
                  <a:pos x="106" y="550"/>
                </a:cxn>
                <a:cxn ang="0">
                  <a:pos x="98" y="502"/>
                </a:cxn>
                <a:cxn ang="0">
                  <a:pos x="27" y="491"/>
                </a:cxn>
                <a:cxn ang="0">
                  <a:pos x="3" y="467"/>
                </a:cxn>
                <a:cxn ang="0">
                  <a:pos x="0" y="412"/>
                </a:cxn>
                <a:cxn ang="0">
                  <a:pos x="11" y="104"/>
                </a:cxn>
                <a:cxn ang="0">
                  <a:pos x="55" y="83"/>
                </a:cxn>
                <a:cxn ang="0">
                  <a:pos x="79" y="77"/>
                </a:cxn>
                <a:cxn ang="0">
                  <a:pos x="86" y="4"/>
                </a:cxn>
              </a:cxnLst>
              <a:rect l="0" t="0" r="r" b="b"/>
              <a:pathLst>
                <a:path w="695" h="832">
                  <a:moveTo>
                    <a:pt x="86" y="4"/>
                  </a:moveTo>
                  <a:lnTo>
                    <a:pt x="124" y="28"/>
                  </a:lnTo>
                  <a:lnTo>
                    <a:pt x="152" y="31"/>
                  </a:lnTo>
                  <a:lnTo>
                    <a:pt x="254" y="48"/>
                  </a:lnTo>
                  <a:lnTo>
                    <a:pt x="268" y="87"/>
                  </a:lnTo>
                  <a:lnTo>
                    <a:pt x="341" y="97"/>
                  </a:lnTo>
                  <a:lnTo>
                    <a:pt x="344" y="121"/>
                  </a:lnTo>
                  <a:lnTo>
                    <a:pt x="408" y="136"/>
                  </a:lnTo>
                  <a:lnTo>
                    <a:pt x="448" y="151"/>
                  </a:lnTo>
                  <a:lnTo>
                    <a:pt x="460" y="128"/>
                  </a:lnTo>
                  <a:lnTo>
                    <a:pt x="460" y="63"/>
                  </a:lnTo>
                  <a:lnTo>
                    <a:pt x="480" y="44"/>
                  </a:lnTo>
                  <a:lnTo>
                    <a:pt x="499" y="16"/>
                  </a:lnTo>
                  <a:lnTo>
                    <a:pt x="517" y="0"/>
                  </a:lnTo>
                  <a:lnTo>
                    <a:pt x="563" y="2"/>
                  </a:lnTo>
                  <a:lnTo>
                    <a:pt x="591" y="30"/>
                  </a:lnTo>
                  <a:lnTo>
                    <a:pt x="615" y="51"/>
                  </a:lnTo>
                  <a:lnTo>
                    <a:pt x="656" y="49"/>
                  </a:lnTo>
                  <a:lnTo>
                    <a:pt x="695" y="63"/>
                  </a:lnTo>
                  <a:lnTo>
                    <a:pt x="691" y="109"/>
                  </a:lnTo>
                  <a:lnTo>
                    <a:pt x="694" y="662"/>
                  </a:lnTo>
                  <a:lnTo>
                    <a:pt x="689" y="741"/>
                  </a:lnTo>
                  <a:lnTo>
                    <a:pt x="658" y="750"/>
                  </a:lnTo>
                  <a:lnTo>
                    <a:pt x="666" y="832"/>
                  </a:lnTo>
                  <a:lnTo>
                    <a:pt x="634" y="829"/>
                  </a:lnTo>
                  <a:lnTo>
                    <a:pt x="560" y="768"/>
                  </a:lnTo>
                  <a:lnTo>
                    <a:pt x="527" y="751"/>
                  </a:lnTo>
                  <a:lnTo>
                    <a:pt x="458" y="717"/>
                  </a:lnTo>
                  <a:lnTo>
                    <a:pt x="434" y="676"/>
                  </a:lnTo>
                  <a:lnTo>
                    <a:pt x="355" y="664"/>
                  </a:lnTo>
                  <a:lnTo>
                    <a:pt x="340" y="624"/>
                  </a:lnTo>
                  <a:lnTo>
                    <a:pt x="300" y="610"/>
                  </a:lnTo>
                  <a:lnTo>
                    <a:pt x="296" y="593"/>
                  </a:lnTo>
                  <a:lnTo>
                    <a:pt x="253" y="588"/>
                  </a:lnTo>
                  <a:lnTo>
                    <a:pt x="224" y="578"/>
                  </a:lnTo>
                  <a:lnTo>
                    <a:pt x="170" y="573"/>
                  </a:lnTo>
                  <a:lnTo>
                    <a:pt x="165" y="550"/>
                  </a:lnTo>
                  <a:lnTo>
                    <a:pt x="106" y="550"/>
                  </a:lnTo>
                  <a:lnTo>
                    <a:pt x="98" y="502"/>
                  </a:lnTo>
                  <a:lnTo>
                    <a:pt x="27" y="491"/>
                  </a:lnTo>
                  <a:lnTo>
                    <a:pt x="3" y="467"/>
                  </a:lnTo>
                  <a:lnTo>
                    <a:pt x="0" y="412"/>
                  </a:lnTo>
                  <a:lnTo>
                    <a:pt x="11" y="104"/>
                  </a:lnTo>
                  <a:lnTo>
                    <a:pt x="55" y="83"/>
                  </a:lnTo>
                  <a:lnTo>
                    <a:pt x="79" y="77"/>
                  </a:lnTo>
                  <a:lnTo>
                    <a:pt x="86" y="4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7" name="Freeform 176"/>
            <p:cNvSpPr>
              <a:spLocks noChangeAspect="1"/>
            </p:cNvSpPr>
            <p:nvPr/>
          </p:nvSpPr>
          <p:spPr bwMode="auto">
            <a:xfrm>
              <a:off x="1304195" y="3713910"/>
              <a:ext cx="404394" cy="598163"/>
            </a:xfrm>
            <a:custGeom>
              <a:avLst/>
              <a:gdLst/>
              <a:ahLst/>
              <a:cxnLst>
                <a:cxn ang="0">
                  <a:pos x="106" y="384"/>
                </a:cxn>
                <a:cxn ang="0">
                  <a:pos x="50" y="444"/>
                </a:cxn>
                <a:cxn ang="0">
                  <a:pos x="5" y="494"/>
                </a:cxn>
                <a:cxn ang="0">
                  <a:pos x="33" y="537"/>
                </a:cxn>
                <a:cxn ang="0">
                  <a:pos x="61" y="583"/>
                </a:cxn>
                <a:cxn ang="0">
                  <a:pos x="54" y="621"/>
                </a:cxn>
                <a:cxn ang="0">
                  <a:pos x="97" y="699"/>
                </a:cxn>
                <a:cxn ang="0">
                  <a:pos x="113" y="749"/>
                </a:cxn>
                <a:cxn ang="0">
                  <a:pos x="148" y="769"/>
                </a:cxn>
                <a:cxn ang="0">
                  <a:pos x="202" y="820"/>
                </a:cxn>
                <a:cxn ang="0">
                  <a:pos x="236" y="881"/>
                </a:cxn>
                <a:cxn ang="0">
                  <a:pos x="254" y="912"/>
                </a:cxn>
                <a:cxn ang="0">
                  <a:pos x="267" y="960"/>
                </a:cxn>
                <a:cxn ang="0">
                  <a:pos x="388" y="992"/>
                </a:cxn>
                <a:cxn ang="0">
                  <a:pos x="419" y="1008"/>
                </a:cxn>
                <a:cxn ang="0">
                  <a:pos x="512" y="1010"/>
                </a:cxn>
                <a:cxn ang="0">
                  <a:pos x="625" y="945"/>
                </a:cxn>
                <a:cxn ang="0">
                  <a:pos x="607" y="881"/>
                </a:cxn>
                <a:cxn ang="0">
                  <a:pos x="570" y="852"/>
                </a:cxn>
                <a:cxn ang="0">
                  <a:pos x="543" y="811"/>
                </a:cxn>
                <a:cxn ang="0">
                  <a:pos x="565" y="761"/>
                </a:cxn>
                <a:cxn ang="0">
                  <a:pos x="615" y="656"/>
                </a:cxn>
                <a:cxn ang="0">
                  <a:pos x="680" y="542"/>
                </a:cxn>
                <a:cxn ang="0">
                  <a:pos x="642" y="409"/>
                </a:cxn>
                <a:cxn ang="0">
                  <a:pos x="685" y="375"/>
                </a:cxn>
                <a:cxn ang="0">
                  <a:pos x="664" y="292"/>
                </a:cxn>
                <a:cxn ang="0">
                  <a:pos x="691" y="147"/>
                </a:cxn>
                <a:cxn ang="0">
                  <a:pos x="664" y="47"/>
                </a:cxn>
                <a:cxn ang="0">
                  <a:pos x="526" y="64"/>
                </a:cxn>
                <a:cxn ang="0">
                  <a:pos x="202" y="40"/>
                </a:cxn>
                <a:cxn ang="0">
                  <a:pos x="139" y="79"/>
                </a:cxn>
                <a:cxn ang="0">
                  <a:pos x="103" y="167"/>
                </a:cxn>
              </a:cxnLst>
              <a:rect l="0" t="0" r="r" b="b"/>
              <a:pathLst>
                <a:path w="691" h="1010">
                  <a:moveTo>
                    <a:pt x="111" y="249"/>
                  </a:moveTo>
                  <a:lnTo>
                    <a:pt x="106" y="384"/>
                  </a:lnTo>
                  <a:lnTo>
                    <a:pt x="77" y="394"/>
                  </a:lnTo>
                  <a:lnTo>
                    <a:pt x="50" y="444"/>
                  </a:lnTo>
                  <a:lnTo>
                    <a:pt x="37" y="492"/>
                  </a:lnTo>
                  <a:lnTo>
                    <a:pt x="5" y="494"/>
                  </a:lnTo>
                  <a:lnTo>
                    <a:pt x="0" y="523"/>
                  </a:lnTo>
                  <a:lnTo>
                    <a:pt x="33" y="537"/>
                  </a:lnTo>
                  <a:lnTo>
                    <a:pt x="41" y="573"/>
                  </a:lnTo>
                  <a:lnTo>
                    <a:pt x="61" y="583"/>
                  </a:lnTo>
                  <a:lnTo>
                    <a:pt x="64" y="605"/>
                  </a:lnTo>
                  <a:lnTo>
                    <a:pt x="54" y="621"/>
                  </a:lnTo>
                  <a:lnTo>
                    <a:pt x="75" y="654"/>
                  </a:lnTo>
                  <a:lnTo>
                    <a:pt x="97" y="699"/>
                  </a:lnTo>
                  <a:lnTo>
                    <a:pt x="92" y="739"/>
                  </a:lnTo>
                  <a:lnTo>
                    <a:pt x="113" y="749"/>
                  </a:lnTo>
                  <a:lnTo>
                    <a:pt x="116" y="774"/>
                  </a:lnTo>
                  <a:lnTo>
                    <a:pt x="148" y="769"/>
                  </a:lnTo>
                  <a:lnTo>
                    <a:pt x="160" y="812"/>
                  </a:lnTo>
                  <a:lnTo>
                    <a:pt x="202" y="820"/>
                  </a:lnTo>
                  <a:lnTo>
                    <a:pt x="209" y="871"/>
                  </a:lnTo>
                  <a:lnTo>
                    <a:pt x="236" y="881"/>
                  </a:lnTo>
                  <a:lnTo>
                    <a:pt x="247" y="899"/>
                  </a:lnTo>
                  <a:lnTo>
                    <a:pt x="254" y="912"/>
                  </a:lnTo>
                  <a:lnTo>
                    <a:pt x="249" y="935"/>
                  </a:lnTo>
                  <a:lnTo>
                    <a:pt x="267" y="960"/>
                  </a:lnTo>
                  <a:lnTo>
                    <a:pt x="371" y="969"/>
                  </a:lnTo>
                  <a:lnTo>
                    <a:pt x="388" y="992"/>
                  </a:lnTo>
                  <a:lnTo>
                    <a:pt x="416" y="1000"/>
                  </a:lnTo>
                  <a:lnTo>
                    <a:pt x="419" y="1008"/>
                  </a:lnTo>
                  <a:lnTo>
                    <a:pt x="467" y="1008"/>
                  </a:lnTo>
                  <a:lnTo>
                    <a:pt x="512" y="1010"/>
                  </a:lnTo>
                  <a:lnTo>
                    <a:pt x="565" y="993"/>
                  </a:lnTo>
                  <a:lnTo>
                    <a:pt x="625" y="945"/>
                  </a:lnTo>
                  <a:lnTo>
                    <a:pt x="629" y="918"/>
                  </a:lnTo>
                  <a:lnTo>
                    <a:pt x="607" y="881"/>
                  </a:lnTo>
                  <a:lnTo>
                    <a:pt x="591" y="870"/>
                  </a:lnTo>
                  <a:lnTo>
                    <a:pt x="570" y="852"/>
                  </a:lnTo>
                  <a:lnTo>
                    <a:pt x="567" y="816"/>
                  </a:lnTo>
                  <a:lnTo>
                    <a:pt x="543" y="811"/>
                  </a:lnTo>
                  <a:lnTo>
                    <a:pt x="518" y="764"/>
                  </a:lnTo>
                  <a:lnTo>
                    <a:pt x="565" y="761"/>
                  </a:lnTo>
                  <a:lnTo>
                    <a:pt x="577" y="658"/>
                  </a:lnTo>
                  <a:lnTo>
                    <a:pt x="615" y="656"/>
                  </a:lnTo>
                  <a:lnTo>
                    <a:pt x="622" y="551"/>
                  </a:lnTo>
                  <a:lnTo>
                    <a:pt x="680" y="542"/>
                  </a:lnTo>
                  <a:lnTo>
                    <a:pt x="674" y="416"/>
                  </a:lnTo>
                  <a:lnTo>
                    <a:pt x="642" y="409"/>
                  </a:lnTo>
                  <a:lnTo>
                    <a:pt x="644" y="374"/>
                  </a:lnTo>
                  <a:lnTo>
                    <a:pt x="685" y="375"/>
                  </a:lnTo>
                  <a:lnTo>
                    <a:pt x="681" y="337"/>
                  </a:lnTo>
                  <a:lnTo>
                    <a:pt x="664" y="292"/>
                  </a:lnTo>
                  <a:lnTo>
                    <a:pt x="660" y="233"/>
                  </a:lnTo>
                  <a:lnTo>
                    <a:pt x="691" y="147"/>
                  </a:lnTo>
                  <a:lnTo>
                    <a:pt x="688" y="103"/>
                  </a:lnTo>
                  <a:lnTo>
                    <a:pt x="664" y="47"/>
                  </a:lnTo>
                  <a:lnTo>
                    <a:pt x="605" y="0"/>
                  </a:lnTo>
                  <a:lnTo>
                    <a:pt x="526" y="64"/>
                  </a:lnTo>
                  <a:lnTo>
                    <a:pt x="498" y="40"/>
                  </a:lnTo>
                  <a:lnTo>
                    <a:pt x="202" y="40"/>
                  </a:lnTo>
                  <a:lnTo>
                    <a:pt x="167" y="64"/>
                  </a:lnTo>
                  <a:lnTo>
                    <a:pt x="139" y="79"/>
                  </a:lnTo>
                  <a:lnTo>
                    <a:pt x="134" y="158"/>
                  </a:lnTo>
                  <a:lnTo>
                    <a:pt x="103" y="167"/>
                  </a:lnTo>
                  <a:lnTo>
                    <a:pt x="111" y="24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8" name="Freeform 177"/>
            <p:cNvSpPr>
              <a:spLocks noChangeAspect="1"/>
            </p:cNvSpPr>
            <p:nvPr/>
          </p:nvSpPr>
          <p:spPr bwMode="auto">
            <a:xfrm>
              <a:off x="3069463" y="3536412"/>
              <a:ext cx="73846" cy="42599"/>
            </a:xfrm>
            <a:custGeom>
              <a:avLst/>
              <a:gdLst/>
              <a:ahLst/>
              <a:cxnLst>
                <a:cxn ang="0">
                  <a:pos x="111" y="71"/>
                </a:cxn>
                <a:cxn ang="0">
                  <a:pos x="58" y="67"/>
                </a:cxn>
                <a:cxn ang="0">
                  <a:pos x="17" y="52"/>
                </a:cxn>
                <a:cxn ang="0">
                  <a:pos x="0" y="0"/>
                </a:cxn>
                <a:cxn ang="0">
                  <a:pos x="51" y="24"/>
                </a:cxn>
                <a:cxn ang="0">
                  <a:pos x="126" y="23"/>
                </a:cxn>
                <a:cxn ang="0">
                  <a:pos x="111" y="71"/>
                </a:cxn>
              </a:cxnLst>
              <a:rect l="0" t="0" r="r" b="b"/>
              <a:pathLst>
                <a:path w="126" h="71">
                  <a:moveTo>
                    <a:pt x="111" y="71"/>
                  </a:moveTo>
                  <a:lnTo>
                    <a:pt x="58" y="67"/>
                  </a:lnTo>
                  <a:lnTo>
                    <a:pt x="17" y="52"/>
                  </a:lnTo>
                  <a:lnTo>
                    <a:pt x="0" y="0"/>
                  </a:lnTo>
                  <a:lnTo>
                    <a:pt x="51" y="24"/>
                  </a:lnTo>
                  <a:lnTo>
                    <a:pt x="126" y="23"/>
                  </a:lnTo>
                  <a:lnTo>
                    <a:pt x="111" y="7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49" name="Freeform 178"/>
            <p:cNvSpPr>
              <a:spLocks noChangeAspect="1"/>
            </p:cNvSpPr>
            <p:nvPr/>
          </p:nvSpPr>
          <p:spPr bwMode="auto">
            <a:xfrm>
              <a:off x="957823" y="4352897"/>
              <a:ext cx="170549" cy="202346"/>
            </a:xfrm>
            <a:custGeom>
              <a:avLst/>
              <a:gdLst/>
              <a:ahLst/>
              <a:cxnLst>
                <a:cxn ang="0">
                  <a:pos x="215" y="0"/>
                </a:cxn>
                <a:cxn ang="0">
                  <a:pos x="142" y="6"/>
                </a:cxn>
                <a:cxn ang="0">
                  <a:pos x="117" y="28"/>
                </a:cxn>
                <a:cxn ang="0">
                  <a:pos x="117" y="52"/>
                </a:cxn>
                <a:cxn ang="0">
                  <a:pos x="105" y="85"/>
                </a:cxn>
                <a:cxn ang="0">
                  <a:pos x="57" y="88"/>
                </a:cxn>
                <a:cxn ang="0">
                  <a:pos x="46" y="75"/>
                </a:cxn>
                <a:cxn ang="0">
                  <a:pos x="46" y="136"/>
                </a:cxn>
                <a:cxn ang="0">
                  <a:pos x="8" y="152"/>
                </a:cxn>
                <a:cxn ang="0">
                  <a:pos x="0" y="166"/>
                </a:cxn>
                <a:cxn ang="0">
                  <a:pos x="22" y="176"/>
                </a:cxn>
                <a:cxn ang="0">
                  <a:pos x="21" y="219"/>
                </a:cxn>
                <a:cxn ang="0">
                  <a:pos x="77" y="273"/>
                </a:cxn>
                <a:cxn ang="0">
                  <a:pos x="121" y="324"/>
                </a:cxn>
                <a:cxn ang="0">
                  <a:pos x="139" y="343"/>
                </a:cxn>
                <a:cxn ang="0">
                  <a:pos x="155" y="321"/>
                </a:cxn>
                <a:cxn ang="0">
                  <a:pos x="170" y="283"/>
                </a:cxn>
                <a:cxn ang="0">
                  <a:pos x="149" y="267"/>
                </a:cxn>
                <a:cxn ang="0">
                  <a:pos x="145" y="242"/>
                </a:cxn>
                <a:cxn ang="0">
                  <a:pos x="176" y="228"/>
                </a:cxn>
                <a:cxn ang="0">
                  <a:pos x="200" y="221"/>
                </a:cxn>
                <a:cxn ang="0">
                  <a:pos x="224" y="253"/>
                </a:cxn>
                <a:cxn ang="0">
                  <a:pos x="262" y="238"/>
                </a:cxn>
                <a:cxn ang="0">
                  <a:pos x="290" y="194"/>
                </a:cxn>
                <a:cxn ang="0">
                  <a:pos x="283" y="150"/>
                </a:cxn>
                <a:cxn ang="0">
                  <a:pos x="259" y="129"/>
                </a:cxn>
                <a:cxn ang="0">
                  <a:pos x="245" y="97"/>
                </a:cxn>
                <a:cxn ang="0">
                  <a:pos x="257" y="73"/>
                </a:cxn>
                <a:cxn ang="0">
                  <a:pos x="248" y="43"/>
                </a:cxn>
                <a:cxn ang="0">
                  <a:pos x="215" y="42"/>
                </a:cxn>
                <a:cxn ang="0">
                  <a:pos x="215" y="0"/>
                </a:cxn>
              </a:cxnLst>
              <a:rect l="0" t="0" r="r" b="b"/>
              <a:pathLst>
                <a:path w="290" h="343">
                  <a:moveTo>
                    <a:pt x="215" y="0"/>
                  </a:moveTo>
                  <a:lnTo>
                    <a:pt x="142" y="6"/>
                  </a:lnTo>
                  <a:lnTo>
                    <a:pt x="117" y="28"/>
                  </a:lnTo>
                  <a:lnTo>
                    <a:pt x="117" y="52"/>
                  </a:lnTo>
                  <a:lnTo>
                    <a:pt x="105" y="85"/>
                  </a:lnTo>
                  <a:lnTo>
                    <a:pt x="57" y="88"/>
                  </a:lnTo>
                  <a:lnTo>
                    <a:pt x="46" y="75"/>
                  </a:lnTo>
                  <a:lnTo>
                    <a:pt x="46" y="136"/>
                  </a:lnTo>
                  <a:lnTo>
                    <a:pt x="8" y="152"/>
                  </a:lnTo>
                  <a:lnTo>
                    <a:pt x="0" y="166"/>
                  </a:lnTo>
                  <a:lnTo>
                    <a:pt x="22" y="176"/>
                  </a:lnTo>
                  <a:lnTo>
                    <a:pt x="21" y="219"/>
                  </a:lnTo>
                  <a:lnTo>
                    <a:pt x="77" y="273"/>
                  </a:lnTo>
                  <a:lnTo>
                    <a:pt x="121" y="324"/>
                  </a:lnTo>
                  <a:lnTo>
                    <a:pt x="139" y="343"/>
                  </a:lnTo>
                  <a:lnTo>
                    <a:pt x="155" y="321"/>
                  </a:lnTo>
                  <a:lnTo>
                    <a:pt x="170" y="283"/>
                  </a:lnTo>
                  <a:lnTo>
                    <a:pt x="149" y="267"/>
                  </a:lnTo>
                  <a:lnTo>
                    <a:pt x="145" y="242"/>
                  </a:lnTo>
                  <a:lnTo>
                    <a:pt x="176" y="228"/>
                  </a:lnTo>
                  <a:lnTo>
                    <a:pt x="200" y="221"/>
                  </a:lnTo>
                  <a:lnTo>
                    <a:pt x="224" y="253"/>
                  </a:lnTo>
                  <a:lnTo>
                    <a:pt x="262" y="238"/>
                  </a:lnTo>
                  <a:lnTo>
                    <a:pt x="290" y="194"/>
                  </a:lnTo>
                  <a:lnTo>
                    <a:pt x="283" y="150"/>
                  </a:lnTo>
                  <a:lnTo>
                    <a:pt x="259" y="129"/>
                  </a:lnTo>
                  <a:lnTo>
                    <a:pt x="245" y="97"/>
                  </a:lnTo>
                  <a:lnTo>
                    <a:pt x="257" y="73"/>
                  </a:lnTo>
                  <a:lnTo>
                    <a:pt x="248" y="43"/>
                  </a:lnTo>
                  <a:lnTo>
                    <a:pt x="215" y="42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0" name="Freeform 179"/>
            <p:cNvSpPr>
              <a:spLocks noChangeAspect="1"/>
            </p:cNvSpPr>
            <p:nvPr/>
          </p:nvSpPr>
          <p:spPr bwMode="auto">
            <a:xfrm>
              <a:off x="1638260" y="3319868"/>
              <a:ext cx="38681" cy="60349"/>
            </a:xfrm>
            <a:custGeom>
              <a:avLst/>
              <a:gdLst/>
              <a:ahLst/>
              <a:cxnLst>
                <a:cxn ang="0">
                  <a:pos x="0" y="103"/>
                </a:cxn>
                <a:cxn ang="0">
                  <a:pos x="42" y="79"/>
                </a:cxn>
                <a:cxn ang="0">
                  <a:pos x="66" y="27"/>
                </a:cxn>
                <a:cxn ang="0">
                  <a:pos x="27" y="0"/>
                </a:cxn>
                <a:cxn ang="0">
                  <a:pos x="0" y="103"/>
                </a:cxn>
              </a:cxnLst>
              <a:rect l="0" t="0" r="r" b="b"/>
              <a:pathLst>
                <a:path w="66" h="103">
                  <a:moveTo>
                    <a:pt x="0" y="103"/>
                  </a:moveTo>
                  <a:lnTo>
                    <a:pt x="42" y="79"/>
                  </a:lnTo>
                  <a:lnTo>
                    <a:pt x="66" y="27"/>
                  </a:lnTo>
                  <a:lnTo>
                    <a:pt x="27" y="0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1" name="Freeform 180"/>
            <p:cNvSpPr>
              <a:spLocks noChangeAspect="1"/>
            </p:cNvSpPr>
            <p:nvPr/>
          </p:nvSpPr>
          <p:spPr bwMode="auto">
            <a:xfrm>
              <a:off x="7067052" y="4102297"/>
              <a:ext cx="158241" cy="92298"/>
            </a:xfrm>
            <a:custGeom>
              <a:avLst/>
              <a:gdLst/>
              <a:ahLst/>
              <a:cxnLst>
                <a:cxn ang="0">
                  <a:pos x="39" y="15"/>
                </a:cxn>
                <a:cxn ang="0">
                  <a:pos x="0" y="35"/>
                </a:cxn>
                <a:cxn ang="0">
                  <a:pos x="4" y="87"/>
                </a:cxn>
                <a:cxn ang="0">
                  <a:pos x="95" y="98"/>
                </a:cxn>
                <a:cxn ang="0">
                  <a:pos x="130" y="130"/>
                </a:cxn>
                <a:cxn ang="0">
                  <a:pos x="170" y="111"/>
                </a:cxn>
                <a:cxn ang="0">
                  <a:pos x="154" y="71"/>
                </a:cxn>
                <a:cxn ang="0">
                  <a:pos x="198" y="67"/>
                </a:cxn>
                <a:cxn ang="0">
                  <a:pos x="241" y="122"/>
                </a:cxn>
                <a:cxn ang="0">
                  <a:pos x="260" y="157"/>
                </a:cxn>
                <a:cxn ang="0">
                  <a:pos x="269" y="56"/>
                </a:cxn>
                <a:cxn ang="0">
                  <a:pos x="214" y="15"/>
                </a:cxn>
                <a:cxn ang="0">
                  <a:pos x="162" y="0"/>
                </a:cxn>
                <a:cxn ang="0">
                  <a:pos x="126" y="35"/>
                </a:cxn>
                <a:cxn ang="0">
                  <a:pos x="39" y="15"/>
                </a:cxn>
              </a:cxnLst>
              <a:rect l="0" t="0" r="r" b="b"/>
              <a:pathLst>
                <a:path w="269" h="157">
                  <a:moveTo>
                    <a:pt x="39" y="15"/>
                  </a:moveTo>
                  <a:lnTo>
                    <a:pt x="0" y="35"/>
                  </a:lnTo>
                  <a:lnTo>
                    <a:pt x="4" y="87"/>
                  </a:lnTo>
                  <a:lnTo>
                    <a:pt x="95" y="98"/>
                  </a:lnTo>
                  <a:lnTo>
                    <a:pt x="130" y="130"/>
                  </a:lnTo>
                  <a:lnTo>
                    <a:pt x="170" y="111"/>
                  </a:lnTo>
                  <a:lnTo>
                    <a:pt x="154" y="71"/>
                  </a:lnTo>
                  <a:lnTo>
                    <a:pt x="198" y="67"/>
                  </a:lnTo>
                  <a:lnTo>
                    <a:pt x="241" y="122"/>
                  </a:lnTo>
                  <a:lnTo>
                    <a:pt x="260" y="157"/>
                  </a:lnTo>
                  <a:lnTo>
                    <a:pt x="269" y="56"/>
                  </a:lnTo>
                  <a:lnTo>
                    <a:pt x="214" y="15"/>
                  </a:lnTo>
                  <a:lnTo>
                    <a:pt x="162" y="0"/>
                  </a:lnTo>
                  <a:lnTo>
                    <a:pt x="126" y="35"/>
                  </a:lnTo>
                  <a:lnTo>
                    <a:pt x="39" y="1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2" name="Freeform 181"/>
            <p:cNvSpPr>
              <a:spLocks noChangeAspect="1"/>
            </p:cNvSpPr>
            <p:nvPr/>
          </p:nvSpPr>
          <p:spPr bwMode="auto">
            <a:xfrm>
              <a:off x="7126833" y="4368543"/>
              <a:ext cx="203955" cy="188146"/>
            </a:xfrm>
            <a:custGeom>
              <a:avLst/>
              <a:gdLst/>
              <a:ahLst/>
              <a:cxnLst>
                <a:cxn ang="0">
                  <a:pos x="348" y="151"/>
                </a:cxn>
                <a:cxn ang="0">
                  <a:pos x="309" y="99"/>
                </a:cxn>
                <a:cxn ang="0">
                  <a:pos x="261" y="68"/>
                </a:cxn>
                <a:cxn ang="0">
                  <a:pos x="226" y="36"/>
                </a:cxn>
                <a:cxn ang="0">
                  <a:pos x="151" y="40"/>
                </a:cxn>
                <a:cxn ang="0">
                  <a:pos x="84" y="0"/>
                </a:cxn>
                <a:cxn ang="0">
                  <a:pos x="44" y="20"/>
                </a:cxn>
                <a:cxn ang="0">
                  <a:pos x="37" y="75"/>
                </a:cxn>
                <a:cxn ang="0">
                  <a:pos x="16" y="103"/>
                </a:cxn>
                <a:cxn ang="0">
                  <a:pos x="0" y="139"/>
                </a:cxn>
                <a:cxn ang="0">
                  <a:pos x="16" y="174"/>
                </a:cxn>
                <a:cxn ang="0">
                  <a:pos x="44" y="202"/>
                </a:cxn>
                <a:cxn ang="0">
                  <a:pos x="52" y="237"/>
                </a:cxn>
                <a:cxn ang="0">
                  <a:pos x="52" y="285"/>
                </a:cxn>
                <a:cxn ang="0">
                  <a:pos x="83" y="320"/>
                </a:cxn>
                <a:cxn ang="0">
                  <a:pos x="131" y="285"/>
                </a:cxn>
                <a:cxn ang="0">
                  <a:pos x="193" y="241"/>
                </a:cxn>
                <a:cxn ang="0">
                  <a:pos x="324" y="182"/>
                </a:cxn>
                <a:cxn ang="0">
                  <a:pos x="348" y="151"/>
                </a:cxn>
              </a:cxnLst>
              <a:rect l="0" t="0" r="r" b="b"/>
              <a:pathLst>
                <a:path w="348" h="320">
                  <a:moveTo>
                    <a:pt x="348" y="151"/>
                  </a:moveTo>
                  <a:lnTo>
                    <a:pt x="309" y="99"/>
                  </a:lnTo>
                  <a:lnTo>
                    <a:pt x="261" y="68"/>
                  </a:lnTo>
                  <a:lnTo>
                    <a:pt x="226" y="36"/>
                  </a:lnTo>
                  <a:lnTo>
                    <a:pt x="151" y="40"/>
                  </a:lnTo>
                  <a:lnTo>
                    <a:pt x="84" y="0"/>
                  </a:lnTo>
                  <a:lnTo>
                    <a:pt x="44" y="20"/>
                  </a:lnTo>
                  <a:lnTo>
                    <a:pt x="37" y="75"/>
                  </a:lnTo>
                  <a:lnTo>
                    <a:pt x="16" y="103"/>
                  </a:lnTo>
                  <a:lnTo>
                    <a:pt x="0" y="139"/>
                  </a:lnTo>
                  <a:lnTo>
                    <a:pt x="16" y="174"/>
                  </a:lnTo>
                  <a:lnTo>
                    <a:pt x="44" y="202"/>
                  </a:lnTo>
                  <a:lnTo>
                    <a:pt x="52" y="237"/>
                  </a:lnTo>
                  <a:lnTo>
                    <a:pt x="52" y="285"/>
                  </a:lnTo>
                  <a:lnTo>
                    <a:pt x="83" y="320"/>
                  </a:lnTo>
                  <a:lnTo>
                    <a:pt x="131" y="285"/>
                  </a:lnTo>
                  <a:lnTo>
                    <a:pt x="193" y="241"/>
                  </a:lnTo>
                  <a:lnTo>
                    <a:pt x="324" y="182"/>
                  </a:lnTo>
                  <a:lnTo>
                    <a:pt x="348" y="15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3" name="Freeform 182"/>
            <p:cNvSpPr>
              <a:spLocks noChangeAspect="1"/>
            </p:cNvSpPr>
            <p:nvPr/>
          </p:nvSpPr>
          <p:spPr bwMode="auto">
            <a:xfrm>
              <a:off x="7656061" y="4136022"/>
              <a:ext cx="116043" cy="232520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55" y="46"/>
                </a:cxn>
                <a:cxn ang="0">
                  <a:pos x="37" y="66"/>
                </a:cxn>
                <a:cxn ang="0">
                  <a:pos x="27" y="90"/>
                </a:cxn>
                <a:cxn ang="0">
                  <a:pos x="2" y="115"/>
                </a:cxn>
                <a:cxn ang="0">
                  <a:pos x="0" y="160"/>
                </a:cxn>
                <a:cxn ang="0">
                  <a:pos x="20" y="187"/>
                </a:cxn>
                <a:cxn ang="0">
                  <a:pos x="21" y="219"/>
                </a:cxn>
                <a:cxn ang="0">
                  <a:pos x="59" y="233"/>
                </a:cxn>
                <a:cxn ang="0">
                  <a:pos x="67" y="284"/>
                </a:cxn>
                <a:cxn ang="0">
                  <a:pos x="55" y="321"/>
                </a:cxn>
                <a:cxn ang="0">
                  <a:pos x="76" y="366"/>
                </a:cxn>
                <a:cxn ang="0">
                  <a:pos x="99" y="391"/>
                </a:cxn>
                <a:cxn ang="0">
                  <a:pos x="130" y="390"/>
                </a:cxn>
                <a:cxn ang="0">
                  <a:pos x="141" y="370"/>
                </a:cxn>
                <a:cxn ang="0">
                  <a:pos x="179" y="367"/>
                </a:cxn>
                <a:cxn ang="0">
                  <a:pos x="189" y="344"/>
                </a:cxn>
                <a:cxn ang="0">
                  <a:pos x="185" y="298"/>
                </a:cxn>
                <a:cxn ang="0">
                  <a:pos x="160" y="283"/>
                </a:cxn>
                <a:cxn ang="0">
                  <a:pos x="141" y="263"/>
                </a:cxn>
                <a:cxn ang="0">
                  <a:pos x="140" y="221"/>
                </a:cxn>
                <a:cxn ang="0">
                  <a:pos x="162" y="208"/>
                </a:cxn>
                <a:cxn ang="0">
                  <a:pos x="195" y="210"/>
                </a:cxn>
                <a:cxn ang="0">
                  <a:pos x="199" y="162"/>
                </a:cxn>
                <a:cxn ang="0">
                  <a:pos x="193" y="112"/>
                </a:cxn>
                <a:cxn ang="0">
                  <a:pos x="174" y="97"/>
                </a:cxn>
                <a:cxn ang="0">
                  <a:pos x="136" y="93"/>
                </a:cxn>
                <a:cxn ang="0">
                  <a:pos x="130" y="49"/>
                </a:cxn>
                <a:cxn ang="0">
                  <a:pos x="104" y="46"/>
                </a:cxn>
                <a:cxn ang="0">
                  <a:pos x="89" y="5"/>
                </a:cxn>
                <a:cxn ang="0">
                  <a:pos x="54" y="0"/>
                </a:cxn>
              </a:cxnLst>
              <a:rect l="0" t="0" r="r" b="b"/>
              <a:pathLst>
                <a:path w="199" h="391">
                  <a:moveTo>
                    <a:pt x="54" y="0"/>
                  </a:moveTo>
                  <a:lnTo>
                    <a:pt x="55" y="46"/>
                  </a:lnTo>
                  <a:lnTo>
                    <a:pt x="37" y="66"/>
                  </a:lnTo>
                  <a:lnTo>
                    <a:pt x="27" y="90"/>
                  </a:lnTo>
                  <a:lnTo>
                    <a:pt x="2" y="115"/>
                  </a:lnTo>
                  <a:lnTo>
                    <a:pt x="0" y="160"/>
                  </a:lnTo>
                  <a:lnTo>
                    <a:pt x="20" y="187"/>
                  </a:lnTo>
                  <a:lnTo>
                    <a:pt x="21" y="219"/>
                  </a:lnTo>
                  <a:lnTo>
                    <a:pt x="59" y="233"/>
                  </a:lnTo>
                  <a:lnTo>
                    <a:pt x="67" y="284"/>
                  </a:lnTo>
                  <a:lnTo>
                    <a:pt x="55" y="321"/>
                  </a:lnTo>
                  <a:lnTo>
                    <a:pt x="76" y="366"/>
                  </a:lnTo>
                  <a:lnTo>
                    <a:pt x="99" y="391"/>
                  </a:lnTo>
                  <a:lnTo>
                    <a:pt x="130" y="390"/>
                  </a:lnTo>
                  <a:lnTo>
                    <a:pt x="141" y="370"/>
                  </a:lnTo>
                  <a:lnTo>
                    <a:pt x="179" y="367"/>
                  </a:lnTo>
                  <a:lnTo>
                    <a:pt x="189" y="344"/>
                  </a:lnTo>
                  <a:lnTo>
                    <a:pt x="185" y="298"/>
                  </a:lnTo>
                  <a:lnTo>
                    <a:pt x="160" y="283"/>
                  </a:lnTo>
                  <a:lnTo>
                    <a:pt x="141" y="263"/>
                  </a:lnTo>
                  <a:lnTo>
                    <a:pt x="140" y="221"/>
                  </a:lnTo>
                  <a:lnTo>
                    <a:pt x="162" y="208"/>
                  </a:lnTo>
                  <a:lnTo>
                    <a:pt x="195" y="210"/>
                  </a:lnTo>
                  <a:lnTo>
                    <a:pt x="199" y="162"/>
                  </a:lnTo>
                  <a:lnTo>
                    <a:pt x="193" y="112"/>
                  </a:lnTo>
                  <a:lnTo>
                    <a:pt x="174" y="97"/>
                  </a:lnTo>
                  <a:lnTo>
                    <a:pt x="136" y="93"/>
                  </a:lnTo>
                  <a:lnTo>
                    <a:pt x="130" y="49"/>
                  </a:lnTo>
                  <a:lnTo>
                    <a:pt x="104" y="46"/>
                  </a:lnTo>
                  <a:lnTo>
                    <a:pt x="89" y="5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4" name="Freeform 183"/>
            <p:cNvSpPr>
              <a:spLocks noChangeAspect="1"/>
            </p:cNvSpPr>
            <p:nvPr/>
          </p:nvSpPr>
          <p:spPr bwMode="auto">
            <a:xfrm>
              <a:off x="7738698" y="4205246"/>
              <a:ext cx="110769" cy="149097"/>
            </a:xfrm>
            <a:custGeom>
              <a:avLst/>
              <a:gdLst/>
              <a:ahLst/>
              <a:cxnLst>
                <a:cxn ang="0">
                  <a:pos x="59" y="45"/>
                </a:cxn>
                <a:cxn ang="0">
                  <a:pos x="55" y="93"/>
                </a:cxn>
                <a:cxn ang="0">
                  <a:pos x="22" y="91"/>
                </a:cxn>
                <a:cxn ang="0">
                  <a:pos x="0" y="104"/>
                </a:cxn>
                <a:cxn ang="0">
                  <a:pos x="1" y="146"/>
                </a:cxn>
                <a:cxn ang="0">
                  <a:pos x="20" y="166"/>
                </a:cxn>
                <a:cxn ang="0">
                  <a:pos x="45" y="181"/>
                </a:cxn>
                <a:cxn ang="0">
                  <a:pos x="49" y="227"/>
                </a:cxn>
                <a:cxn ang="0">
                  <a:pos x="39" y="250"/>
                </a:cxn>
                <a:cxn ang="0">
                  <a:pos x="94" y="249"/>
                </a:cxn>
                <a:cxn ang="0">
                  <a:pos x="97" y="207"/>
                </a:cxn>
                <a:cxn ang="0">
                  <a:pos x="163" y="204"/>
                </a:cxn>
                <a:cxn ang="0">
                  <a:pos x="177" y="191"/>
                </a:cxn>
                <a:cxn ang="0">
                  <a:pos x="177" y="57"/>
                </a:cxn>
                <a:cxn ang="0">
                  <a:pos x="190" y="32"/>
                </a:cxn>
                <a:cxn ang="0">
                  <a:pos x="172" y="1"/>
                </a:cxn>
                <a:cxn ang="0">
                  <a:pos x="118" y="0"/>
                </a:cxn>
                <a:cxn ang="0">
                  <a:pos x="101" y="25"/>
                </a:cxn>
                <a:cxn ang="0">
                  <a:pos x="59" y="45"/>
                </a:cxn>
              </a:cxnLst>
              <a:rect l="0" t="0" r="r" b="b"/>
              <a:pathLst>
                <a:path w="190" h="250">
                  <a:moveTo>
                    <a:pt x="59" y="45"/>
                  </a:moveTo>
                  <a:lnTo>
                    <a:pt x="55" y="93"/>
                  </a:lnTo>
                  <a:lnTo>
                    <a:pt x="22" y="91"/>
                  </a:lnTo>
                  <a:lnTo>
                    <a:pt x="0" y="104"/>
                  </a:lnTo>
                  <a:lnTo>
                    <a:pt x="1" y="146"/>
                  </a:lnTo>
                  <a:lnTo>
                    <a:pt x="20" y="166"/>
                  </a:lnTo>
                  <a:lnTo>
                    <a:pt x="45" y="181"/>
                  </a:lnTo>
                  <a:lnTo>
                    <a:pt x="49" y="227"/>
                  </a:lnTo>
                  <a:lnTo>
                    <a:pt x="39" y="250"/>
                  </a:lnTo>
                  <a:lnTo>
                    <a:pt x="94" y="249"/>
                  </a:lnTo>
                  <a:lnTo>
                    <a:pt x="97" y="207"/>
                  </a:lnTo>
                  <a:lnTo>
                    <a:pt x="163" y="204"/>
                  </a:lnTo>
                  <a:lnTo>
                    <a:pt x="177" y="191"/>
                  </a:lnTo>
                  <a:lnTo>
                    <a:pt x="177" y="57"/>
                  </a:lnTo>
                  <a:lnTo>
                    <a:pt x="190" y="32"/>
                  </a:lnTo>
                  <a:lnTo>
                    <a:pt x="172" y="1"/>
                  </a:lnTo>
                  <a:lnTo>
                    <a:pt x="118" y="0"/>
                  </a:lnTo>
                  <a:lnTo>
                    <a:pt x="101" y="25"/>
                  </a:lnTo>
                  <a:lnTo>
                    <a:pt x="59" y="4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5" name="Freeform 184"/>
            <p:cNvSpPr>
              <a:spLocks noChangeAspect="1"/>
            </p:cNvSpPr>
            <p:nvPr/>
          </p:nvSpPr>
          <p:spPr bwMode="auto">
            <a:xfrm>
              <a:off x="3899350" y="3829281"/>
              <a:ext cx="93186" cy="145547"/>
            </a:xfrm>
            <a:custGeom>
              <a:avLst/>
              <a:gdLst/>
              <a:ahLst/>
              <a:cxnLst>
                <a:cxn ang="0">
                  <a:pos x="74" y="0"/>
                </a:cxn>
                <a:cxn ang="0">
                  <a:pos x="46" y="52"/>
                </a:cxn>
                <a:cxn ang="0">
                  <a:pos x="31" y="119"/>
                </a:cxn>
                <a:cxn ang="0">
                  <a:pos x="0" y="146"/>
                </a:cxn>
                <a:cxn ang="0">
                  <a:pos x="7" y="210"/>
                </a:cxn>
                <a:cxn ang="0">
                  <a:pos x="43" y="218"/>
                </a:cxn>
                <a:cxn ang="0">
                  <a:pos x="63" y="245"/>
                </a:cxn>
                <a:cxn ang="0">
                  <a:pos x="110" y="242"/>
                </a:cxn>
                <a:cxn ang="0">
                  <a:pos x="157" y="225"/>
                </a:cxn>
                <a:cxn ang="0">
                  <a:pos x="142" y="162"/>
                </a:cxn>
                <a:cxn ang="0">
                  <a:pos x="149" y="119"/>
                </a:cxn>
                <a:cxn ang="0">
                  <a:pos x="149" y="87"/>
                </a:cxn>
                <a:cxn ang="0">
                  <a:pos x="134" y="32"/>
                </a:cxn>
                <a:cxn ang="0">
                  <a:pos x="122" y="4"/>
                </a:cxn>
                <a:cxn ang="0">
                  <a:pos x="74" y="0"/>
                </a:cxn>
              </a:cxnLst>
              <a:rect l="0" t="0" r="r" b="b"/>
              <a:pathLst>
                <a:path w="157" h="245">
                  <a:moveTo>
                    <a:pt x="74" y="0"/>
                  </a:moveTo>
                  <a:lnTo>
                    <a:pt x="46" y="52"/>
                  </a:lnTo>
                  <a:lnTo>
                    <a:pt x="31" y="119"/>
                  </a:lnTo>
                  <a:lnTo>
                    <a:pt x="0" y="146"/>
                  </a:lnTo>
                  <a:lnTo>
                    <a:pt x="7" y="210"/>
                  </a:lnTo>
                  <a:lnTo>
                    <a:pt x="43" y="218"/>
                  </a:lnTo>
                  <a:lnTo>
                    <a:pt x="63" y="245"/>
                  </a:lnTo>
                  <a:lnTo>
                    <a:pt x="110" y="242"/>
                  </a:lnTo>
                  <a:lnTo>
                    <a:pt x="157" y="225"/>
                  </a:lnTo>
                  <a:lnTo>
                    <a:pt x="142" y="162"/>
                  </a:lnTo>
                  <a:lnTo>
                    <a:pt x="149" y="119"/>
                  </a:lnTo>
                  <a:lnTo>
                    <a:pt x="149" y="87"/>
                  </a:lnTo>
                  <a:lnTo>
                    <a:pt x="134" y="32"/>
                  </a:lnTo>
                  <a:lnTo>
                    <a:pt x="122" y="4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6" name="Freeform 185"/>
            <p:cNvSpPr>
              <a:spLocks noChangeAspect="1"/>
            </p:cNvSpPr>
            <p:nvPr/>
          </p:nvSpPr>
          <p:spPr bwMode="auto">
            <a:xfrm>
              <a:off x="3922207" y="4001454"/>
              <a:ext cx="52747" cy="46149"/>
            </a:xfrm>
            <a:custGeom>
              <a:avLst/>
              <a:gdLst/>
              <a:ahLst/>
              <a:cxnLst>
                <a:cxn ang="0">
                  <a:pos x="51" y="18"/>
                </a:cxn>
                <a:cxn ang="0">
                  <a:pos x="4" y="0"/>
                </a:cxn>
                <a:cxn ang="0">
                  <a:pos x="0" y="39"/>
                </a:cxn>
                <a:cxn ang="0">
                  <a:pos x="27" y="71"/>
                </a:cxn>
                <a:cxn ang="0">
                  <a:pos x="55" y="79"/>
                </a:cxn>
                <a:cxn ang="0">
                  <a:pos x="55" y="79"/>
                </a:cxn>
                <a:cxn ang="0">
                  <a:pos x="61" y="78"/>
                </a:cxn>
                <a:cxn ang="0">
                  <a:pos x="68" y="77"/>
                </a:cxn>
                <a:cxn ang="0">
                  <a:pos x="74" y="74"/>
                </a:cxn>
                <a:cxn ang="0">
                  <a:pos x="80" y="71"/>
                </a:cxn>
                <a:cxn ang="0">
                  <a:pos x="85" y="66"/>
                </a:cxn>
                <a:cxn ang="0">
                  <a:pos x="86" y="63"/>
                </a:cxn>
                <a:cxn ang="0">
                  <a:pos x="88" y="59"/>
                </a:cxn>
                <a:cxn ang="0">
                  <a:pos x="88" y="56"/>
                </a:cxn>
                <a:cxn ang="0">
                  <a:pos x="86" y="51"/>
                </a:cxn>
                <a:cxn ang="0">
                  <a:pos x="86" y="51"/>
                </a:cxn>
                <a:cxn ang="0">
                  <a:pos x="83" y="43"/>
                </a:cxn>
                <a:cxn ang="0">
                  <a:pos x="78" y="35"/>
                </a:cxn>
                <a:cxn ang="0">
                  <a:pos x="73" y="30"/>
                </a:cxn>
                <a:cxn ang="0">
                  <a:pos x="66" y="25"/>
                </a:cxn>
                <a:cxn ang="0">
                  <a:pos x="55" y="19"/>
                </a:cxn>
                <a:cxn ang="0">
                  <a:pos x="51" y="18"/>
                </a:cxn>
              </a:cxnLst>
              <a:rect l="0" t="0" r="r" b="b"/>
              <a:pathLst>
                <a:path w="88" h="79">
                  <a:moveTo>
                    <a:pt x="51" y="18"/>
                  </a:moveTo>
                  <a:lnTo>
                    <a:pt x="4" y="0"/>
                  </a:lnTo>
                  <a:lnTo>
                    <a:pt x="0" y="39"/>
                  </a:lnTo>
                  <a:lnTo>
                    <a:pt x="27" y="71"/>
                  </a:lnTo>
                  <a:lnTo>
                    <a:pt x="55" y="79"/>
                  </a:lnTo>
                  <a:lnTo>
                    <a:pt x="55" y="79"/>
                  </a:lnTo>
                  <a:lnTo>
                    <a:pt x="61" y="78"/>
                  </a:lnTo>
                  <a:lnTo>
                    <a:pt x="68" y="77"/>
                  </a:lnTo>
                  <a:lnTo>
                    <a:pt x="74" y="74"/>
                  </a:lnTo>
                  <a:lnTo>
                    <a:pt x="80" y="71"/>
                  </a:lnTo>
                  <a:lnTo>
                    <a:pt x="85" y="66"/>
                  </a:lnTo>
                  <a:lnTo>
                    <a:pt x="86" y="63"/>
                  </a:lnTo>
                  <a:lnTo>
                    <a:pt x="88" y="59"/>
                  </a:lnTo>
                  <a:lnTo>
                    <a:pt x="88" y="56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3" y="43"/>
                  </a:lnTo>
                  <a:lnTo>
                    <a:pt x="78" y="35"/>
                  </a:lnTo>
                  <a:lnTo>
                    <a:pt x="73" y="30"/>
                  </a:lnTo>
                  <a:lnTo>
                    <a:pt x="66" y="25"/>
                  </a:lnTo>
                  <a:lnTo>
                    <a:pt x="55" y="19"/>
                  </a:lnTo>
                  <a:lnTo>
                    <a:pt x="51" y="1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7" name="Freeform 186"/>
            <p:cNvSpPr>
              <a:spLocks noChangeAspect="1"/>
            </p:cNvSpPr>
            <p:nvPr/>
          </p:nvSpPr>
          <p:spPr bwMode="auto">
            <a:xfrm>
              <a:off x="3922207" y="4001454"/>
              <a:ext cx="52747" cy="46149"/>
            </a:xfrm>
            <a:custGeom>
              <a:avLst/>
              <a:gdLst/>
              <a:ahLst/>
              <a:cxnLst>
                <a:cxn ang="0">
                  <a:pos x="51" y="18"/>
                </a:cxn>
                <a:cxn ang="0">
                  <a:pos x="4" y="0"/>
                </a:cxn>
                <a:cxn ang="0">
                  <a:pos x="0" y="39"/>
                </a:cxn>
                <a:cxn ang="0">
                  <a:pos x="27" y="71"/>
                </a:cxn>
                <a:cxn ang="0">
                  <a:pos x="55" y="79"/>
                </a:cxn>
                <a:cxn ang="0">
                  <a:pos x="55" y="79"/>
                </a:cxn>
                <a:cxn ang="0">
                  <a:pos x="61" y="78"/>
                </a:cxn>
                <a:cxn ang="0">
                  <a:pos x="68" y="77"/>
                </a:cxn>
                <a:cxn ang="0">
                  <a:pos x="74" y="74"/>
                </a:cxn>
                <a:cxn ang="0">
                  <a:pos x="80" y="71"/>
                </a:cxn>
                <a:cxn ang="0">
                  <a:pos x="85" y="66"/>
                </a:cxn>
                <a:cxn ang="0">
                  <a:pos x="86" y="63"/>
                </a:cxn>
                <a:cxn ang="0">
                  <a:pos x="88" y="59"/>
                </a:cxn>
                <a:cxn ang="0">
                  <a:pos x="88" y="56"/>
                </a:cxn>
                <a:cxn ang="0">
                  <a:pos x="86" y="51"/>
                </a:cxn>
                <a:cxn ang="0">
                  <a:pos x="86" y="51"/>
                </a:cxn>
                <a:cxn ang="0">
                  <a:pos x="83" y="43"/>
                </a:cxn>
                <a:cxn ang="0">
                  <a:pos x="78" y="35"/>
                </a:cxn>
                <a:cxn ang="0">
                  <a:pos x="73" y="30"/>
                </a:cxn>
                <a:cxn ang="0">
                  <a:pos x="66" y="25"/>
                </a:cxn>
                <a:cxn ang="0">
                  <a:pos x="55" y="19"/>
                </a:cxn>
                <a:cxn ang="0">
                  <a:pos x="51" y="18"/>
                </a:cxn>
              </a:cxnLst>
              <a:rect l="0" t="0" r="r" b="b"/>
              <a:pathLst>
                <a:path w="88" h="79">
                  <a:moveTo>
                    <a:pt x="51" y="18"/>
                  </a:moveTo>
                  <a:lnTo>
                    <a:pt x="4" y="0"/>
                  </a:lnTo>
                  <a:lnTo>
                    <a:pt x="0" y="39"/>
                  </a:lnTo>
                  <a:lnTo>
                    <a:pt x="27" y="71"/>
                  </a:lnTo>
                  <a:lnTo>
                    <a:pt x="55" y="79"/>
                  </a:lnTo>
                  <a:lnTo>
                    <a:pt x="55" y="79"/>
                  </a:lnTo>
                  <a:lnTo>
                    <a:pt x="61" y="78"/>
                  </a:lnTo>
                  <a:lnTo>
                    <a:pt x="68" y="77"/>
                  </a:lnTo>
                  <a:lnTo>
                    <a:pt x="74" y="74"/>
                  </a:lnTo>
                  <a:lnTo>
                    <a:pt x="80" y="71"/>
                  </a:lnTo>
                  <a:lnTo>
                    <a:pt x="85" y="66"/>
                  </a:lnTo>
                  <a:lnTo>
                    <a:pt x="86" y="63"/>
                  </a:lnTo>
                  <a:lnTo>
                    <a:pt x="88" y="59"/>
                  </a:lnTo>
                  <a:lnTo>
                    <a:pt x="88" y="56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3" y="43"/>
                  </a:lnTo>
                  <a:lnTo>
                    <a:pt x="78" y="35"/>
                  </a:lnTo>
                  <a:lnTo>
                    <a:pt x="73" y="30"/>
                  </a:lnTo>
                  <a:lnTo>
                    <a:pt x="66" y="25"/>
                  </a:lnTo>
                  <a:lnTo>
                    <a:pt x="55" y="19"/>
                  </a:lnTo>
                  <a:lnTo>
                    <a:pt x="51" y="18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8" name="Freeform 187"/>
            <p:cNvSpPr>
              <a:spLocks noChangeAspect="1"/>
            </p:cNvSpPr>
            <p:nvPr/>
          </p:nvSpPr>
          <p:spPr bwMode="auto">
            <a:xfrm>
              <a:off x="3994295" y="3985478"/>
              <a:ext cx="56264" cy="40824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46"/>
                </a:cxn>
                <a:cxn ang="0">
                  <a:pos x="31" y="66"/>
                </a:cxn>
                <a:cxn ang="0">
                  <a:pos x="94" y="70"/>
                </a:cxn>
                <a:cxn ang="0">
                  <a:pos x="94" y="31"/>
                </a:cxn>
                <a:cxn ang="0">
                  <a:pos x="46" y="0"/>
                </a:cxn>
                <a:cxn ang="0">
                  <a:pos x="4" y="8"/>
                </a:cxn>
              </a:cxnLst>
              <a:rect l="0" t="0" r="r" b="b"/>
              <a:pathLst>
                <a:path w="94" h="70">
                  <a:moveTo>
                    <a:pt x="4" y="8"/>
                  </a:moveTo>
                  <a:lnTo>
                    <a:pt x="0" y="46"/>
                  </a:lnTo>
                  <a:lnTo>
                    <a:pt x="31" y="66"/>
                  </a:lnTo>
                  <a:lnTo>
                    <a:pt x="94" y="70"/>
                  </a:lnTo>
                  <a:lnTo>
                    <a:pt x="94" y="31"/>
                  </a:lnTo>
                  <a:lnTo>
                    <a:pt x="46" y="0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59" name="Freeform 188"/>
            <p:cNvSpPr>
              <a:spLocks noChangeAspect="1"/>
            </p:cNvSpPr>
            <p:nvPr/>
          </p:nvSpPr>
          <p:spPr bwMode="auto">
            <a:xfrm>
              <a:off x="3994295" y="3985478"/>
              <a:ext cx="56264" cy="40824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46"/>
                </a:cxn>
                <a:cxn ang="0">
                  <a:pos x="31" y="66"/>
                </a:cxn>
                <a:cxn ang="0">
                  <a:pos x="94" y="70"/>
                </a:cxn>
                <a:cxn ang="0">
                  <a:pos x="94" y="31"/>
                </a:cxn>
                <a:cxn ang="0">
                  <a:pos x="46" y="0"/>
                </a:cxn>
                <a:cxn ang="0">
                  <a:pos x="4" y="8"/>
                </a:cxn>
              </a:cxnLst>
              <a:rect l="0" t="0" r="r" b="b"/>
              <a:pathLst>
                <a:path w="94" h="70">
                  <a:moveTo>
                    <a:pt x="4" y="8"/>
                  </a:moveTo>
                  <a:lnTo>
                    <a:pt x="0" y="46"/>
                  </a:lnTo>
                  <a:lnTo>
                    <a:pt x="31" y="66"/>
                  </a:lnTo>
                  <a:lnTo>
                    <a:pt x="94" y="70"/>
                  </a:lnTo>
                  <a:lnTo>
                    <a:pt x="94" y="31"/>
                  </a:lnTo>
                  <a:lnTo>
                    <a:pt x="46" y="0"/>
                  </a:lnTo>
                  <a:lnTo>
                    <a:pt x="4" y="8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0" name="Freeform 189"/>
            <p:cNvSpPr>
              <a:spLocks noChangeAspect="1"/>
            </p:cNvSpPr>
            <p:nvPr/>
          </p:nvSpPr>
          <p:spPr bwMode="auto">
            <a:xfrm>
              <a:off x="3985503" y="4054701"/>
              <a:ext cx="36923" cy="37274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0" y="35"/>
                </a:cxn>
                <a:cxn ang="0">
                  <a:pos x="16" y="62"/>
                </a:cxn>
                <a:cxn ang="0">
                  <a:pos x="62" y="47"/>
                </a:cxn>
                <a:cxn ang="0">
                  <a:pos x="51" y="11"/>
                </a:cxn>
                <a:cxn ang="0">
                  <a:pos x="13" y="0"/>
                </a:cxn>
              </a:cxnLst>
              <a:rect l="0" t="0" r="r" b="b"/>
              <a:pathLst>
                <a:path w="62" h="62">
                  <a:moveTo>
                    <a:pt x="13" y="0"/>
                  </a:moveTo>
                  <a:lnTo>
                    <a:pt x="0" y="35"/>
                  </a:lnTo>
                  <a:lnTo>
                    <a:pt x="16" y="62"/>
                  </a:lnTo>
                  <a:lnTo>
                    <a:pt x="62" y="47"/>
                  </a:lnTo>
                  <a:lnTo>
                    <a:pt x="51" y="11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1" name="Freeform 190"/>
            <p:cNvSpPr>
              <a:spLocks noChangeAspect="1"/>
            </p:cNvSpPr>
            <p:nvPr/>
          </p:nvSpPr>
          <p:spPr bwMode="auto">
            <a:xfrm>
              <a:off x="3985503" y="4054701"/>
              <a:ext cx="36923" cy="37274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0" y="35"/>
                </a:cxn>
                <a:cxn ang="0">
                  <a:pos x="16" y="62"/>
                </a:cxn>
                <a:cxn ang="0">
                  <a:pos x="62" y="47"/>
                </a:cxn>
                <a:cxn ang="0">
                  <a:pos x="51" y="11"/>
                </a:cxn>
                <a:cxn ang="0">
                  <a:pos x="13" y="0"/>
                </a:cxn>
              </a:cxnLst>
              <a:rect l="0" t="0" r="r" b="b"/>
              <a:pathLst>
                <a:path w="62" h="62">
                  <a:moveTo>
                    <a:pt x="13" y="0"/>
                  </a:moveTo>
                  <a:lnTo>
                    <a:pt x="0" y="35"/>
                  </a:lnTo>
                  <a:lnTo>
                    <a:pt x="16" y="62"/>
                  </a:lnTo>
                  <a:lnTo>
                    <a:pt x="62" y="47"/>
                  </a:lnTo>
                  <a:lnTo>
                    <a:pt x="51" y="11"/>
                  </a:lnTo>
                  <a:lnTo>
                    <a:pt x="13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2" name="Freeform 191"/>
            <p:cNvSpPr>
              <a:spLocks noChangeAspect="1"/>
            </p:cNvSpPr>
            <p:nvPr/>
          </p:nvSpPr>
          <p:spPr bwMode="auto">
            <a:xfrm>
              <a:off x="4054074" y="4047601"/>
              <a:ext cx="33407" cy="23074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8" y="39"/>
                </a:cxn>
                <a:cxn ang="0">
                  <a:pos x="32" y="39"/>
                </a:cxn>
                <a:cxn ang="0">
                  <a:pos x="51" y="28"/>
                </a:cxn>
                <a:cxn ang="0">
                  <a:pos x="55" y="0"/>
                </a:cxn>
                <a:cxn ang="0">
                  <a:pos x="23" y="0"/>
                </a:cxn>
                <a:cxn ang="0">
                  <a:pos x="0" y="12"/>
                </a:cxn>
              </a:cxnLst>
              <a:rect l="0" t="0" r="r" b="b"/>
              <a:pathLst>
                <a:path w="55" h="39">
                  <a:moveTo>
                    <a:pt x="0" y="12"/>
                  </a:moveTo>
                  <a:lnTo>
                    <a:pt x="8" y="39"/>
                  </a:lnTo>
                  <a:lnTo>
                    <a:pt x="32" y="39"/>
                  </a:lnTo>
                  <a:lnTo>
                    <a:pt x="51" y="28"/>
                  </a:lnTo>
                  <a:lnTo>
                    <a:pt x="55" y="0"/>
                  </a:lnTo>
                  <a:lnTo>
                    <a:pt x="23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3" name="Freeform 192"/>
            <p:cNvSpPr>
              <a:spLocks noChangeAspect="1"/>
            </p:cNvSpPr>
            <p:nvPr/>
          </p:nvSpPr>
          <p:spPr bwMode="auto">
            <a:xfrm>
              <a:off x="4024185" y="4120377"/>
              <a:ext cx="87911" cy="120698"/>
            </a:xfrm>
            <a:custGeom>
              <a:avLst/>
              <a:gdLst/>
              <a:ahLst/>
              <a:cxnLst>
                <a:cxn ang="0">
                  <a:pos x="91" y="0"/>
                </a:cxn>
                <a:cxn ang="0">
                  <a:pos x="47" y="32"/>
                </a:cxn>
                <a:cxn ang="0">
                  <a:pos x="0" y="83"/>
                </a:cxn>
                <a:cxn ang="0">
                  <a:pos x="23" y="119"/>
                </a:cxn>
                <a:cxn ang="0">
                  <a:pos x="59" y="166"/>
                </a:cxn>
                <a:cxn ang="0">
                  <a:pos x="95" y="206"/>
                </a:cxn>
                <a:cxn ang="0">
                  <a:pos x="122" y="166"/>
                </a:cxn>
                <a:cxn ang="0">
                  <a:pos x="150" y="142"/>
                </a:cxn>
                <a:cxn ang="0">
                  <a:pos x="150" y="55"/>
                </a:cxn>
                <a:cxn ang="0">
                  <a:pos x="130" y="20"/>
                </a:cxn>
                <a:cxn ang="0">
                  <a:pos x="91" y="0"/>
                </a:cxn>
              </a:cxnLst>
              <a:rect l="0" t="0" r="r" b="b"/>
              <a:pathLst>
                <a:path w="150" h="206">
                  <a:moveTo>
                    <a:pt x="91" y="0"/>
                  </a:moveTo>
                  <a:lnTo>
                    <a:pt x="47" y="32"/>
                  </a:lnTo>
                  <a:lnTo>
                    <a:pt x="0" y="83"/>
                  </a:lnTo>
                  <a:lnTo>
                    <a:pt x="23" y="119"/>
                  </a:lnTo>
                  <a:lnTo>
                    <a:pt x="59" y="166"/>
                  </a:lnTo>
                  <a:lnTo>
                    <a:pt x="95" y="206"/>
                  </a:lnTo>
                  <a:lnTo>
                    <a:pt x="122" y="166"/>
                  </a:lnTo>
                  <a:lnTo>
                    <a:pt x="150" y="142"/>
                  </a:lnTo>
                  <a:lnTo>
                    <a:pt x="150" y="55"/>
                  </a:lnTo>
                  <a:lnTo>
                    <a:pt x="130" y="2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4" name="Freeform 193"/>
            <p:cNvSpPr>
              <a:spLocks noChangeAspect="1"/>
            </p:cNvSpPr>
            <p:nvPr/>
          </p:nvSpPr>
          <p:spPr bwMode="auto">
            <a:xfrm>
              <a:off x="3974954" y="4127477"/>
              <a:ext cx="49231" cy="67448"/>
            </a:xfrm>
            <a:custGeom>
              <a:avLst/>
              <a:gdLst/>
              <a:ahLst/>
              <a:cxnLst>
                <a:cxn ang="0">
                  <a:pos x="58" y="0"/>
                </a:cxn>
                <a:cxn ang="0">
                  <a:pos x="28" y="34"/>
                </a:cxn>
                <a:cxn ang="0">
                  <a:pos x="9" y="82"/>
                </a:cxn>
                <a:cxn ang="0">
                  <a:pos x="0" y="113"/>
                </a:cxn>
                <a:cxn ang="0">
                  <a:pos x="44" y="97"/>
                </a:cxn>
                <a:cxn ang="0">
                  <a:pos x="68" y="58"/>
                </a:cxn>
                <a:cxn ang="0">
                  <a:pos x="84" y="14"/>
                </a:cxn>
                <a:cxn ang="0">
                  <a:pos x="58" y="0"/>
                </a:cxn>
              </a:cxnLst>
              <a:rect l="0" t="0" r="r" b="b"/>
              <a:pathLst>
                <a:path w="84" h="113">
                  <a:moveTo>
                    <a:pt x="58" y="0"/>
                  </a:moveTo>
                  <a:lnTo>
                    <a:pt x="28" y="34"/>
                  </a:lnTo>
                  <a:lnTo>
                    <a:pt x="9" y="82"/>
                  </a:lnTo>
                  <a:lnTo>
                    <a:pt x="0" y="113"/>
                  </a:lnTo>
                  <a:lnTo>
                    <a:pt x="44" y="97"/>
                  </a:lnTo>
                  <a:lnTo>
                    <a:pt x="68" y="58"/>
                  </a:lnTo>
                  <a:lnTo>
                    <a:pt x="84" y="14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5" name="Freeform 194"/>
            <p:cNvSpPr>
              <a:spLocks noChangeAspect="1"/>
            </p:cNvSpPr>
            <p:nvPr/>
          </p:nvSpPr>
          <p:spPr bwMode="auto">
            <a:xfrm>
              <a:off x="3974954" y="4127477"/>
              <a:ext cx="49231" cy="67448"/>
            </a:xfrm>
            <a:custGeom>
              <a:avLst/>
              <a:gdLst/>
              <a:ahLst/>
              <a:cxnLst>
                <a:cxn ang="0">
                  <a:pos x="58" y="0"/>
                </a:cxn>
                <a:cxn ang="0">
                  <a:pos x="28" y="34"/>
                </a:cxn>
                <a:cxn ang="0">
                  <a:pos x="9" y="82"/>
                </a:cxn>
                <a:cxn ang="0">
                  <a:pos x="0" y="113"/>
                </a:cxn>
                <a:cxn ang="0">
                  <a:pos x="44" y="97"/>
                </a:cxn>
                <a:cxn ang="0">
                  <a:pos x="68" y="58"/>
                </a:cxn>
                <a:cxn ang="0">
                  <a:pos x="84" y="14"/>
                </a:cxn>
                <a:cxn ang="0">
                  <a:pos x="58" y="0"/>
                </a:cxn>
              </a:cxnLst>
              <a:rect l="0" t="0" r="r" b="b"/>
              <a:pathLst>
                <a:path w="84" h="113">
                  <a:moveTo>
                    <a:pt x="58" y="0"/>
                  </a:moveTo>
                  <a:lnTo>
                    <a:pt x="28" y="34"/>
                  </a:lnTo>
                  <a:lnTo>
                    <a:pt x="9" y="82"/>
                  </a:lnTo>
                  <a:lnTo>
                    <a:pt x="0" y="113"/>
                  </a:lnTo>
                  <a:lnTo>
                    <a:pt x="44" y="97"/>
                  </a:lnTo>
                  <a:lnTo>
                    <a:pt x="68" y="58"/>
                  </a:lnTo>
                  <a:lnTo>
                    <a:pt x="84" y="14"/>
                  </a:lnTo>
                  <a:lnTo>
                    <a:pt x="58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6" name="Freeform 195"/>
            <p:cNvSpPr>
              <a:spLocks noChangeAspect="1"/>
            </p:cNvSpPr>
            <p:nvPr/>
          </p:nvSpPr>
          <p:spPr bwMode="auto">
            <a:xfrm>
              <a:off x="4029459" y="4088427"/>
              <a:ext cx="19341" cy="23074"/>
            </a:xfrm>
            <a:custGeom>
              <a:avLst/>
              <a:gdLst/>
              <a:ahLst/>
              <a:cxnLst>
                <a:cxn ang="0">
                  <a:pos x="16" y="39"/>
                </a:cxn>
                <a:cxn ang="0">
                  <a:pos x="16" y="39"/>
                </a:cxn>
                <a:cxn ang="0">
                  <a:pos x="13" y="39"/>
                </a:cxn>
                <a:cxn ang="0">
                  <a:pos x="10" y="38"/>
                </a:cxn>
                <a:cxn ang="0">
                  <a:pos x="5" y="33"/>
                </a:cxn>
                <a:cxn ang="0">
                  <a:pos x="1" y="27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1" y="12"/>
                </a:cxn>
                <a:cxn ang="0">
                  <a:pos x="5" y="5"/>
                </a:cxn>
                <a:cxn ang="0">
                  <a:pos x="10" y="2"/>
                </a:cxn>
                <a:cxn ang="0">
                  <a:pos x="13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3" y="2"/>
                </a:cxn>
                <a:cxn ang="0">
                  <a:pos x="29" y="5"/>
                </a:cxn>
                <a:cxn ang="0">
                  <a:pos x="32" y="12"/>
                </a:cxn>
                <a:cxn ang="0">
                  <a:pos x="34" y="19"/>
                </a:cxn>
                <a:cxn ang="0">
                  <a:pos x="34" y="19"/>
                </a:cxn>
                <a:cxn ang="0">
                  <a:pos x="32" y="27"/>
                </a:cxn>
                <a:cxn ang="0">
                  <a:pos x="29" y="33"/>
                </a:cxn>
                <a:cxn ang="0">
                  <a:pos x="23" y="38"/>
                </a:cxn>
                <a:cxn ang="0">
                  <a:pos x="20" y="39"/>
                </a:cxn>
                <a:cxn ang="0">
                  <a:pos x="16" y="39"/>
                </a:cxn>
                <a:cxn ang="0">
                  <a:pos x="16" y="39"/>
                </a:cxn>
              </a:cxnLst>
              <a:rect l="0" t="0" r="r" b="b"/>
              <a:pathLst>
                <a:path w="34" h="39">
                  <a:moveTo>
                    <a:pt x="16" y="39"/>
                  </a:moveTo>
                  <a:lnTo>
                    <a:pt x="16" y="39"/>
                  </a:lnTo>
                  <a:lnTo>
                    <a:pt x="13" y="39"/>
                  </a:lnTo>
                  <a:lnTo>
                    <a:pt x="10" y="38"/>
                  </a:lnTo>
                  <a:lnTo>
                    <a:pt x="5" y="33"/>
                  </a:lnTo>
                  <a:lnTo>
                    <a:pt x="1" y="27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1" y="12"/>
                  </a:lnTo>
                  <a:lnTo>
                    <a:pt x="5" y="5"/>
                  </a:lnTo>
                  <a:lnTo>
                    <a:pt x="10" y="2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3" y="2"/>
                  </a:lnTo>
                  <a:lnTo>
                    <a:pt x="29" y="5"/>
                  </a:lnTo>
                  <a:lnTo>
                    <a:pt x="32" y="12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2" y="27"/>
                  </a:lnTo>
                  <a:lnTo>
                    <a:pt x="29" y="33"/>
                  </a:lnTo>
                  <a:lnTo>
                    <a:pt x="23" y="38"/>
                  </a:lnTo>
                  <a:lnTo>
                    <a:pt x="20" y="39"/>
                  </a:lnTo>
                  <a:lnTo>
                    <a:pt x="16" y="39"/>
                  </a:lnTo>
                  <a:lnTo>
                    <a:pt x="16" y="3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7" name="Freeform 196"/>
            <p:cNvSpPr>
              <a:spLocks noChangeAspect="1"/>
            </p:cNvSpPr>
            <p:nvPr/>
          </p:nvSpPr>
          <p:spPr bwMode="auto">
            <a:xfrm>
              <a:off x="500682" y="4106177"/>
              <a:ext cx="172308" cy="173947"/>
            </a:xfrm>
            <a:custGeom>
              <a:avLst/>
              <a:gdLst/>
              <a:ahLst/>
              <a:cxnLst>
                <a:cxn ang="0">
                  <a:pos x="99" y="292"/>
                </a:cxn>
                <a:cxn ang="0">
                  <a:pos x="48" y="272"/>
                </a:cxn>
                <a:cxn ang="0">
                  <a:pos x="40" y="221"/>
                </a:cxn>
                <a:cxn ang="0">
                  <a:pos x="12" y="213"/>
                </a:cxn>
                <a:cxn ang="0">
                  <a:pos x="0" y="170"/>
                </a:cxn>
                <a:cxn ang="0">
                  <a:pos x="12" y="110"/>
                </a:cxn>
                <a:cxn ang="0">
                  <a:pos x="64" y="75"/>
                </a:cxn>
                <a:cxn ang="0">
                  <a:pos x="31" y="47"/>
                </a:cxn>
                <a:cxn ang="0">
                  <a:pos x="48" y="12"/>
                </a:cxn>
                <a:cxn ang="0">
                  <a:pos x="86" y="7"/>
                </a:cxn>
                <a:cxn ang="0">
                  <a:pos x="142" y="0"/>
                </a:cxn>
                <a:cxn ang="0">
                  <a:pos x="171" y="20"/>
                </a:cxn>
                <a:cxn ang="0">
                  <a:pos x="261" y="23"/>
                </a:cxn>
                <a:cxn ang="0">
                  <a:pos x="265" y="67"/>
                </a:cxn>
                <a:cxn ang="0">
                  <a:pos x="292" y="82"/>
                </a:cxn>
                <a:cxn ang="0">
                  <a:pos x="289" y="119"/>
                </a:cxn>
                <a:cxn ang="0">
                  <a:pos x="265" y="123"/>
                </a:cxn>
                <a:cxn ang="0">
                  <a:pos x="257" y="193"/>
                </a:cxn>
                <a:cxn ang="0">
                  <a:pos x="265" y="268"/>
                </a:cxn>
                <a:cxn ang="0">
                  <a:pos x="152" y="271"/>
                </a:cxn>
                <a:cxn ang="0">
                  <a:pos x="99" y="292"/>
                </a:cxn>
              </a:cxnLst>
              <a:rect l="0" t="0" r="r" b="b"/>
              <a:pathLst>
                <a:path w="292" h="292">
                  <a:moveTo>
                    <a:pt x="99" y="292"/>
                  </a:moveTo>
                  <a:lnTo>
                    <a:pt x="48" y="272"/>
                  </a:lnTo>
                  <a:lnTo>
                    <a:pt x="40" y="221"/>
                  </a:lnTo>
                  <a:lnTo>
                    <a:pt x="12" y="213"/>
                  </a:lnTo>
                  <a:lnTo>
                    <a:pt x="0" y="170"/>
                  </a:lnTo>
                  <a:lnTo>
                    <a:pt x="12" y="110"/>
                  </a:lnTo>
                  <a:lnTo>
                    <a:pt x="64" y="75"/>
                  </a:lnTo>
                  <a:lnTo>
                    <a:pt x="31" y="47"/>
                  </a:lnTo>
                  <a:lnTo>
                    <a:pt x="48" y="12"/>
                  </a:lnTo>
                  <a:lnTo>
                    <a:pt x="86" y="7"/>
                  </a:lnTo>
                  <a:lnTo>
                    <a:pt x="142" y="0"/>
                  </a:lnTo>
                  <a:lnTo>
                    <a:pt x="171" y="20"/>
                  </a:lnTo>
                  <a:lnTo>
                    <a:pt x="261" y="23"/>
                  </a:lnTo>
                  <a:lnTo>
                    <a:pt x="265" y="67"/>
                  </a:lnTo>
                  <a:lnTo>
                    <a:pt x="292" y="82"/>
                  </a:lnTo>
                  <a:lnTo>
                    <a:pt x="289" y="119"/>
                  </a:lnTo>
                  <a:lnTo>
                    <a:pt x="265" y="123"/>
                  </a:lnTo>
                  <a:lnTo>
                    <a:pt x="257" y="193"/>
                  </a:lnTo>
                  <a:lnTo>
                    <a:pt x="265" y="268"/>
                  </a:lnTo>
                  <a:lnTo>
                    <a:pt x="152" y="271"/>
                  </a:lnTo>
                  <a:lnTo>
                    <a:pt x="99" y="29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68" name="Freeform 197"/>
            <p:cNvSpPr>
              <a:spLocks noChangeAspect="1"/>
            </p:cNvSpPr>
            <p:nvPr/>
          </p:nvSpPr>
          <p:spPr bwMode="auto">
            <a:xfrm>
              <a:off x="7313206" y="4265594"/>
              <a:ext cx="1060215" cy="1201651"/>
            </a:xfrm>
            <a:custGeom>
              <a:avLst/>
              <a:gdLst/>
              <a:ahLst/>
              <a:cxnLst>
                <a:cxn ang="0">
                  <a:pos x="186" y="184"/>
                </a:cxn>
                <a:cxn ang="0">
                  <a:pos x="199" y="315"/>
                </a:cxn>
                <a:cxn ang="0">
                  <a:pos x="183" y="419"/>
                </a:cxn>
                <a:cxn ang="0">
                  <a:pos x="93" y="471"/>
                </a:cxn>
                <a:cxn ang="0">
                  <a:pos x="58" y="565"/>
                </a:cxn>
                <a:cxn ang="0">
                  <a:pos x="0" y="636"/>
                </a:cxn>
                <a:cxn ang="0">
                  <a:pos x="56" y="726"/>
                </a:cxn>
                <a:cxn ang="0">
                  <a:pos x="135" y="763"/>
                </a:cxn>
                <a:cxn ang="0">
                  <a:pos x="228" y="820"/>
                </a:cxn>
                <a:cxn ang="0">
                  <a:pos x="306" y="798"/>
                </a:cxn>
                <a:cxn ang="0">
                  <a:pos x="347" y="747"/>
                </a:cxn>
                <a:cxn ang="0">
                  <a:pos x="430" y="881"/>
                </a:cxn>
                <a:cxn ang="0">
                  <a:pos x="519" y="908"/>
                </a:cxn>
                <a:cxn ang="0">
                  <a:pos x="602" y="949"/>
                </a:cxn>
                <a:cxn ang="0">
                  <a:pos x="657" y="1004"/>
                </a:cxn>
                <a:cxn ang="0">
                  <a:pos x="648" y="1091"/>
                </a:cxn>
                <a:cxn ang="0">
                  <a:pos x="730" y="1140"/>
                </a:cxn>
                <a:cxn ang="0">
                  <a:pos x="778" y="1191"/>
                </a:cxn>
                <a:cxn ang="0">
                  <a:pos x="732" y="1284"/>
                </a:cxn>
                <a:cxn ang="0">
                  <a:pos x="771" y="1370"/>
                </a:cxn>
                <a:cxn ang="0">
                  <a:pos x="848" y="1411"/>
                </a:cxn>
                <a:cxn ang="0">
                  <a:pos x="936" y="1470"/>
                </a:cxn>
                <a:cxn ang="0">
                  <a:pos x="957" y="1649"/>
                </a:cxn>
                <a:cxn ang="0">
                  <a:pos x="950" y="1690"/>
                </a:cxn>
                <a:cxn ang="0">
                  <a:pos x="881" y="1765"/>
                </a:cxn>
                <a:cxn ang="0">
                  <a:pos x="854" y="1849"/>
                </a:cxn>
                <a:cxn ang="0">
                  <a:pos x="1016" y="1994"/>
                </a:cxn>
                <a:cxn ang="0">
                  <a:pos x="1051" y="1937"/>
                </a:cxn>
                <a:cxn ang="0">
                  <a:pos x="1081" y="1841"/>
                </a:cxn>
                <a:cxn ang="0">
                  <a:pos x="1075" y="1910"/>
                </a:cxn>
                <a:cxn ang="0">
                  <a:pos x="1153" y="1834"/>
                </a:cxn>
                <a:cxn ang="0">
                  <a:pos x="1213" y="1586"/>
                </a:cxn>
                <a:cxn ang="0">
                  <a:pos x="1275" y="1508"/>
                </a:cxn>
                <a:cxn ang="0">
                  <a:pos x="1443" y="1443"/>
                </a:cxn>
                <a:cxn ang="0">
                  <a:pos x="1538" y="1331"/>
                </a:cxn>
                <a:cxn ang="0">
                  <a:pos x="1587" y="1159"/>
                </a:cxn>
                <a:cxn ang="0">
                  <a:pos x="1663" y="888"/>
                </a:cxn>
                <a:cxn ang="0">
                  <a:pos x="1695" y="783"/>
                </a:cxn>
                <a:cxn ang="0">
                  <a:pos x="1766" y="718"/>
                </a:cxn>
                <a:cxn ang="0">
                  <a:pos x="1783" y="630"/>
                </a:cxn>
                <a:cxn ang="0">
                  <a:pos x="1781" y="585"/>
                </a:cxn>
                <a:cxn ang="0">
                  <a:pos x="1718" y="473"/>
                </a:cxn>
                <a:cxn ang="0">
                  <a:pos x="1625" y="413"/>
                </a:cxn>
                <a:cxn ang="0">
                  <a:pos x="1540" y="364"/>
                </a:cxn>
                <a:cxn ang="0">
                  <a:pos x="1443" y="350"/>
                </a:cxn>
                <a:cxn ang="0">
                  <a:pos x="1350" y="291"/>
                </a:cxn>
                <a:cxn ang="0">
                  <a:pos x="1220" y="267"/>
                </a:cxn>
                <a:cxn ang="0">
                  <a:pos x="1133" y="325"/>
                </a:cxn>
                <a:cxn ang="0">
                  <a:pos x="1147" y="236"/>
                </a:cxn>
                <a:cxn ang="0">
                  <a:pos x="1058" y="287"/>
                </a:cxn>
                <a:cxn ang="0">
                  <a:pos x="1048" y="260"/>
                </a:cxn>
                <a:cxn ang="0">
                  <a:pos x="1105" y="157"/>
                </a:cxn>
                <a:cxn ang="0">
                  <a:pos x="1009" y="48"/>
                </a:cxn>
                <a:cxn ang="0">
                  <a:pos x="955" y="127"/>
                </a:cxn>
                <a:cxn ang="0">
                  <a:pos x="823" y="105"/>
                </a:cxn>
                <a:cxn ang="0">
                  <a:pos x="727" y="151"/>
                </a:cxn>
                <a:cxn ang="0">
                  <a:pos x="662" y="147"/>
                </a:cxn>
                <a:cxn ang="0">
                  <a:pos x="645" y="14"/>
                </a:cxn>
                <a:cxn ang="0">
                  <a:pos x="514" y="36"/>
                </a:cxn>
                <a:cxn ang="0">
                  <a:pos x="430" y="26"/>
                </a:cxn>
                <a:cxn ang="0">
                  <a:pos x="457" y="115"/>
                </a:cxn>
                <a:cxn ang="0">
                  <a:pos x="372" y="186"/>
                </a:cxn>
                <a:cxn ang="0">
                  <a:pos x="285" y="125"/>
                </a:cxn>
              </a:cxnLst>
              <a:rect l="0" t="0" r="r" b="b"/>
              <a:pathLst>
                <a:path w="1811" h="2030">
                  <a:moveTo>
                    <a:pt x="285" y="125"/>
                  </a:moveTo>
                  <a:lnTo>
                    <a:pt x="206" y="153"/>
                  </a:lnTo>
                  <a:lnTo>
                    <a:pt x="186" y="184"/>
                  </a:lnTo>
                  <a:lnTo>
                    <a:pt x="210" y="208"/>
                  </a:lnTo>
                  <a:lnTo>
                    <a:pt x="186" y="223"/>
                  </a:lnTo>
                  <a:lnTo>
                    <a:pt x="199" y="315"/>
                  </a:lnTo>
                  <a:lnTo>
                    <a:pt x="199" y="354"/>
                  </a:lnTo>
                  <a:lnTo>
                    <a:pt x="151" y="358"/>
                  </a:lnTo>
                  <a:lnTo>
                    <a:pt x="183" y="419"/>
                  </a:lnTo>
                  <a:lnTo>
                    <a:pt x="170" y="461"/>
                  </a:lnTo>
                  <a:lnTo>
                    <a:pt x="135" y="481"/>
                  </a:lnTo>
                  <a:lnTo>
                    <a:pt x="93" y="471"/>
                  </a:lnTo>
                  <a:lnTo>
                    <a:pt x="62" y="492"/>
                  </a:lnTo>
                  <a:lnTo>
                    <a:pt x="49" y="534"/>
                  </a:lnTo>
                  <a:lnTo>
                    <a:pt x="58" y="565"/>
                  </a:lnTo>
                  <a:lnTo>
                    <a:pt x="38" y="582"/>
                  </a:lnTo>
                  <a:lnTo>
                    <a:pt x="11" y="595"/>
                  </a:lnTo>
                  <a:lnTo>
                    <a:pt x="0" y="636"/>
                  </a:lnTo>
                  <a:lnTo>
                    <a:pt x="12" y="668"/>
                  </a:lnTo>
                  <a:lnTo>
                    <a:pt x="44" y="694"/>
                  </a:lnTo>
                  <a:lnTo>
                    <a:pt x="56" y="726"/>
                  </a:lnTo>
                  <a:lnTo>
                    <a:pt x="87" y="731"/>
                  </a:lnTo>
                  <a:lnTo>
                    <a:pt x="93" y="757"/>
                  </a:lnTo>
                  <a:lnTo>
                    <a:pt x="135" y="763"/>
                  </a:lnTo>
                  <a:lnTo>
                    <a:pt x="170" y="741"/>
                  </a:lnTo>
                  <a:lnTo>
                    <a:pt x="189" y="801"/>
                  </a:lnTo>
                  <a:lnTo>
                    <a:pt x="228" y="820"/>
                  </a:lnTo>
                  <a:lnTo>
                    <a:pt x="262" y="825"/>
                  </a:lnTo>
                  <a:lnTo>
                    <a:pt x="289" y="812"/>
                  </a:lnTo>
                  <a:lnTo>
                    <a:pt x="306" y="798"/>
                  </a:lnTo>
                  <a:lnTo>
                    <a:pt x="317" y="777"/>
                  </a:lnTo>
                  <a:lnTo>
                    <a:pt x="341" y="781"/>
                  </a:lnTo>
                  <a:lnTo>
                    <a:pt x="347" y="747"/>
                  </a:lnTo>
                  <a:lnTo>
                    <a:pt x="406" y="753"/>
                  </a:lnTo>
                  <a:lnTo>
                    <a:pt x="414" y="846"/>
                  </a:lnTo>
                  <a:lnTo>
                    <a:pt x="430" y="881"/>
                  </a:lnTo>
                  <a:lnTo>
                    <a:pt x="440" y="895"/>
                  </a:lnTo>
                  <a:lnTo>
                    <a:pt x="510" y="898"/>
                  </a:lnTo>
                  <a:lnTo>
                    <a:pt x="519" y="908"/>
                  </a:lnTo>
                  <a:lnTo>
                    <a:pt x="550" y="915"/>
                  </a:lnTo>
                  <a:lnTo>
                    <a:pt x="555" y="943"/>
                  </a:lnTo>
                  <a:lnTo>
                    <a:pt x="602" y="949"/>
                  </a:lnTo>
                  <a:lnTo>
                    <a:pt x="627" y="955"/>
                  </a:lnTo>
                  <a:lnTo>
                    <a:pt x="633" y="1001"/>
                  </a:lnTo>
                  <a:lnTo>
                    <a:pt x="657" y="1004"/>
                  </a:lnTo>
                  <a:lnTo>
                    <a:pt x="633" y="1022"/>
                  </a:lnTo>
                  <a:lnTo>
                    <a:pt x="635" y="1085"/>
                  </a:lnTo>
                  <a:lnTo>
                    <a:pt x="648" y="1091"/>
                  </a:lnTo>
                  <a:lnTo>
                    <a:pt x="662" y="1107"/>
                  </a:lnTo>
                  <a:lnTo>
                    <a:pt x="726" y="1105"/>
                  </a:lnTo>
                  <a:lnTo>
                    <a:pt x="730" y="1140"/>
                  </a:lnTo>
                  <a:lnTo>
                    <a:pt x="755" y="1145"/>
                  </a:lnTo>
                  <a:lnTo>
                    <a:pt x="761" y="1180"/>
                  </a:lnTo>
                  <a:lnTo>
                    <a:pt x="778" y="1191"/>
                  </a:lnTo>
                  <a:lnTo>
                    <a:pt x="774" y="1252"/>
                  </a:lnTo>
                  <a:lnTo>
                    <a:pt x="755" y="1279"/>
                  </a:lnTo>
                  <a:lnTo>
                    <a:pt x="732" y="1284"/>
                  </a:lnTo>
                  <a:lnTo>
                    <a:pt x="736" y="1318"/>
                  </a:lnTo>
                  <a:lnTo>
                    <a:pt x="768" y="1331"/>
                  </a:lnTo>
                  <a:lnTo>
                    <a:pt x="771" y="1370"/>
                  </a:lnTo>
                  <a:lnTo>
                    <a:pt x="813" y="1377"/>
                  </a:lnTo>
                  <a:lnTo>
                    <a:pt x="824" y="1401"/>
                  </a:lnTo>
                  <a:lnTo>
                    <a:pt x="848" y="1411"/>
                  </a:lnTo>
                  <a:lnTo>
                    <a:pt x="892" y="1414"/>
                  </a:lnTo>
                  <a:lnTo>
                    <a:pt x="896" y="1466"/>
                  </a:lnTo>
                  <a:lnTo>
                    <a:pt x="936" y="1470"/>
                  </a:lnTo>
                  <a:lnTo>
                    <a:pt x="945" y="1590"/>
                  </a:lnTo>
                  <a:lnTo>
                    <a:pt x="951" y="1600"/>
                  </a:lnTo>
                  <a:lnTo>
                    <a:pt x="957" y="1649"/>
                  </a:lnTo>
                  <a:lnTo>
                    <a:pt x="981" y="1649"/>
                  </a:lnTo>
                  <a:lnTo>
                    <a:pt x="982" y="1686"/>
                  </a:lnTo>
                  <a:lnTo>
                    <a:pt x="950" y="1690"/>
                  </a:lnTo>
                  <a:lnTo>
                    <a:pt x="926" y="1721"/>
                  </a:lnTo>
                  <a:lnTo>
                    <a:pt x="903" y="1731"/>
                  </a:lnTo>
                  <a:lnTo>
                    <a:pt x="881" y="1765"/>
                  </a:lnTo>
                  <a:lnTo>
                    <a:pt x="854" y="1793"/>
                  </a:lnTo>
                  <a:lnTo>
                    <a:pt x="834" y="1827"/>
                  </a:lnTo>
                  <a:lnTo>
                    <a:pt x="854" y="1849"/>
                  </a:lnTo>
                  <a:lnTo>
                    <a:pt x="898" y="1868"/>
                  </a:lnTo>
                  <a:lnTo>
                    <a:pt x="995" y="1959"/>
                  </a:lnTo>
                  <a:lnTo>
                    <a:pt x="1016" y="1994"/>
                  </a:lnTo>
                  <a:lnTo>
                    <a:pt x="1022" y="2030"/>
                  </a:lnTo>
                  <a:lnTo>
                    <a:pt x="1050" y="1993"/>
                  </a:lnTo>
                  <a:lnTo>
                    <a:pt x="1051" y="1937"/>
                  </a:lnTo>
                  <a:lnTo>
                    <a:pt x="1061" y="1900"/>
                  </a:lnTo>
                  <a:lnTo>
                    <a:pt x="1064" y="1838"/>
                  </a:lnTo>
                  <a:lnTo>
                    <a:pt x="1081" y="1841"/>
                  </a:lnTo>
                  <a:lnTo>
                    <a:pt x="1093" y="1852"/>
                  </a:lnTo>
                  <a:lnTo>
                    <a:pt x="1088" y="1886"/>
                  </a:lnTo>
                  <a:lnTo>
                    <a:pt x="1075" y="1910"/>
                  </a:lnTo>
                  <a:lnTo>
                    <a:pt x="1117" y="1893"/>
                  </a:lnTo>
                  <a:lnTo>
                    <a:pt x="1127" y="1852"/>
                  </a:lnTo>
                  <a:lnTo>
                    <a:pt x="1153" y="1834"/>
                  </a:lnTo>
                  <a:lnTo>
                    <a:pt x="1147" y="1767"/>
                  </a:lnTo>
                  <a:lnTo>
                    <a:pt x="1196" y="1739"/>
                  </a:lnTo>
                  <a:lnTo>
                    <a:pt x="1213" y="1586"/>
                  </a:lnTo>
                  <a:lnTo>
                    <a:pt x="1226" y="1549"/>
                  </a:lnTo>
                  <a:lnTo>
                    <a:pt x="1264" y="1534"/>
                  </a:lnTo>
                  <a:lnTo>
                    <a:pt x="1275" y="1508"/>
                  </a:lnTo>
                  <a:lnTo>
                    <a:pt x="1301" y="1488"/>
                  </a:lnTo>
                  <a:lnTo>
                    <a:pt x="1350" y="1456"/>
                  </a:lnTo>
                  <a:lnTo>
                    <a:pt x="1443" y="1443"/>
                  </a:lnTo>
                  <a:lnTo>
                    <a:pt x="1457" y="1418"/>
                  </a:lnTo>
                  <a:lnTo>
                    <a:pt x="1528" y="1414"/>
                  </a:lnTo>
                  <a:lnTo>
                    <a:pt x="1538" y="1331"/>
                  </a:lnTo>
                  <a:lnTo>
                    <a:pt x="1564" y="1293"/>
                  </a:lnTo>
                  <a:lnTo>
                    <a:pt x="1581" y="1245"/>
                  </a:lnTo>
                  <a:lnTo>
                    <a:pt x="1587" y="1159"/>
                  </a:lnTo>
                  <a:lnTo>
                    <a:pt x="1611" y="1145"/>
                  </a:lnTo>
                  <a:lnTo>
                    <a:pt x="1621" y="904"/>
                  </a:lnTo>
                  <a:lnTo>
                    <a:pt x="1663" y="888"/>
                  </a:lnTo>
                  <a:lnTo>
                    <a:pt x="1667" y="842"/>
                  </a:lnTo>
                  <a:lnTo>
                    <a:pt x="1684" y="829"/>
                  </a:lnTo>
                  <a:lnTo>
                    <a:pt x="1695" y="783"/>
                  </a:lnTo>
                  <a:lnTo>
                    <a:pt x="1719" y="775"/>
                  </a:lnTo>
                  <a:lnTo>
                    <a:pt x="1732" y="729"/>
                  </a:lnTo>
                  <a:lnTo>
                    <a:pt x="1766" y="718"/>
                  </a:lnTo>
                  <a:lnTo>
                    <a:pt x="1767" y="678"/>
                  </a:lnTo>
                  <a:lnTo>
                    <a:pt x="1787" y="674"/>
                  </a:lnTo>
                  <a:lnTo>
                    <a:pt x="1783" y="630"/>
                  </a:lnTo>
                  <a:lnTo>
                    <a:pt x="1805" y="626"/>
                  </a:lnTo>
                  <a:lnTo>
                    <a:pt x="1811" y="588"/>
                  </a:lnTo>
                  <a:lnTo>
                    <a:pt x="1781" y="585"/>
                  </a:lnTo>
                  <a:lnTo>
                    <a:pt x="1773" y="496"/>
                  </a:lnTo>
                  <a:lnTo>
                    <a:pt x="1749" y="477"/>
                  </a:lnTo>
                  <a:lnTo>
                    <a:pt x="1718" y="473"/>
                  </a:lnTo>
                  <a:lnTo>
                    <a:pt x="1688" y="451"/>
                  </a:lnTo>
                  <a:lnTo>
                    <a:pt x="1667" y="413"/>
                  </a:lnTo>
                  <a:lnTo>
                    <a:pt x="1625" y="413"/>
                  </a:lnTo>
                  <a:lnTo>
                    <a:pt x="1615" y="378"/>
                  </a:lnTo>
                  <a:lnTo>
                    <a:pt x="1585" y="361"/>
                  </a:lnTo>
                  <a:lnTo>
                    <a:pt x="1540" y="364"/>
                  </a:lnTo>
                  <a:lnTo>
                    <a:pt x="1495" y="354"/>
                  </a:lnTo>
                  <a:lnTo>
                    <a:pt x="1473" y="333"/>
                  </a:lnTo>
                  <a:lnTo>
                    <a:pt x="1443" y="350"/>
                  </a:lnTo>
                  <a:lnTo>
                    <a:pt x="1418" y="353"/>
                  </a:lnTo>
                  <a:lnTo>
                    <a:pt x="1378" y="329"/>
                  </a:lnTo>
                  <a:lnTo>
                    <a:pt x="1350" y="291"/>
                  </a:lnTo>
                  <a:lnTo>
                    <a:pt x="1311" y="269"/>
                  </a:lnTo>
                  <a:lnTo>
                    <a:pt x="1271" y="264"/>
                  </a:lnTo>
                  <a:lnTo>
                    <a:pt x="1220" y="267"/>
                  </a:lnTo>
                  <a:lnTo>
                    <a:pt x="1186" y="279"/>
                  </a:lnTo>
                  <a:lnTo>
                    <a:pt x="1177" y="302"/>
                  </a:lnTo>
                  <a:lnTo>
                    <a:pt x="1133" y="325"/>
                  </a:lnTo>
                  <a:lnTo>
                    <a:pt x="1151" y="291"/>
                  </a:lnTo>
                  <a:lnTo>
                    <a:pt x="1172" y="253"/>
                  </a:lnTo>
                  <a:lnTo>
                    <a:pt x="1147" y="236"/>
                  </a:lnTo>
                  <a:lnTo>
                    <a:pt x="1113" y="236"/>
                  </a:lnTo>
                  <a:lnTo>
                    <a:pt x="1084" y="260"/>
                  </a:lnTo>
                  <a:lnTo>
                    <a:pt x="1058" y="287"/>
                  </a:lnTo>
                  <a:lnTo>
                    <a:pt x="1036" y="316"/>
                  </a:lnTo>
                  <a:lnTo>
                    <a:pt x="1006" y="330"/>
                  </a:lnTo>
                  <a:lnTo>
                    <a:pt x="1048" y="260"/>
                  </a:lnTo>
                  <a:lnTo>
                    <a:pt x="1074" y="223"/>
                  </a:lnTo>
                  <a:lnTo>
                    <a:pt x="1093" y="181"/>
                  </a:lnTo>
                  <a:lnTo>
                    <a:pt x="1105" y="157"/>
                  </a:lnTo>
                  <a:lnTo>
                    <a:pt x="1070" y="75"/>
                  </a:lnTo>
                  <a:lnTo>
                    <a:pt x="1044" y="50"/>
                  </a:lnTo>
                  <a:lnTo>
                    <a:pt x="1009" y="48"/>
                  </a:lnTo>
                  <a:lnTo>
                    <a:pt x="982" y="74"/>
                  </a:lnTo>
                  <a:lnTo>
                    <a:pt x="968" y="99"/>
                  </a:lnTo>
                  <a:lnTo>
                    <a:pt x="955" y="127"/>
                  </a:lnTo>
                  <a:lnTo>
                    <a:pt x="909" y="123"/>
                  </a:lnTo>
                  <a:lnTo>
                    <a:pt x="889" y="102"/>
                  </a:lnTo>
                  <a:lnTo>
                    <a:pt x="823" y="105"/>
                  </a:lnTo>
                  <a:lnTo>
                    <a:pt x="820" y="147"/>
                  </a:lnTo>
                  <a:lnTo>
                    <a:pt x="765" y="148"/>
                  </a:lnTo>
                  <a:lnTo>
                    <a:pt x="727" y="151"/>
                  </a:lnTo>
                  <a:lnTo>
                    <a:pt x="716" y="171"/>
                  </a:lnTo>
                  <a:lnTo>
                    <a:pt x="685" y="172"/>
                  </a:lnTo>
                  <a:lnTo>
                    <a:pt x="662" y="147"/>
                  </a:lnTo>
                  <a:lnTo>
                    <a:pt x="641" y="102"/>
                  </a:lnTo>
                  <a:lnTo>
                    <a:pt x="653" y="65"/>
                  </a:lnTo>
                  <a:lnTo>
                    <a:pt x="645" y="14"/>
                  </a:lnTo>
                  <a:lnTo>
                    <a:pt x="607" y="0"/>
                  </a:lnTo>
                  <a:lnTo>
                    <a:pt x="593" y="32"/>
                  </a:lnTo>
                  <a:lnTo>
                    <a:pt x="514" y="36"/>
                  </a:lnTo>
                  <a:lnTo>
                    <a:pt x="489" y="54"/>
                  </a:lnTo>
                  <a:lnTo>
                    <a:pt x="449" y="19"/>
                  </a:lnTo>
                  <a:lnTo>
                    <a:pt x="430" y="26"/>
                  </a:lnTo>
                  <a:lnTo>
                    <a:pt x="421" y="68"/>
                  </a:lnTo>
                  <a:lnTo>
                    <a:pt x="426" y="95"/>
                  </a:lnTo>
                  <a:lnTo>
                    <a:pt x="457" y="115"/>
                  </a:lnTo>
                  <a:lnTo>
                    <a:pt x="459" y="148"/>
                  </a:lnTo>
                  <a:lnTo>
                    <a:pt x="420" y="181"/>
                  </a:lnTo>
                  <a:lnTo>
                    <a:pt x="372" y="186"/>
                  </a:lnTo>
                  <a:lnTo>
                    <a:pt x="337" y="168"/>
                  </a:lnTo>
                  <a:lnTo>
                    <a:pt x="313" y="137"/>
                  </a:lnTo>
                  <a:lnTo>
                    <a:pt x="285" y="12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kern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</a:endParaRPr>
            </a:p>
          </p:txBody>
        </p:sp>
        <p:sp>
          <p:nvSpPr>
            <p:cNvPr id="1669" name="Freeform 198"/>
            <p:cNvSpPr>
              <a:spLocks noChangeAspect="1"/>
            </p:cNvSpPr>
            <p:nvPr/>
          </p:nvSpPr>
          <p:spPr bwMode="auto">
            <a:xfrm>
              <a:off x="1829907" y="3032322"/>
              <a:ext cx="100219" cy="143772"/>
            </a:xfrm>
            <a:custGeom>
              <a:avLst/>
              <a:gdLst/>
              <a:ahLst/>
              <a:cxnLst>
                <a:cxn ang="0">
                  <a:pos x="170" y="220"/>
                </a:cxn>
                <a:cxn ang="0">
                  <a:pos x="134" y="243"/>
                </a:cxn>
                <a:cxn ang="0">
                  <a:pos x="113" y="205"/>
                </a:cxn>
                <a:cxn ang="0">
                  <a:pos x="75" y="179"/>
                </a:cxn>
                <a:cxn ang="0">
                  <a:pos x="39" y="144"/>
                </a:cxn>
                <a:cxn ang="0">
                  <a:pos x="0" y="80"/>
                </a:cxn>
                <a:cxn ang="0">
                  <a:pos x="48" y="56"/>
                </a:cxn>
                <a:cxn ang="0">
                  <a:pos x="78" y="0"/>
                </a:cxn>
                <a:cxn ang="0">
                  <a:pos x="93" y="68"/>
                </a:cxn>
                <a:cxn ang="0">
                  <a:pos x="129" y="137"/>
                </a:cxn>
                <a:cxn ang="0">
                  <a:pos x="170" y="220"/>
                </a:cxn>
              </a:cxnLst>
              <a:rect l="0" t="0" r="r" b="b"/>
              <a:pathLst>
                <a:path w="170" h="243">
                  <a:moveTo>
                    <a:pt x="170" y="220"/>
                  </a:moveTo>
                  <a:lnTo>
                    <a:pt x="134" y="243"/>
                  </a:lnTo>
                  <a:lnTo>
                    <a:pt x="113" y="205"/>
                  </a:lnTo>
                  <a:lnTo>
                    <a:pt x="75" y="179"/>
                  </a:lnTo>
                  <a:lnTo>
                    <a:pt x="39" y="144"/>
                  </a:lnTo>
                  <a:lnTo>
                    <a:pt x="0" y="80"/>
                  </a:lnTo>
                  <a:lnTo>
                    <a:pt x="48" y="56"/>
                  </a:lnTo>
                  <a:lnTo>
                    <a:pt x="78" y="0"/>
                  </a:lnTo>
                  <a:lnTo>
                    <a:pt x="93" y="68"/>
                  </a:lnTo>
                  <a:lnTo>
                    <a:pt x="129" y="137"/>
                  </a:lnTo>
                  <a:lnTo>
                    <a:pt x="170" y="22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0" name="Freeform 199"/>
            <p:cNvSpPr>
              <a:spLocks noChangeAspect="1"/>
            </p:cNvSpPr>
            <p:nvPr/>
          </p:nvSpPr>
          <p:spPr bwMode="auto">
            <a:xfrm>
              <a:off x="2958694" y="2687979"/>
              <a:ext cx="784173" cy="395817"/>
            </a:xfrm>
            <a:custGeom>
              <a:avLst/>
              <a:gdLst/>
              <a:ahLst/>
              <a:cxnLst>
                <a:cxn ang="0">
                  <a:pos x="0" y="253"/>
                </a:cxn>
                <a:cxn ang="0">
                  <a:pos x="28" y="229"/>
                </a:cxn>
                <a:cxn ang="0">
                  <a:pos x="87" y="214"/>
                </a:cxn>
                <a:cxn ang="0">
                  <a:pos x="221" y="202"/>
                </a:cxn>
                <a:cxn ang="0">
                  <a:pos x="237" y="222"/>
                </a:cxn>
                <a:cxn ang="0">
                  <a:pos x="284" y="229"/>
                </a:cxn>
                <a:cxn ang="0">
                  <a:pos x="304" y="249"/>
                </a:cxn>
                <a:cxn ang="0">
                  <a:pos x="399" y="238"/>
                </a:cxn>
                <a:cxn ang="0">
                  <a:pos x="375" y="187"/>
                </a:cxn>
                <a:cxn ang="0">
                  <a:pos x="359" y="163"/>
                </a:cxn>
                <a:cxn ang="0">
                  <a:pos x="399" y="159"/>
                </a:cxn>
                <a:cxn ang="0">
                  <a:pos x="399" y="80"/>
                </a:cxn>
                <a:cxn ang="0">
                  <a:pos x="399" y="0"/>
                </a:cxn>
                <a:cxn ang="0">
                  <a:pos x="482" y="31"/>
                </a:cxn>
                <a:cxn ang="0">
                  <a:pos x="537" y="35"/>
                </a:cxn>
                <a:cxn ang="0">
                  <a:pos x="576" y="74"/>
                </a:cxn>
                <a:cxn ang="0">
                  <a:pos x="596" y="114"/>
                </a:cxn>
                <a:cxn ang="0">
                  <a:pos x="663" y="114"/>
                </a:cxn>
                <a:cxn ang="0">
                  <a:pos x="762" y="121"/>
                </a:cxn>
                <a:cxn ang="0">
                  <a:pos x="817" y="153"/>
                </a:cxn>
                <a:cxn ang="0">
                  <a:pos x="861" y="165"/>
                </a:cxn>
                <a:cxn ang="0">
                  <a:pos x="872" y="200"/>
                </a:cxn>
                <a:cxn ang="0">
                  <a:pos x="992" y="185"/>
                </a:cxn>
                <a:cxn ang="0">
                  <a:pos x="1011" y="153"/>
                </a:cxn>
                <a:cxn ang="0">
                  <a:pos x="1051" y="177"/>
                </a:cxn>
                <a:cxn ang="0">
                  <a:pos x="1106" y="129"/>
                </a:cxn>
                <a:cxn ang="0">
                  <a:pos x="1150" y="125"/>
                </a:cxn>
                <a:cxn ang="0">
                  <a:pos x="1189" y="149"/>
                </a:cxn>
                <a:cxn ang="0">
                  <a:pos x="1178" y="187"/>
                </a:cxn>
                <a:cxn ang="0">
                  <a:pos x="1183" y="287"/>
                </a:cxn>
                <a:cxn ang="0">
                  <a:pos x="1193" y="306"/>
                </a:cxn>
                <a:cxn ang="0">
                  <a:pos x="1230" y="296"/>
                </a:cxn>
                <a:cxn ang="0">
                  <a:pos x="1303" y="287"/>
                </a:cxn>
                <a:cxn ang="0">
                  <a:pos x="1340" y="335"/>
                </a:cxn>
                <a:cxn ang="0">
                  <a:pos x="1260" y="370"/>
                </a:cxn>
                <a:cxn ang="0">
                  <a:pos x="1193" y="410"/>
                </a:cxn>
                <a:cxn ang="0">
                  <a:pos x="1154" y="442"/>
                </a:cxn>
                <a:cxn ang="0">
                  <a:pos x="1110" y="485"/>
                </a:cxn>
                <a:cxn ang="0">
                  <a:pos x="1047" y="465"/>
                </a:cxn>
                <a:cxn ang="0">
                  <a:pos x="1051" y="517"/>
                </a:cxn>
                <a:cxn ang="0">
                  <a:pos x="1043" y="572"/>
                </a:cxn>
                <a:cxn ang="0">
                  <a:pos x="972" y="631"/>
                </a:cxn>
                <a:cxn ang="0">
                  <a:pos x="881" y="620"/>
                </a:cxn>
                <a:cxn ang="0">
                  <a:pos x="845" y="647"/>
                </a:cxn>
                <a:cxn ang="0">
                  <a:pos x="778" y="668"/>
                </a:cxn>
                <a:cxn ang="0">
                  <a:pos x="711" y="631"/>
                </a:cxn>
                <a:cxn ang="0">
                  <a:pos x="655" y="616"/>
                </a:cxn>
                <a:cxn ang="0">
                  <a:pos x="403" y="596"/>
                </a:cxn>
                <a:cxn ang="0">
                  <a:pos x="372" y="565"/>
                </a:cxn>
                <a:cxn ang="0">
                  <a:pos x="339" y="509"/>
                </a:cxn>
                <a:cxn ang="0">
                  <a:pos x="287" y="482"/>
                </a:cxn>
                <a:cxn ang="0">
                  <a:pos x="241" y="469"/>
                </a:cxn>
                <a:cxn ang="0">
                  <a:pos x="138" y="449"/>
                </a:cxn>
                <a:cxn ang="0">
                  <a:pos x="107" y="375"/>
                </a:cxn>
                <a:cxn ang="0">
                  <a:pos x="90" y="323"/>
                </a:cxn>
                <a:cxn ang="0">
                  <a:pos x="24" y="287"/>
                </a:cxn>
                <a:cxn ang="0">
                  <a:pos x="0" y="253"/>
                </a:cxn>
              </a:cxnLst>
              <a:rect l="0" t="0" r="r" b="b"/>
              <a:pathLst>
                <a:path w="1340" h="668">
                  <a:moveTo>
                    <a:pt x="0" y="253"/>
                  </a:moveTo>
                  <a:lnTo>
                    <a:pt x="28" y="229"/>
                  </a:lnTo>
                  <a:lnTo>
                    <a:pt x="87" y="214"/>
                  </a:lnTo>
                  <a:lnTo>
                    <a:pt x="221" y="202"/>
                  </a:lnTo>
                  <a:lnTo>
                    <a:pt x="237" y="222"/>
                  </a:lnTo>
                  <a:lnTo>
                    <a:pt x="284" y="229"/>
                  </a:lnTo>
                  <a:lnTo>
                    <a:pt x="304" y="249"/>
                  </a:lnTo>
                  <a:lnTo>
                    <a:pt x="399" y="238"/>
                  </a:lnTo>
                  <a:lnTo>
                    <a:pt x="375" y="187"/>
                  </a:lnTo>
                  <a:lnTo>
                    <a:pt x="359" y="163"/>
                  </a:lnTo>
                  <a:lnTo>
                    <a:pt x="399" y="159"/>
                  </a:lnTo>
                  <a:lnTo>
                    <a:pt x="399" y="80"/>
                  </a:lnTo>
                  <a:lnTo>
                    <a:pt x="399" y="0"/>
                  </a:lnTo>
                  <a:lnTo>
                    <a:pt x="482" y="31"/>
                  </a:lnTo>
                  <a:lnTo>
                    <a:pt x="537" y="35"/>
                  </a:lnTo>
                  <a:lnTo>
                    <a:pt x="576" y="74"/>
                  </a:lnTo>
                  <a:lnTo>
                    <a:pt x="596" y="114"/>
                  </a:lnTo>
                  <a:lnTo>
                    <a:pt x="663" y="114"/>
                  </a:lnTo>
                  <a:lnTo>
                    <a:pt x="762" y="121"/>
                  </a:lnTo>
                  <a:lnTo>
                    <a:pt x="817" y="153"/>
                  </a:lnTo>
                  <a:lnTo>
                    <a:pt x="861" y="165"/>
                  </a:lnTo>
                  <a:lnTo>
                    <a:pt x="872" y="200"/>
                  </a:lnTo>
                  <a:lnTo>
                    <a:pt x="992" y="185"/>
                  </a:lnTo>
                  <a:lnTo>
                    <a:pt x="1011" y="153"/>
                  </a:lnTo>
                  <a:lnTo>
                    <a:pt x="1051" y="177"/>
                  </a:lnTo>
                  <a:lnTo>
                    <a:pt x="1106" y="129"/>
                  </a:lnTo>
                  <a:lnTo>
                    <a:pt x="1150" y="125"/>
                  </a:lnTo>
                  <a:lnTo>
                    <a:pt x="1189" y="149"/>
                  </a:lnTo>
                  <a:lnTo>
                    <a:pt x="1178" y="187"/>
                  </a:lnTo>
                  <a:lnTo>
                    <a:pt x="1183" y="287"/>
                  </a:lnTo>
                  <a:lnTo>
                    <a:pt x="1193" y="306"/>
                  </a:lnTo>
                  <a:lnTo>
                    <a:pt x="1230" y="296"/>
                  </a:lnTo>
                  <a:lnTo>
                    <a:pt x="1303" y="287"/>
                  </a:lnTo>
                  <a:lnTo>
                    <a:pt x="1340" y="335"/>
                  </a:lnTo>
                  <a:lnTo>
                    <a:pt x="1260" y="370"/>
                  </a:lnTo>
                  <a:lnTo>
                    <a:pt x="1193" y="410"/>
                  </a:lnTo>
                  <a:lnTo>
                    <a:pt x="1154" y="442"/>
                  </a:lnTo>
                  <a:lnTo>
                    <a:pt x="1110" y="485"/>
                  </a:lnTo>
                  <a:lnTo>
                    <a:pt x="1047" y="465"/>
                  </a:lnTo>
                  <a:lnTo>
                    <a:pt x="1051" y="517"/>
                  </a:lnTo>
                  <a:lnTo>
                    <a:pt x="1043" y="572"/>
                  </a:lnTo>
                  <a:lnTo>
                    <a:pt x="972" y="631"/>
                  </a:lnTo>
                  <a:lnTo>
                    <a:pt x="881" y="620"/>
                  </a:lnTo>
                  <a:lnTo>
                    <a:pt x="845" y="647"/>
                  </a:lnTo>
                  <a:lnTo>
                    <a:pt x="778" y="668"/>
                  </a:lnTo>
                  <a:lnTo>
                    <a:pt x="711" y="631"/>
                  </a:lnTo>
                  <a:lnTo>
                    <a:pt x="655" y="616"/>
                  </a:lnTo>
                  <a:lnTo>
                    <a:pt x="403" y="596"/>
                  </a:lnTo>
                  <a:lnTo>
                    <a:pt x="372" y="565"/>
                  </a:lnTo>
                  <a:lnTo>
                    <a:pt x="339" y="509"/>
                  </a:lnTo>
                  <a:lnTo>
                    <a:pt x="287" y="482"/>
                  </a:lnTo>
                  <a:lnTo>
                    <a:pt x="241" y="469"/>
                  </a:lnTo>
                  <a:lnTo>
                    <a:pt x="138" y="449"/>
                  </a:lnTo>
                  <a:lnTo>
                    <a:pt x="107" y="375"/>
                  </a:lnTo>
                  <a:lnTo>
                    <a:pt x="90" y="323"/>
                  </a:lnTo>
                  <a:lnTo>
                    <a:pt x="24" y="287"/>
                  </a:lnTo>
                  <a:lnTo>
                    <a:pt x="0" y="25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1" name="Freeform 200"/>
            <p:cNvSpPr>
              <a:spLocks noChangeAspect="1"/>
            </p:cNvSpPr>
            <p:nvPr/>
          </p:nvSpPr>
          <p:spPr bwMode="auto">
            <a:xfrm>
              <a:off x="6836723" y="2607776"/>
              <a:ext cx="75603" cy="141997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48" y="9"/>
                </a:cxn>
                <a:cxn ang="0">
                  <a:pos x="48" y="68"/>
                </a:cxn>
                <a:cxn ang="0">
                  <a:pos x="64" y="127"/>
                </a:cxn>
                <a:cxn ang="0">
                  <a:pos x="72" y="159"/>
                </a:cxn>
                <a:cxn ang="0">
                  <a:pos x="92" y="182"/>
                </a:cxn>
                <a:cxn ang="0">
                  <a:pos x="127" y="230"/>
                </a:cxn>
                <a:cxn ang="0">
                  <a:pos x="103" y="238"/>
                </a:cxn>
                <a:cxn ang="0">
                  <a:pos x="72" y="234"/>
                </a:cxn>
                <a:cxn ang="0">
                  <a:pos x="44" y="223"/>
                </a:cxn>
                <a:cxn ang="0">
                  <a:pos x="44" y="147"/>
                </a:cxn>
                <a:cxn ang="0">
                  <a:pos x="0" y="139"/>
                </a:cxn>
                <a:cxn ang="0">
                  <a:pos x="8" y="0"/>
                </a:cxn>
              </a:cxnLst>
              <a:rect l="0" t="0" r="r" b="b"/>
              <a:pathLst>
                <a:path w="127" h="238">
                  <a:moveTo>
                    <a:pt x="8" y="0"/>
                  </a:moveTo>
                  <a:lnTo>
                    <a:pt x="48" y="9"/>
                  </a:lnTo>
                  <a:lnTo>
                    <a:pt x="48" y="68"/>
                  </a:lnTo>
                  <a:lnTo>
                    <a:pt x="64" y="127"/>
                  </a:lnTo>
                  <a:lnTo>
                    <a:pt x="72" y="159"/>
                  </a:lnTo>
                  <a:lnTo>
                    <a:pt x="92" y="182"/>
                  </a:lnTo>
                  <a:lnTo>
                    <a:pt x="127" y="230"/>
                  </a:lnTo>
                  <a:lnTo>
                    <a:pt x="103" y="238"/>
                  </a:lnTo>
                  <a:lnTo>
                    <a:pt x="72" y="234"/>
                  </a:lnTo>
                  <a:lnTo>
                    <a:pt x="44" y="223"/>
                  </a:lnTo>
                  <a:lnTo>
                    <a:pt x="44" y="147"/>
                  </a:lnTo>
                  <a:lnTo>
                    <a:pt x="0" y="139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2" name="Freeform 201"/>
            <p:cNvSpPr>
              <a:spLocks noChangeAspect="1"/>
            </p:cNvSpPr>
            <p:nvPr/>
          </p:nvSpPr>
          <p:spPr bwMode="auto">
            <a:xfrm>
              <a:off x="6972107" y="2799474"/>
              <a:ext cx="269010" cy="205896"/>
            </a:xfrm>
            <a:custGeom>
              <a:avLst/>
              <a:gdLst/>
              <a:ahLst/>
              <a:cxnLst>
                <a:cxn ang="0">
                  <a:pos x="146" y="9"/>
                </a:cxn>
                <a:cxn ang="0">
                  <a:pos x="91" y="20"/>
                </a:cxn>
                <a:cxn ang="0">
                  <a:pos x="114" y="33"/>
                </a:cxn>
                <a:cxn ang="0">
                  <a:pos x="0" y="111"/>
                </a:cxn>
                <a:cxn ang="0">
                  <a:pos x="4" y="139"/>
                </a:cxn>
                <a:cxn ang="0">
                  <a:pos x="71" y="167"/>
                </a:cxn>
                <a:cxn ang="0">
                  <a:pos x="150" y="76"/>
                </a:cxn>
                <a:cxn ang="0">
                  <a:pos x="153" y="92"/>
                </a:cxn>
                <a:cxn ang="0">
                  <a:pos x="225" y="111"/>
                </a:cxn>
                <a:cxn ang="0">
                  <a:pos x="280" y="171"/>
                </a:cxn>
                <a:cxn ang="0">
                  <a:pos x="328" y="241"/>
                </a:cxn>
                <a:cxn ang="0">
                  <a:pos x="312" y="329"/>
                </a:cxn>
                <a:cxn ang="0">
                  <a:pos x="352" y="309"/>
                </a:cxn>
                <a:cxn ang="0">
                  <a:pos x="394" y="348"/>
                </a:cxn>
                <a:cxn ang="0">
                  <a:pos x="418" y="250"/>
                </a:cxn>
                <a:cxn ang="0">
                  <a:pos x="458" y="258"/>
                </a:cxn>
                <a:cxn ang="0">
                  <a:pos x="418" y="182"/>
                </a:cxn>
                <a:cxn ang="0">
                  <a:pos x="339" y="144"/>
                </a:cxn>
                <a:cxn ang="0">
                  <a:pos x="304" y="96"/>
                </a:cxn>
                <a:cxn ang="0">
                  <a:pos x="232" y="0"/>
                </a:cxn>
                <a:cxn ang="0">
                  <a:pos x="146" y="9"/>
                </a:cxn>
              </a:cxnLst>
              <a:rect l="0" t="0" r="r" b="b"/>
              <a:pathLst>
                <a:path w="458" h="348">
                  <a:moveTo>
                    <a:pt x="146" y="9"/>
                  </a:moveTo>
                  <a:lnTo>
                    <a:pt x="91" y="20"/>
                  </a:lnTo>
                  <a:lnTo>
                    <a:pt x="114" y="33"/>
                  </a:lnTo>
                  <a:lnTo>
                    <a:pt x="0" y="111"/>
                  </a:lnTo>
                  <a:lnTo>
                    <a:pt x="4" y="139"/>
                  </a:lnTo>
                  <a:lnTo>
                    <a:pt x="71" y="167"/>
                  </a:lnTo>
                  <a:lnTo>
                    <a:pt x="150" y="76"/>
                  </a:lnTo>
                  <a:lnTo>
                    <a:pt x="153" y="92"/>
                  </a:lnTo>
                  <a:lnTo>
                    <a:pt x="225" y="111"/>
                  </a:lnTo>
                  <a:lnTo>
                    <a:pt x="280" y="171"/>
                  </a:lnTo>
                  <a:lnTo>
                    <a:pt x="328" y="241"/>
                  </a:lnTo>
                  <a:lnTo>
                    <a:pt x="312" y="329"/>
                  </a:lnTo>
                  <a:lnTo>
                    <a:pt x="352" y="309"/>
                  </a:lnTo>
                  <a:lnTo>
                    <a:pt x="394" y="348"/>
                  </a:lnTo>
                  <a:lnTo>
                    <a:pt x="418" y="250"/>
                  </a:lnTo>
                  <a:lnTo>
                    <a:pt x="458" y="258"/>
                  </a:lnTo>
                  <a:lnTo>
                    <a:pt x="418" y="182"/>
                  </a:lnTo>
                  <a:lnTo>
                    <a:pt x="339" y="144"/>
                  </a:lnTo>
                  <a:lnTo>
                    <a:pt x="304" y="96"/>
                  </a:lnTo>
                  <a:lnTo>
                    <a:pt x="232" y="0"/>
                  </a:lnTo>
                  <a:lnTo>
                    <a:pt x="146" y="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3" name="Freeform 202"/>
            <p:cNvSpPr>
              <a:spLocks noChangeAspect="1"/>
            </p:cNvSpPr>
            <p:nvPr/>
          </p:nvSpPr>
          <p:spPr bwMode="auto">
            <a:xfrm>
              <a:off x="7047712" y="2886445"/>
              <a:ext cx="75603" cy="188146"/>
            </a:xfrm>
            <a:custGeom>
              <a:avLst/>
              <a:gdLst/>
              <a:ahLst/>
              <a:cxnLst>
                <a:cxn ang="0">
                  <a:pos x="103" y="12"/>
                </a:cxn>
                <a:cxn ang="0">
                  <a:pos x="55" y="20"/>
                </a:cxn>
                <a:cxn ang="0">
                  <a:pos x="13" y="67"/>
                </a:cxn>
                <a:cxn ang="0">
                  <a:pos x="0" y="111"/>
                </a:cxn>
                <a:cxn ang="0">
                  <a:pos x="33" y="83"/>
                </a:cxn>
                <a:cxn ang="0">
                  <a:pos x="20" y="142"/>
                </a:cxn>
                <a:cxn ang="0">
                  <a:pos x="13" y="182"/>
                </a:cxn>
                <a:cxn ang="0">
                  <a:pos x="9" y="269"/>
                </a:cxn>
                <a:cxn ang="0">
                  <a:pos x="48" y="317"/>
                </a:cxn>
                <a:cxn ang="0">
                  <a:pos x="99" y="277"/>
                </a:cxn>
                <a:cxn ang="0">
                  <a:pos x="72" y="150"/>
                </a:cxn>
                <a:cxn ang="0">
                  <a:pos x="76" y="98"/>
                </a:cxn>
                <a:cxn ang="0">
                  <a:pos x="120" y="76"/>
                </a:cxn>
                <a:cxn ang="0">
                  <a:pos x="131" y="48"/>
                </a:cxn>
                <a:cxn ang="0">
                  <a:pos x="103" y="0"/>
                </a:cxn>
                <a:cxn ang="0">
                  <a:pos x="103" y="12"/>
                </a:cxn>
              </a:cxnLst>
              <a:rect l="0" t="0" r="r" b="b"/>
              <a:pathLst>
                <a:path w="131" h="317">
                  <a:moveTo>
                    <a:pt x="103" y="12"/>
                  </a:moveTo>
                  <a:lnTo>
                    <a:pt x="55" y="20"/>
                  </a:lnTo>
                  <a:lnTo>
                    <a:pt x="13" y="67"/>
                  </a:lnTo>
                  <a:lnTo>
                    <a:pt x="0" y="111"/>
                  </a:lnTo>
                  <a:lnTo>
                    <a:pt x="33" y="83"/>
                  </a:lnTo>
                  <a:lnTo>
                    <a:pt x="20" y="142"/>
                  </a:lnTo>
                  <a:lnTo>
                    <a:pt x="13" y="182"/>
                  </a:lnTo>
                  <a:lnTo>
                    <a:pt x="9" y="269"/>
                  </a:lnTo>
                  <a:lnTo>
                    <a:pt x="48" y="317"/>
                  </a:lnTo>
                  <a:lnTo>
                    <a:pt x="99" y="277"/>
                  </a:lnTo>
                  <a:lnTo>
                    <a:pt x="72" y="150"/>
                  </a:lnTo>
                  <a:lnTo>
                    <a:pt x="76" y="98"/>
                  </a:lnTo>
                  <a:lnTo>
                    <a:pt x="120" y="76"/>
                  </a:lnTo>
                  <a:lnTo>
                    <a:pt x="131" y="48"/>
                  </a:lnTo>
                  <a:lnTo>
                    <a:pt x="103" y="0"/>
                  </a:lnTo>
                  <a:lnTo>
                    <a:pt x="103" y="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4" name="Freeform 203"/>
            <p:cNvSpPr>
              <a:spLocks noChangeAspect="1"/>
            </p:cNvSpPr>
            <p:nvPr/>
          </p:nvSpPr>
          <p:spPr bwMode="auto">
            <a:xfrm>
              <a:off x="7047712" y="2886445"/>
              <a:ext cx="75603" cy="188146"/>
            </a:xfrm>
            <a:custGeom>
              <a:avLst/>
              <a:gdLst/>
              <a:ahLst/>
              <a:cxnLst>
                <a:cxn ang="0">
                  <a:pos x="103" y="12"/>
                </a:cxn>
                <a:cxn ang="0">
                  <a:pos x="55" y="20"/>
                </a:cxn>
                <a:cxn ang="0">
                  <a:pos x="13" y="67"/>
                </a:cxn>
                <a:cxn ang="0">
                  <a:pos x="0" y="111"/>
                </a:cxn>
                <a:cxn ang="0">
                  <a:pos x="33" y="83"/>
                </a:cxn>
                <a:cxn ang="0">
                  <a:pos x="20" y="142"/>
                </a:cxn>
                <a:cxn ang="0">
                  <a:pos x="13" y="182"/>
                </a:cxn>
                <a:cxn ang="0">
                  <a:pos x="9" y="269"/>
                </a:cxn>
                <a:cxn ang="0">
                  <a:pos x="48" y="317"/>
                </a:cxn>
                <a:cxn ang="0">
                  <a:pos x="99" y="277"/>
                </a:cxn>
                <a:cxn ang="0">
                  <a:pos x="72" y="150"/>
                </a:cxn>
                <a:cxn ang="0">
                  <a:pos x="76" y="98"/>
                </a:cxn>
                <a:cxn ang="0">
                  <a:pos x="120" y="76"/>
                </a:cxn>
                <a:cxn ang="0">
                  <a:pos x="131" y="48"/>
                </a:cxn>
                <a:cxn ang="0">
                  <a:pos x="103" y="0"/>
                </a:cxn>
              </a:cxnLst>
              <a:rect l="0" t="0" r="r" b="b"/>
              <a:pathLst>
                <a:path w="131" h="317">
                  <a:moveTo>
                    <a:pt x="103" y="12"/>
                  </a:moveTo>
                  <a:lnTo>
                    <a:pt x="55" y="20"/>
                  </a:lnTo>
                  <a:lnTo>
                    <a:pt x="13" y="67"/>
                  </a:lnTo>
                  <a:lnTo>
                    <a:pt x="0" y="111"/>
                  </a:lnTo>
                  <a:lnTo>
                    <a:pt x="33" y="83"/>
                  </a:lnTo>
                  <a:lnTo>
                    <a:pt x="20" y="142"/>
                  </a:lnTo>
                  <a:lnTo>
                    <a:pt x="13" y="182"/>
                  </a:lnTo>
                  <a:lnTo>
                    <a:pt x="9" y="269"/>
                  </a:lnTo>
                  <a:lnTo>
                    <a:pt x="48" y="317"/>
                  </a:lnTo>
                  <a:lnTo>
                    <a:pt x="99" y="277"/>
                  </a:lnTo>
                  <a:lnTo>
                    <a:pt x="72" y="150"/>
                  </a:lnTo>
                  <a:lnTo>
                    <a:pt x="76" y="98"/>
                  </a:lnTo>
                  <a:lnTo>
                    <a:pt x="120" y="76"/>
                  </a:lnTo>
                  <a:lnTo>
                    <a:pt x="131" y="48"/>
                  </a:lnTo>
                  <a:lnTo>
                    <a:pt x="103" y="0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5" name="Freeform 204"/>
            <p:cNvSpPr>
              <a:spLocks noChangeAspect="1"/>
            </p:cNvSpPr>
            <p:nvPr/>
          </p:nvSpPr>
          <p:spPr bwMode="auto">
            <a:xfrm>
              <a:off x="984196" y="4383071"/>
              <a:ext cx="42198" cy="21299"/>
            </a:xfrm>
            <a:custGeom>
              <a:avLst/>
              <a:gdLst/>
              <a:ahLst/>
              <a:cxnLst>
                <a:cxn ang="0">
                  <a:pos x="71" y="0"/>
                </a:cxn>
                <a:cxn ang="0">
                  <a:pos x="6" y="5"/>
                </a:cxn>
                <a:cxn ang="0">
                  <a:pos x="0" y="23"/>
                </a:cxn>
                <a:cxn ang="0">
                  <a:pos x="11" y="36"/>
                </a:cxn>
                <a:cxn ang="0">
                  <a:pos x="59" y="33"/>
                </a:cxn>
                <a:cxn ang="0">
                  <a:pos x="71" y="0"/>
                </a:cxn>
              </a:cxnLst>
              <a:rect l="0" t="0" r="r" b="b"/>
              <a:pathLst>
                <a:path w="71" h="36">
                  <a:moveTo>
                    <a:pt x="71" y="0"/>
                  </a:moveTo>
                  <a:lnTo>
                    <a:pt x="6" y="5"/>
                  </a:lnTo>
                  <a:lnTo>
                    <a:pt x="0" y="23"/>
                  </a:lnTo>
                  <a:lnTo>
                    <a:pt x="11" y="36"/>
                  </a:lnTo>
                  <a:lnTo>
                    <a:pt x="59" y="33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6" name="Freeform 205"/>
            <p:cNvSpPr>
              <a:spLocks noChangeAspect="1"/>
            </p:cNvSpPr>
            <p:nvPr/>
          </p:nvSpPr>
          <p:spPr bwMode="auto">
            <a:xfrm>
              <a:off x="1497600" y="4459393"/>
              <a:ext cx="49231" cy="51474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12" y="14"/>
                </a:cxn>
                <a:cxn ang="0">
                  <a:pos x="17" y="43"/>
                </a:cxn>
                <a:cxn ang="0">
                  <a:pos x="0" y="59"/>
                </a:cxn>
                <a:cxn ang="0">
                  <a:pos x="2" y="87"/>
                </a:cxn>
                <a:cxn ang="0">
                  <a:pos x="30" y="83"/>
                </a:cxn>
                <a:cxn ang="0">
                  <a:pos x="68" y="83"/>
                </a:cxn>
                <a:cxn ang="0">
                  <a:pos x="83" y="63"/>
                </a:cxn>
                <a:cxn ang="0">
                  <a:pos x="73" y="11"/>
                </a:cxn>
                <a:cxn ang="0">
                  <a:pos x="40" y="0"/>
                </a:cxn>
              </a:cxnLst>
              <a:rect l="0" t="0" r="r" b="b"/>
              <a:pathLst>
                <a:path w="83" h="87">
                  <a:moveTo>
                    <a:pt x="40" y="0"/>
                  </a:moveTo>
                  <a:lnTo>
                    <a:pt x="12" y="14"/>
                  </a:lnTo>
                  <a:lnTo>
                    <a:pt x="17" y="43"/>
                  </a:lnTo>
                  <a:lnTo>
                    <a:pt x="0" y="59"/>
                  </a:lnTo>
                  <a:lnTo>
                    <a:pt x="2" y="87"/>
                  </a:lnTo>
                  <a:lnTo>
                    <a:pt x="30" y="83"/>
                  </a:lnTo>
                  <a:lnTo>
                    <a:pt x="68" y="83"/>
                  </a:lnTo>
                  <a:lnTo>
                    <a:pt x="83" y="63"/>
                  </a:lnTo>
                  <a:lnTo>
                    <a:pt x="73" y="11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7" name="Freeform 206"/>
            <p:cNvSpPr>
              <a:spLocks noChangeAspect="1"/>
            </p:cNvSpPr>
            <p:nvPr/>
          </p:nvSpPr>
          <p:spPr bwMode="auto">
            <a:xfrm>
              <a:off x="1304195" y="4654639"/>
              <a:ext cx="319998" cy="323044"/>
            </a:xfrm>
            <a:custGeom>
              <a:avLst/>
              <a:gdLst/>
              <a:ahLst/>
              <a:cxnLst>
                <a:cxn ang="0">
                  <a:pos x="395" y="2"/>
                </a:cxn>
                <a:cxn ang="0">
                  <a:pos x="388" y="29"/>
                </a:cxn>
                <a:cxn ang="0">
                  <a:pos x="352" y="45"/>
                </a:cxn>
                <a:cxn ang="0">
                  <a:pos x="334" y="77"/>
                </a:cxn>
                <a:cxn ang="0">
                  <a:pos x="322" y="215"/>
                </a:cxn>
                <a:cxn ang="0">
                  <a:pos x="342" y="235"/>
                </a:cxn>
                <a:cxn ang="0">
                  <a:pos x="374" y="239"/>
                </a:cxn>
                <a:cxn ang="0">
                  <a:pos x="381" y="294"/>
                </a:cxn>
                <a:cxn ang="0">
                  <a:pos x="370" y="324"/>
                </a:cxn>
                <a:cxn ang="0">
                  <a:pos x="320" y="326"/>
                </a:cxn>
                <a:cxn ang="0">
                  <a:pos x="301" y="302"/>
                </a:cxn>
                <a:cxn ang="0">
                  <a:pos x="291" y="253"/>
                </a:cxn>
                <a:cxn ang="0">
                  <a:pos x="254" y="233"/>
                </a:cxn>
                <a:cxn ang="0">
                  <a:pos x="249" y="215"/>
                </a:cxn>
                <a:cxn ang="0">
                  <a:pos x="213" y="224"/>
                </a:cxn>
                <a:cxn ang="0">
                  <a:pos x="199" y="251"/>
                </a:cxn>
                <a:cxn ang="0">
                  <a:pos x="178" y="243"/>
                </a:cxn>
                <a:cxn ang="0">
                  <a:pos x="164" y="195"/>
                </a:cxn>
                <a:cxn ang="0">
                  <a:pos x="115" y="190"/>
                </a:cxn>
                <a:cxn ang="0">
                  <a:pos x="109" y="297"/>
                </a:cxn>
                <a:cxn ang="0">
                  <a:pos x="67" y="297"/>
                </a:cxn>
                <a:cxn ang="0">
                  <a:pos x="51" y="269"/>
                </a:cxn>
                <a:cxn ang="0">
                  <a:pos x="33" y="270"/>
                </a:cxn>
                <a:cxn ang="0">
                  <a:pos x="32" y="297"/>
                </a:cxn>
                <a:cxn ang="0">
                  <a:pos x="2" y="300"/>
                </a:cxn>
                <a:cxn ang="0">
                  <a:pos x="0" y="422"/>
                </a:cxn>
                <a:cxn ang="0">
                  <a:pos x="5" y="462"/>
                </a:cxn>
                <a:cxn ang="0">
                  <a:pos x="40" y="508"/>
                </a:cxn>
                <a:cxn ang="0">
                  <a:pos x="41" y="531"/>
                </a:cxn>
                <a:cxn ang="0">
                  <a:pos x="65" y="538"/>
                </a:cxn>
                <a:cxn ang="0">
                  <a:pos x="185" y="545"/>
                </a:cxn>
                <a:cxn ang="0">
                  <a:pos x="213" y="535"/>
                </a:cxn>
                <a:cxn ang="0">
                  <a:pos x="254" y="535"/>
                </a:cxn>
                <a:cxn ang="0">
                  <a:pos x="281" y="525"/>
                </a:cxn>
                <a:cxn ang="0">
                  <a:pos x="287" y="493"/>
                </a:cxn>
                <a:cxn ang="0">
                  <a:pos x="310" y="486"/>
                </a:cxn>
                <a:cxn ang="0">
                  <a:pos x="328" y="474"/>
                </a:cxn>
                <a:cxn ang="0">
                  <a:pos x="332" y="442"/>
                </a:cxn>
                <a:cxn ang="0">
                  <a:pos x="374" y="436"/>
                </a:cxn>
                <a:cxn ang="0">
                  <a:pos x="391" y="411"/>
                </a:cxn>
                <a:cxn ang="0">
                  <a:pos x="464" y="395"/>
                </a:cxn>
                <a:cxn ang="0">
                  <a:pos x="477" y="366"/>
                </a:cxn>
                <a:cxn ang="0">
                  <a:pos x="514" y="348"/>
                </a:cxn>
                <a:cxn ang="0">
                  <a:pos x="519" y="263"/>
                </a:cxn>
                <a:cxn ang="0">
                  <a:pos x="546" y="241"/>
                </a:cxn>
                <a:cxn ang="0">
                  <a:pos x="533" y="187"/>
                </a:cxn>
                <a:cxn ang="0">
                  <a:pos x="537" y="125"/>
                </a:cxn>
                <a:cxn ang="0">
                  <a:pos x="508" y="81"/>
                </a:cxn>
                <a:cxn ang="0">
                  <a:pos x="467" y="59"/>
                </a:cxn>
                <a:cxn ang="0">
                  <a:pos x="436" y="25"/>
                </a:cxn>
                <a:cxn ang="0">
                  <a:pos x="429" y="0"/>
                </a:cxn>
                <a:cxn ang="0">
                  <a:pos x="395" y="2"/>
                </a:cxn>
              </a:cxnLst>
              <a:rect l="0" t="0" r="r" b="b"/>
              <a:pathLst>
                <a:path w="546" h="545">
                  <a:moveTo>
                    <a:pt x="395" y="2"/>
                  </a:moveTo>
                  <a:lnTo>
                    <a:pt x="388" y="29"/>
                  </a:lnTo>
                  <a:lnTo>
                    <a:pt x="352" y="45"/>
                  </a:lnTo>
                  <a:lnTo>
                    <a:pt x="334" y="77"/>
                  </a:lnTo>
                  <a:lnTo>
                    <a:pt x="322" y="215"/>
                  </a:lnTo>
                  <a:lnTo>
                    <a:pt x="342" y="235"/>
                  </a:lnTo>
                  <a:lnTo>
                    <a:pt x="374" y="239"/>
                  </a:lnTo>
                  <a:lnTo>
                    <a:pt x="381" y="294"/>
                  </a:lnTo>
                  <a:lnTo>
                    <a:pt x="370" y="324"/>
                  </a:lnTo>
                  <a:lnTo>
                    <a:pt x="320" y="326"/>
                  </a:lnTo>
                  <a:lnTo>
                    <a:pt x="301" y="302"/>
                  </a:lnTo>
                  <a:lnTo>
                    <a:pt x="291" y="253"/>
                  </a:lnTo>
                  <a:lnTo>
                    <a:pt x="254" y="233"/>
                  </a:lnTo>
                  <a:lnTo>
                    <a:pt x="249" y="215"/>
                  </a:lnTo>
                  <a:lnTo>
                    <a:pt x="213" y="224"/>
                  </a:lnTo>
                  <a:lnTo>
                    <a:pt x="199" y="251"/>
                  </a:lnTo>
                  <a:lnTo>
                    <a:pt x="178" y="243"/>
                  </a:lnTo>
                  <a:lnTo>
                    <a:pt x="164" y="195"/>
                  </a:lnTo>
                  <a:lnTo>
                    <a:pt x="115" y="190"/>
                  </a:lnTo>
                  <a:lnTo>
                    <a:pt x="109" y="297"/>
                  </a:lnTo>
                  <a:lnTo>
                    <a:pt x="67" y="297"/>
                  </a:lnTo>
                  <a:lnTo>
                    <a:pt x="51" y="269"/>
                  </a:lnTo>
                  <a:lnTo>
                    <a:pt x="33" y="270"/>
                  </a:lnTo>
                  <a:lnTo>
                    <a:pt x="32" y="297"/>
                  </a:lnTo>
                  <a:lnTo>
                    <a:pt x="2" y="300"/>
                  </a:lnTo>
                  <a:lnTo>
                    <a:pt x="0" y="422"/>
                  </a:lnTo>
                  <a:lnTo>
                    <a:pt x="5" y="462"/>
                  </a:lnTo>
                  <a:lnTo>
                    <a:pt x="40" y="508"/>
                  </a:lnTo>
                  <a:lnTo>
                    <a:pt x="41" y="531"/>
                  </a:lnTo>
                  <a:lnTo>
                    <a:pt x="65" y="538"/>
                  </a:lnTo>
                  <a:lnTo>
                    <a:pt x="185" y="545"/>
                  </a:lnTo>
                  <a:lnTo>
                    <a:pt x="213" y="535"/>
                  </a:lnTo>
                  <a:lnTo>
                    <a:pt x="254" y="535"/>
                  </a:lnTo>
                  <a:lnTo>
                    <a:pt x="281" y="525"/>
                  </a:lnTo>
                  <a:lnTo>
                    <a:pt x="287" y="493"/>
                  </a:lnTo>
                  <a:lnTo>
                    <a:pt x="310" y="486"/>
                  </a:lnTo>
                  <a:lnTo>
                    <a:pt x="328" y="474"/>
                  </a:lnTo>
                  <a:lnTo>
                    <a:pt x="332" y="442"/>
                  </a:lnTo>
                  <a:lnTo>
                    <a:pt x="374" y="436"/>
                  </a:lnTo>
                  <a:lnTo>
                    <a:pt x="391" y="411"/>
                  </a:lnTo>
                  <a:lnTo>
                    <a:pt x="464" y="395"/>
                  </a:lnTo>
                  <a:lnTo>
                    <a:pt x="477" y="366"/>
                  </a:lnTo>
                  <a:lnTo>
                    <a:pt x="514" y="348"/>
                  </a:lnTo>
                  <a:lnTo>
                    <a:pt x="519" y="263"/>
                  </a:lnTo>
                  <a:lnTo>
                    <a:pt x="546" y="241"/>
                  </a:lnTo>
                  <a:lnTo>
                    <a:pt x="533" y="187"/>
                  </a:lnTo>
                  <a:lnTo>
                    <a:pt x="537" y="125"/>
                  </a:lnTo>
                  <a:lnTo>
                    <a:pt x="508" y="81"/>
                  </a:lnTo>
                  <a:lnTo>
                    <a:pt x="467" y="59"/>
                  </a:lnTo>
                  <a:lnTo>
                    <a:pt x="436" y="25"/>
                  </a:lnTo>
                  <a:lnTo>
                    <a:pt x="429" y="0"/>
                  </a:lnTo>
                  <a:lnTo>
                    <a:pt x="395" y="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8" name="Freeform 207"/>
            <p:cNvSpPr>
              <a:spLocks noChangeAspect="1"/>
            </p:cNvSpPr>
            <p:nvPr/>
          </p:nvSpPr>
          <p:spPr bwMode="auto">
            <a:xfrm>
              <a:off x="2849684" y="4123927"/>
              <a:ext cx="52747" cy="111823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4" y="56"/>
                </a:cxn>
                <a:cxn ang="0">
                  <a:pos x="0" y="127"/>
                </a:cxn>
                <a:cxn ang="0">
                  <a:pos x="28" y="190"/>
                </a:cxn>
                <a:cxn ang="0">
                  <a:pos x="90" y="179"/>
                </a:cxn>
                <a:cxn ang="0">
                  <a:pos x="90" y="63"/>
                </a:cxn>
                <a:cxn ang="0">
                  <a:pos x="70" y="36"/>
                </a:cxn>
                <a:cxn ang="0">
                  <a:pos x="31" y="0"/>
                </a:cxn>
              </a:cxnLst>
              <a:rect l="0" t="0" r="r" b="b"/>
              <a:pathLst>
                <a:path w="90" h="190">
                  <a:moveTo>
                    <a:pt x="31" y="0"/>
                  </a:moveTo>
                  <a:lnTo>
                    <a:pt x="4" y="56"/>
                  </a:lnTo>
                  <a:lnTo>
                    <a:pt x="0" y="127"/>
                  </a:lnTo>
                  <a:lnTo>
                    <a:pt x="28" y="190"/>
                  </a:lnTo>
                  <a:lnTo>
                    <a:pt x="90" y="179"/>
                  </a:lnTo>
                  <a:lnTo>
                    <a:pt x="90" y="63"/>
                  </a:lnTo>
                  <a:lnTo>
                    <a:pt x="70" y="36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79" name="Freeform 208"/>
            <p:cNvSpPr>
              <a:spLocks noChangeAspect="1"/>
            </p:cNvSpPr>
            <p:nvPr/>
          </p:nvSpPr>
          <p:spPr bwMode="auto">
            <a:xfrm>
              <a:off x="585077" y="3964180"/>
              <a:ext cx="210988" cy="156197"/>
            </a:xfrm>
            <a:custGeom>
              <a:avLst/>
              <a:gdLst/>
              <a:ahLst/>
              <a:cxnLst>
                <a:cxn ang="0">
                  <a:pos x="360" y="133"/>
                </a:cxn>
                <a:cxn ang="0">
                  <a:pos x="347" y="181"/>
                </a:cxn>
                <a:cxn ang="0">
                  <a:pos x="297" y="197"/>
                </a:cxn>
                <a:cxn ang="0">
                  <a:pos x="261" y="245"/>
                </a:cxn>
                <a:cxn ang="0">
                  <a:pos x="239" y="248"/>
                </a:cxn>
                <a:cxn ang="0">
                  <a:pos x="201" y="241"/>
                </a:cxn>
                <a:cxn ang="0">
                  <a:pos x="169" y="221"/>
                </a:cxn>
                <a:cxn ang="0">
                  <a:pos x="142" y="221"/>
                </a:cxn>
                <a:cxn ang="0">
                  <a:pos x="119" y="263"/>
                </a:cxn>
                <a:cxn ang="0">
                  <a:pos x="29" y="260"/>
                </a:cxn>
                <a:cxn ang="0">
                  <a:pos x="0" y="240"/>
                </a:cxn>
                <a:cxn ang="0">
                  <a:pos x="15" y="178"/>
                </a:cxn>
                <a:cxn ang="0">
                  <a:pos x="46" y="134"/>
                </a:cxn>
                <a:cxn ang="0">
                  <a:pos x="62" y="99"/>
                </a:cxn>
                <a:cxn ang="0">
                  <a:pos x="74" y="75"/>
                </a:cxn>
                <a:cxn ang="0">
                  <a:pos x="134" y="55"/>
                </a:cxn>
                <a:cxn ang="0">
                  <a:pos x="157" y="31"/>
                </a:cxn>
                <a:cxn ang="0">
                  <a:pos x="180" y="0"/>
                </a:cxn>
                <a:cxn ang="0">
                  <a:pos x="257" y="4"/>
                </a:cxn>
                <a:cxn ang="0">
                  <a:pos x="273" y="30"/>
                </a:cxn>
                <a:cxn ang="0">
                  <a:pos x="301" y="46"/>
                </a:cxn>
                <a:cxn ang="0">
                  <a:pos x="305" y="94"/>
                </a:cxn>
                <a:cxn ang="0">
                  <a:pos x="336" y="98"/>
                </a:cxn>
                <a:cxn ang="0">
                  <a:pos x="360" y="133"/>
                </a:cxn>
              </a:cxnLst>
              <a:rect l="0" t="0" r="r" b="b"/>
              <a:pathLst>
                <a:path w="360" h="263">
                  <a:moveTo>
                    <a:pt x="360" y="133"/>
                  </a:moveTo>
                  <a:lnTo>
                    <a:pt x="347" y="181"/>
                  </a:lnTo>
                  <a:lnTo>
                    <a:pt x="297" y="197"/>
                  </a:lnTo>
                  <a:lnTo>
                    <a:pt x="261" y="245"/>
                  </a:lnTo>
                  <a:lnTo>
                    <a:pt x="239" y="248"/>
                  </a:lnTo>
                  <a:lnTo>
                    <a:pt x="201" y="241"/>
                  </a:lnTo>
                  <a:lnTo>
                    <a:pt x="169" y="221"/>
                  </a:lnTo>
                  <a:lnTo>
                    <a:pt x="142" y="221"/>
                  </a:lnTo>
                  <a:lnTo>
                    <a:pt x="119" y="263"/>
                  </a:lnTo>
                  <a:lnTo>
                    <a:pt x="29" y="260"/>
                  </a:lnTo>
                  <a:lnTo>
                    <a:pt x="0" y="240"/>
                  </a:lnTo>
                  <a:lnTo>
                    <a:pt x="15" y="178"/>
                  </a:lnTo>
                  <a:lnTo>
                    <a:pt x="46" y="134"/>
                  </a:lnTo>
                  <a:lnTo>
                    <a:pt x="62" y="99"/>
                  </a:lnTo>
                  <a:lnTo>
                    <a:pt x="74" y="75"/>
                  </a:lnTo>
                  <a:lnTo>
                    <a:pt x="134" y="55"/>
                  </a:lnTo>
                  <a:lnTo>
                    <a:pt x="157" y="31"/>
                  </a:lnTo>
                  <a:lnTo>
                    <a:pt x="180" y="0"/>
                  </a:lnTo>
                  <a:lnTo>
                    <a:pt x="257" y="4"/>
                  </a:lnTo>
                  <a:lnTo>
                    <a:pt x="273" y="30"/>
                  </a:lnTo>
                  <a:lnTo>
                    <a:pt x="301" y="46"/>
                  </a:lnTo>
                  <a:lnTo>
                    <a:pt x="305" y="94"/>
                  </a:lnTo>
                  <a:lnTo>
                    <a:pt x="336" y="98"/>
                  </a:lnTo>
                  <a:lnTo>
                    <a:pt x="360" y="13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0" name="Freeform 209"/>
            <p:cNvSpPr>
              <a:spLocks noChangeAspect="1"/>
            </p:cNvSpPr>
            <p:nvPr/>
          </p:nvSpPr>
          <p:spPr bwMode="auto">
            <a:xfrm>
              <a:off x="330133" y="4035178"/>
              <a:ext cx="209230" cy="172172"/>
            </a:xfrm>
            <a:custGeom>
              <a:avLst/>
              <a:gdLst/>
              <a:ahLst/>
              <a:cxnLst>
                <a:cxn ang="0">
                  <a:pos x="0" y="51"/>
                </a:cxn>
                <a:cxn ang="0">
                  <a:pos x="24" y="19"/>
                </a:cxn>
                <a:cxn ang="0">
                  <a:pos x="79" y="0"/>
                </a:cxn>
                <a:cxn ang="0">
                  <a:pos x="143" y="11"/>
                </a:cxn>
                <a:cxn ang="0">
                  <a:pos x="194" y="11"/>
                </a:cxn>
                <a:cxn ang="0">
                  <a:pos x="240" y="24"/>
                </a:cxn>
                <a:cxn ang="0">
                  <a:pos x="292" y="36"/>
                </a:cxn>
                <a:cxn ang="0">
                  <a:pos x="328" y="71"/>
                </a:cxn>
                <a:cxn ang="0">
                  <a:pos x="341" y="134"/>
                </a:cxn>
                <a:cxn ang="0">
                  <a:pos x="324" y="169"/>
                </a:cxn>
                <a:cxn ang="0">
                  <a:pos x="357" y="197"/>
                </a:cxn>
                <a:cxn ang="0">
                  <a:pos x="305" y="232"/>
                </a:cxn>
                <a:cxn ang="0">
                  <a:pos x="293" y="292"/>
                </a:cxn>
                <a:cxn ang="0">
                  <a:pos x="256" y="281"/>
                </a:cxn>
                <a:cxn ang="0">
                  <a:pos x="229" y="226"/>
                </a:cxn>
                <a:cxn ang="0">
                  <a:pos x="216" y="174"/>
                </a:cxn>
                <a:cxn ang="0">
                  <a:pos x="166" y="147"/>
                </a:cxn>
                <a:cxn ang="0">
                  <a:pos x="126" y="167"/>
                </a:cxn>
                <a:cxn ang="0">
                  <a:pos x="78" y="178"/>
                </a:cxn>
                <a:cxn ang="0">
                  <a:pos x="23" y="119"/>
                </a:cxn>
                <a:cxn ang="0">
                  <a:pos x="0" y="51"/>
                </a:cxn>
              </a:cxnLst>
              <a:rect l="0" t="0" r="r" b="b"/>
              <a:pathLst>
                <a:path w="357" h="292">
                  <a:moveTo>
                    <a:pt x="0" y="51"/>
                  </a:moveTo>
                  <a:lnTo>
                    <a:pt x="24" y="19"/>
                  </a:lnTo>
                  <a:lnTo>
                    <a:pt x="79" y="0"/>
                  </a:lnTo>
                  <a:lnTo>
                    <a:pt x="143" y="11"/>
                  </a:lnTo>
                  <a:lnTo>
                    <a:pt x="194" y="11"/>
                  </a:lnTo>
                  <a:lnTo>
                    <a:pt x="240" y="24"/>
                  </a:lnTo>
                  <a:lnTo>
                    <a:pt x="292" y="36"/>
                  </a:lnTo>
                  <a:lnTo>
                    <a:pt x="328" y="71"/>
                  </a:lnTo>
                  <a:lnTo>
                    <a:pt x="341" y="134"/>
                  </a:lnTo>
                  <a:lnTo>
                    <a:pt x="324" y="169"/>
                  </a:lnTo>
                  <a:lnTo>
                    <a:pt x="357" y="197"/>
                  </a:lnTo>
                  <a:lnTo>
                    <a:pt x="305" y="232"/>
                  </a:lnTo>
                  <a:lnTo>
                    <a:pt x="293" y="292"/>
                  </a:lnTo>
                  <a:lnTo>
                    <a:pt x="256" y="281"/>
                  </a:lnTo>
                  <a:lnTo>
                    <a:pt x="229" y="226"/>
                  </a:lnTo>
                  <a:lnTo>
                    <a:pt x="216" y="174"/>
                  </a:lnTo>
                  <a:lnTo>
                    <a:pt x="166" y="147"/>
                  </a:lnTo>
                  <a:lnTo>
                    <a:pt x="126" y="167"/>
                  </a:lnTo>
                  <a:lnTo>
                    <a:pt x="78" y="178"/>
                  </a:lnTo>
                  <a:lnTo>
                    <a:pt x="23" y="119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1" name="Freeform 210"/>
            <p:cNvSpPr>
              <a:spLocks noChangeAspect="1"/>
            </p:cNvSpPr>
            <p:nvPr/>
          </p:nvSpPr>
          <p:spPr bwMode="auto">
            <a:xfrm>
              <a:off x="651889" y="4095527"/>
              <a:ext cx="98462" cy="175722"/>
            </a:xfrm>
            <a:custGeom>
              <a:avLst/>
              <a:gdLst/>
              <a:ahLst/>
              <a:cxnLst>
                <a:cxn ang="0">
                  <a:pos x="8" y="287"/>
                </a:cxn>
                <a:cxn ang="0">
                  <a:pos x="0" y="212"/>
                </a:cxn>
                <a:cxn ang="0">
                  <a:pos x="8" y="142"/>
                </a:cxn>
                <a:cxn ang="0">
                  <a:pos x="32" y="138"/>
                </a:cxn>
                <a:cxn ang="0">
                  <a:pos x="35" y="101"/>
                </a:cxn>
                <a:cxn ang="0">
                  <a:pos x="8" y="86"/>
                </a:cxn>
                <a:cxn ang="0">
                  <a:pos x="4" y="42"/>
                </a:cxn>
                <a:cxn ang="0">
                  <a:pos x="27" y="0"/>
                </a:cxn>
                <a:cxn ang="0">
                  <a:pos x="54" y="0"/>
                </a:cxn>
                <a:cxn ang="0">
                  <a:pos x="86" y="20"/>
                </a:cxn>
                <a:cxn ang="0">
                  <a:pos x="124" y="27"/>
                </a:cxn>
                <a:cxn ang="0">
                  <a:pos x="130" y="71"/>
                </a:cxn>
                <a:cxn ang="0">
                  <a:pos x="148" y="84"/>
                </a:cxn>
                <a:cxn ang="0">
                  <a:pos x="145" y="123"/>
                </a:cxn>
                <a:cxn ang="0">
                  <a:pos x="153" y="186"/>
                </a:cxn>
                <a:cxn ang="0">
                  <a:pos x="168" y="246"/>
                </a:cxn>
                <a:cxn ang="0">
                  <a:pos x="148" y="268"/>
                </a:cxn>
                <a:cxn ang="0">
                  <a:pos x="113" y="268"/>
                </a:cxn>
                <a:cxn ang="0">
                  <a:pos x="93" y="292"/>
                </a:cxn>
                <a:cxn ang="0">
                  <a:pos x="58" y="296"/>
                </a:cxn>
                <a:cxn ang="0">
                  <a:pos x="8" y="287"/>
                </a:cxn>
              </a:cxnLst>
              <a:rect l="0" t="0" r="r" b="b"/>
              <a:pathLst>
                <a:path w="168" h="296">
                  <a:moveTo>
                    <a:pt x="8" y="287"/>
                  </a:moveTo>
                  <a:lnTo>
                    <a:pt x="0" y="212"/>
                  </a:lnTo>
                  <a:lnTo>
                    <a:pt x="8" y="142"/>
                  </a:lnTo>
                  <a:lnTo>
                    <a:pt x="32" y="138"/>
                  </a:lnTo>
                  <a:lnTo>
                    <a:pt x="35" y="101"/>
                  </a:lnTo>
                  <a:lnTo>
                    <a:pt x="8" y="86"/>
                  </a:lnTo>
                  <a:lnTo>
                    <a:pt x="4" y="42"/>
                  </a:lnTo>
                  <a:lnTo>
                    <a:pt x="27" y="0"/>
                  </a:lnTo>
                  <a:lnTo>
                    <a:pt x="54" y="0"/>
                  </a:lnTo>
                  <a:lnTo>
                    <a:pt x="86" y="20"/>
                  </a:lnTo>
                  <a:lnTo>
                    <a:pt x="124" y="27"/>
                  </a:lnTo>
                  <a:lnTo>
                    <a:pt x="130" y="71"/>
                  </a:lnTo>
                  <a:lnTo>
                    <a:pt x="148" y="84"/>
                  </a:lnTo>
                  <a:lnTo>
                    <a:pt x="145" y="123"/>
                  </a:lnTo>
                  <a:lnTo>
                    <a:pt x="153" y="186"/>
                  </a:lnTo>
                  <a:lnTo>
                    <a:pt x="168" y="246"/>
                  </a:lnTo>
                  <a:lnTo>
                    <a:pt x="148" y="268"/>
                  </a:lnTo>
                  <a:lnTo>
                    <a:pt x="113" y="268"/>
                  </a:lnTo>
                  <a:lnTo>
                    <a:pt x="93" y="292"/>
                  </a:lnTo>
                  <a:lnTo>
                    <a:pt x="58" y="296"/>
                  </a:lnTo>
                  <a:lnTo>
                    <a:pt x="8" y="28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2" name="Freeform 211"/>
            <p:cNvSpPr>
              <a:spLocks noChangeAspect="1"/>
            </p:cNvSpPr>
            <p:nvPr/>
          </p:nvSpPr>
          <p:spPr bwMode="auto">
            <a:xfrm>
              <a:off x="1509908" y="4496669"/>
              <a:ext cx="45714" cy="49699"/>
            </a:xfrm>
            <a:custGeom>
              <a:avLst/>
              <a:gdLst/>
              <a:ahLst/>
              <a:cxnLst>
                <a:cxn ang="0">
                  <a:pos x="42" y="78"/>
                </a:cxn>
                <a:cxn ang="0">
                  <a:pos x="78" y="73"/>
                </a:cxn>
                <a:cxn ang="0">
                  <a:pos x="73" y="22"/>
                </a:cxn>
                <a:cxn ang="0">
                  <a:pos x="61" y="0"/>
                </a:cxn>
                <a:cxn ang="0">
                  <a:pos x="46" y="20"/>
                </a:cxn>
                <a:cxn ang="0">
                  <a:pos x="8" y="20"/>
                </a:cxn>
                <a:cxn ang="0">
                  <a:pos x="0" y="69"/>
                </a:cxn>
                <a:cxn ang="0">
                  <a:pos x="18" y="85"/>
                </a:cxn>
                <a:cxn ang="0">
                  <a:pos x="42" y="78"/>
                </a:cxn>
              </a:cxnLst>
              <a:rect l="0" t="0" r="r" b="b"/>
              <a:pathLst>
                <a:path w="78" h="85">
                  <a:moveTo>
                    <a:pt x="42" y="78"/>
                  </a:moveTo>
                  <a:lnTo>
                    <a:pt x="78" y="73"/>
                  </a:lnTo>
                  <a:lnTo>
                    <a:pt x="73" y="22"/>
                  </a:lnTo>
                  <a:lnTo>
                    <a:pt x="61" y="0"/>
                  </a:lnTo>
                  <a:lnTo>
                    <a:pt x="46" y="20"/>
                  </a:lnTo>
                  <a:lnTo>
                    <a:pt x="8" y="20"/>
                  </a:lnTo>
                  <a:lnTo>
                    <a:pt x="0" y="69"/>
                  </a:lnTo>
                  <a:lnTo>
                    <a:pt x="18" y="85"/>
                  </a:lnTo>
                  <a:lnTo>
                    <a:pt x="42" y="7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3" name="Freeform 212"/>
            <p:cNvSpPr>
              <a:spLocks noChangeAspect="1"/>
            </p:cNvSpPr>
            <p:nvPr/>
          </p:nvSpPr>
          <p:spPr bwMode="auto">
            <a:xfrm>
              <a:off x="1161778" y="5112582"/>
              <a:ext cx="437800" cy="411792"/>
            </a:xfrm>
            <a:custGeom>
              <a:avLst/>
              <a:gdLst/>
              <a:ahLst/>
              <a:cxnLst>
                <a:cxn ang="0">
                  <a:pos x="687" y="29"/>
                </a:cxn>
                <a:cxn ang="0">
                  <a:pos x="638" y="29"/>
                </a:cxn>
                <a:cxn ang="0">
                  <a:pos x="624" y="14"/>
                </a:cxn>
                <a:cxn ang="0">
                  <a:pos x="594" y="0"/>
                </a:cxn>
                <a:cxn ang="0">
                  <a:pos x="581" y="28"/>
                </a:cxn>
                <a:cxn ang="0">
                  <a:pos x="554" y="49"/>
                </a:cxn>
                <a:cxn ang="0">
                  <a:pos x="529" y="77"/>
                </a:cxn>
                <a:cxn ang="0">
                  <a:pos x="493" y="94"/>
                </a:cxn>
                <a:cxn ang="0">
                  <a:pos x="481" y="139"/>
                </a:cxn>
                <a:cxn ang="0">
                  <a:pos x="452" y="146"/>
                </a:cxn>
                <a:cxn ang="0">
                  <a:pos x="433" y="176"/>
                </a:cxn>
                <a:cxn ang="0">
                  <a:pos x="406" y="203"/>
                </a:cxn>
                <a:cxn ang="0">
                  <a:pos x="363" y="203"/>
                </a:cxn>
                <a:cxn ang="0">
                  <a:pos x="333" y="186"/>
                </a:cxn>
                <a:cxn ang="0">
                  <a:pos x="308" y="186"/>
                </a:cxn>
                <a:cxn ang="0">
                  <a:pos x="290" y="208"/>
                </a:cxn>
                <a:cxn ang="0">
                  <a:pos x="280" y="239"/>
                </a:cxn>
                <a:cxn ang="0">
                  <a:pos x="254" y="255"/>
                </a:cxn>
                <a:cxn ang="0">
                  <a:pos x="192" y="241"/>
                </a:cxn>
                <a:cxn ang="0">
                  <a:pos x="181" y="193"/>
                </a:cxn>
                <a:cxn ang="0">
                  <a:pos x="164" y="172"/>
                </a:cxn>
                <a:cxn ang="0">
                  <a:pos x="152" y="350"/>
                </a:cxn>
                <a:cxn ang="0">
                  <a:pos x="124" y="378"/>
                </a:cxn>
                <a:cxn ang="0">
                  <a:pos x="65" y="372"/>
                </a:cxn>
                <a:cxn ang="0">
                  <a:pos x="44" y="334"/>
                </a:cxn>
                <a:cxn ang="0">
                  <a:pos x="34" y="348"/>
                </a:cxn>
                <a:cxn ang="0">
                  <a:pos x="0" y="352"/>
                </a:cxn>
                <a:cxn ang="0">
                  <a:pos x="8" y="373"/>
                </a:cxn>
                <a:cxn ang="0">
                  <a:pos x="8" y="422"/>
                </a:cxn>
                <a:cxn ang="0">
                  <a:pos x="40" y="435"/>
                </a:cxn>
                <a:cxn ang="0">
                  <a:pos x="43" y="497"/>
                </a:cxn>
                <a:cxn ang="0">
                  <a:pos x="64" y="505"/>
                </a:cxn>
                <a:cxn ang="0">
                  <a:pos x="64" y="524"/>
                </a:cxn>
                <a:cxn ang="0">
                  <a:pos x="85" y="525"/>
                </a:cxn>
                <a:cxn ang="0">
                  <a:pos x="78" y="565"/>
                </a:cxn>
                <a:cxn ang="0">
                  <a:pos x="54" y="583"/>
                </a:cxn>
                <a:cxn ang="0">
                  <a:pos x="139" y="689"/>
                </a:cxn>
                <a:cxn ang="0">
                  <a:pos x="192" y="696"/>
                </a:cxn>
                <a:cxn ang="0">
                  <a:pos x="225" y="676"/>
                </a:cxn>
                <a:cxn ang="0">
                  <a:pos x="249" y="640"/>
                </a:cxn>
                <a:cxn ang="0">
                  <a:pos x="343" y="644"/>
                </a:cxn>
                <a:cxn ang="0">
                  <a:pos x="353" y="662"/>
                </a:cxn>
                <a:cxn ang="0">
                  <a:pos x="404" y="638"/>
                </a:cxn>
                <a:cxn ang="0">
                  <a:pos x="428" y="620"/>
                </a:cxn>
                <a:cxn ang="0">
                  <a:pos x="495" y="610"/>
                </a:cxn>
                <a:cxn ang="0">
                  <a:pos x="531" y="589"/>
                </a:cxn>
                <a:cxn ang="0">
                  <a:pos x="562" y="527"/>
                </a:cxn>
                <a:cxn ang="0">
                  <a:pos x="605" y="500"/>
                </a:cxn>
                <a:cxn ang="0">
                  <a:pos x="663" y="446"/>
                </a:cxn>
                <a:cxn ang="0">
                  <a:pos x="673" y="394"/>
                </a:cxn>
                <a:cxn ang="0">
                  <a:pos x="687" y="349"/>
                </a:cxn>
                <a:cxn ang="0">
                  <a:pos x="722" y="343"/>
                </a:cxn>
                <a:cxn ang="0">
                  <a:pos x="748" y="293"/>
                </a:cxn>
                <a:cxn ang="0">
                  <a:pos x="712" y="280"/>
                </a:cxn>
                <a:cxn ang="0">
                  <a:pos x="702" y="242"/>
                </a:cxn>
                <a:cxn ang="0">
                  <a:pos x="684" y="208"/>
                </a:cxn>
                <a:cxn ang="0">
                  <a:pos x="687" y="163"/>
                </a:cxn>
                <a:cxn ang="0">
                  <a:pos x="687" y="108"/>
                </a:cxn>
                <a:cxn ang="0">
                  <a:pos x="687" y="29"/>
                </a:cxn>
              </a:cxnLst>
              <a:rect l="0" t="0" r="r" b="b"/>
              <a:pathLst>
                <a:path w="748" h="696">
                  <a:moveTo>
                    <a:pt x="687" y="29"/>
                  </a:moveTo>
                  <a:lnTo>
                    <a:pt x="638" y="29"/>
                  </a:lnTo>
                  <a:lnTo>
                    <a:pt x="624" y="14"/>
                  </a:lnTo>
                  <a:lnTo>
                    <a:pt x="594" y="0"/>
                  </a:lnTo>
                  <a:lnTo>
                    <a:pt x="581" y="28"/>
                  </a:lnTo>
                  <a:lnTo>
                    <a:pt x="554" y="49"/>
                  </a:lnTo>
                  <a:lnTo>
                    <a:pt x="529" y="77"/>
                  </a:lnTo>
                  <a:lnTo>
                    <a:pt x="493" y="94"/>
                  </a:lnTo>
                  <a:lnTo>
                    <a:pt x="481" y="139"/>
                  </a:lnTo>
                  <a:lnTo>
                    <a:pt x="452" y="146"/>
                  </a:lnTo>
                  <a:lnTo>
                    <a:pt x="433" y="176"/>
                  </a:lnTo>
                  <a:lnTo>
                    <a:pt x="406" y="203"/>
                  </a:lnTo>
                  <a:lnTo>
                    <a:pt x="363" y="203"/>
                  </a:lnTo>
                  <a:lnTo>
                    <a:pt x="333" y="186"/>
                  </a:lnTo>
                  <a:lnTo>
                    <a:pt x="308" y="186"/>
                  </a:lnTo>
                  <a:lnTo>
                    <a:pt x="290" y="208"/>
                  </a:lnTo>
                  <a:lnTo>
                    <a:pt x="280" y="239"/>
                  </a:lnTo>
                  <a:lnTo>
                    <a:pt x="254" y="255"/>
                  </a:lnTo>
                  <a:lnTo>
                    <a:pt x="192" y="241"/>
                  </a:lnTo>
                  <a:lnTo>
                    <a:pt x="181" y="193"/>
                  </a:lnTo>
                  <a:lnTo>
                    <a:pt x="164" y="172"/>
                  </a:lnTo>
                  <a:lnTo>
                    <a:pt x="152" y="350"/>
                  </a:lnTo>
                  <a:lnTo>
                    <a:pt x="124" y="378"/>
                  </a:lnTo>
                  <a:lnTo>
                    <a:pt x="65" y="372"/>
                  </a:lnTo>
                  <a:lnTo>
                    <a:pt x="44" y="334"/>
                  </a:lnTo>
                  <a:lnTo>
                    <a:pt x="34" y="348"/>
                  </a:lnTo>
                  <a:lnTo>
                    <a:pt x="0" y="352"/>
                  </a:lnTo>
                  <a:lnTo>
                    <a:pt x="8" y="373"/>
                  </a:lnTo>
                  <a:lnTo>
                    <a:pt x="8" y="422"/>
                  </a:lnTo>
                  <a:lnTo>
                    <a:pt x="40" y="435"/>
                  </a:lnTo>
                  <a:lnTo>
                    <a:pt x="43" y="497"/>
                  </a:lnTo>
                  <a:lnTo>
                    <a:pt x="64" y="505"/>
                  </a:lnTo>
                  <a:lnTo>
                    <a:pt x="64" y="524"/>
                  </a:lnTo>
                  <a:lnTo>
                    <a:pt x="85" y="525"/>
                  </a:lnTo>
                  <a:lnTo>
                    <a:pt x="78" y="565"/>
                  </a:lnTo>
                  <a:lnTo>
                    <a:pt x="54" y="583"/>
                  </a:lnTo>
                  <a:lnTo>
                    <a:pt x="139" y="689"/>
                  </a:lnTo>
                  <a:lnTo>
                    <a:pt x="192" y="696"/>
                  </a:lnTo>
                  <a:lnTo>
                    <a:pt x="225" y="676"/>
                  </a:lnTo>
                  <a:lnTo>
                    <a:pt x="249" y="640"/>
                  </a:lnTo>
                  <a:lnTo>
                    <a:pt x="343" y="644"/>
                  </a:lnTo>
                  <a:lnTo>
                    <a:pt x="353" y="662"/>
                  </a:lnTo>
                  <a:lnTo>
                    <a:pt x="404" y="638"/>
                  </a:lnTo>
                  <a:lnTo>
                    <a:pt x="428" y="620"/>
                  </a:lnTo>
                  <a:lnTo>
                    <a:pt x="495" y="610"/>
                  </a:lnTo>
                  <a:lnTo>
                    <a:pt x="531" y="589"/>
                  </a:lnTo>
                  <a:lnTo>
                    <a:pt x="562" y="527"/>
                  </a:lnTo>
                  <a:lnTo>
                    <a:pt x="605" y="500"/>
                  </a:lnTo>
                  <a:lnTo>
                    <a:pt x="663" y="446"/>
                  </a:lnTo>
                  <a:lnTo>
                    <a:pt x="673" y="394"/>
                  </a:lnTo>
                  <a:lnTo>
                    <a:pt x="687" y="349"/>
                  </a:lnTo>
                  <a:lnTo>
                    <a:pt x="722" y="343"/>
                  </a:lnTo>
                  <a:lnTo>
                    <a:pt x="748" y="293"/>
                  </a:lnTo>
                  <a:lnTo>
                    <a:pt x="712" y="280"/>
                  </a:lnTo>
                  <a:lnTo>
                    <a:pt x="702" y="242"/>
                  </a:lnTo>
                  <a:lnTo>
                    <a:pt x="684" y="208"/>
                  </a:lnTo>
                  <a:lnTo>
                    <a:pt x="687" y="163"/>
                  </a:lnTo>
                  <a:lnTo>
                    <a:pt x="687" y="108"/>
                  </a:lnTo>
                  <a:lnTo>
                    <a:pt x="687" y="2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4" name="Freeform 213"/>
            <p:cNvSpPr>
              <a:spLocks noChangeAspect="1"/>
            </p:cNvSpPr>
            <p:nvPr/>
          </p:nvSpPr>
          <p:spPr bwMode="auto">
            <a:xfrm>
              <a:off x="1532765" y="4746939"/>
              <a:ext cx="277802" cy="539590"/>
            </a:xfrm>
            <a:custGeom>
              <a:avLst/>
              <a:gdLst/>
              <a:ahLst/>
              <a:cxnLst>
                <a:cxn ang="0">
                  <a:pos x="77" y="899"/>
                </a:cxn>
                <a:cxn ang="0">
                  <a:pos x="49" y="827"/>
                </a:cxn>
                <a:cxn ang="0">
                  <a:pos x="52" y="727"/>
                </a:cxn>
                <a:cxn ang="0">
                  <a:pos x="62" y="613"/>
                </a:cxn>
                <a:cxn ang="0">
                  <a:pos x="86" y="535"/>
                </a:cxn>
                <a:cxn ang="0">
                  <a:pos x="131" y="492"/>
                </a:cxn>
                <a:cxn ang="0">
                  <a:pos x="111" y="417"/>
                </a:cxn>
                <a:cxn ang="0">
                  <a:pos x="103" y="309"/>
                </a:cxn>
                <a:cxn ang="0">
                  <a:pos x="18" y="261"/>
                </a:cxn>
                <a:cxn ang="0">
                  <a:pos x="73" y="239"/>
                </a:cxn>
                <a:cxn ang="0">
                  <a:pos x="123" y="192"/>
                </a:cxn>
                <a:cxn ang="0">
                  <a:pos x="192" y="217"/>
                </a:cxn>
                <a:cxn ang="0">
                  <a:pos x="174" y="299"/>
                </a:cxn>
                <a:cxn ang="0">
                  <a:pos x="225" y="314"/>
                </a:cxn>
                <a:cxn ang="0">
                  <a:pos x="269" y="259"/>
                </a:cxn>
                <a:cxn ang="0">
                  <a:pos x="249" y="186"/>
                </a:cxn>
                <a:cxn ang="0">
                  <a:pos x="217" y="142"/>
                </a:cxn>
                <a:cxn ang="0">
                  <a:pos x="204" y="85"/>
                </a:cxn>
                <a:cxn ang="0">
                  <a:pos x="206" y="0"/>
                </a:cxn>
                <a:cxn ang="0">
                  <a:pos x="253" y="58"/>
                </a:cxn>
                <a:cxn ang="0">
                  <a:pos x="356" y="35"/>
                </a:cxn>
                <a:cxn ang="0">
                  <a:pos x="420" y="16"/>
                </a:cxn>
                <a:cxn ang="0">
                  <a:pos x="472" y="95"/>
                </a:cxn>
                <a:cxn ang="0">
                  <a:pos x="442" y="296"/>
                </a:cxn>
                <a:cxn ang="0">
                  <a:pos x="358" y="338"/>
                </a:cxn>
                <a:cxn ang="0">
                  <a:pos x="320" y="372"/>
                </a:cxn>
                <a:cxn ang="0">
                  <a:pos x="297" y="443"/>
                </a:cxn>
                <a:cxn ang="0">
                  <a:pos x="231" y="472"/>
                </a:cxn>
                <a:cxn ang="0">
                  <a:pos x="216" y="596"/>
                </a:cxn>
                <a:cxn ang="0">
                  <a:pos x="228" y="696"/>
                </a:cxn>
                <a:cxn ang="0">
                  <a:pos x="216" y="743"/>
                </a:cxn>
                <a:cxn ang="0">
                  <a:pos x="176" y="767"/>
                </a:cxn>
                <a:cxn ang="0">
                  <a:pos x="125" y="785"/>
                </a:cxn>
                <a:cxn ang="0">
                  <a:pos x="121" y="851"/>
                </a:cxn>
                <a:cxn ang="0">
                  <a:pos x="113" y="912"/>
                </a:cxn>
              </a:cxnLst>
              <a:rect l="0" t="0" r="r" b="b"/>
              <a:pathLst>
                <a:path w="472" h="912">
                  <a:moveTo>
                    <a:pt x="113" y="912"/>
                  </a:moveTo>
                  <a:lnTo>
                    <a:pt x="77" y="899"/>
                  </a:lnTo>
                  <a:lnTo>
                    <a:pt x="67" y="861"/>
                  </a:lnTo>
                  <a:lnTo>
                    <a:pt x="49" y="827"/>
                  </a:lnTo>
                  <a:lnTo>
                    <a:pt x="52" y="782"/>
                  </a:lnTo>
                  <a:lnTo>
                    <a:pt x="52" y="727"/>
                  </a:lnTo>
                  <a:lnTo>
                    <a:pt x="52" y="648"/>
                  </a:lnTo>
                  <a:lnTo>
                    <a:pt x="62" y="613"/>
                  </a:lnTo>
                  <a:lnTo>
                    <a:pt x="87" y="596"/>
                  </a:lnTo>
                  <a:lnTo>
                    <a:pt x="86" y="535"/>
                  </a:lnTo>
                  <a:lnTo>
                    <a:pt x="115" y="516"/>
                  </a:lnTo>
                  <a:lnTo>
                    <a:pt x="131" y="492"/>
                  </a:lnTo>
                  <a:lnTo>
                    <a:pt x="113" y="451"/>
                  </a:lnTo>
                  <a:lnTo>
                    <a:pt x="111" y="417"/>
                  </a:lnTo>
                  <a:lnTo>
                    <a:pt x="127" y="354"/>
                  </a:lnTo>
                  <a:lnTo>
                    <a:pt x="103" y="309"/>
                  </a:lnTo>
                  <a:lnTo>
                    <a:pt x="38" y="296"/>
                  </a:lnTo>
                  <a:lnTo>
                    <a:pt x="18" y="261"/>
                  </a:lnTo>
                  <a:lnTo>
                    <a:pt x="0" y="255"/>
                  </a:lnTo>
                  <a:lnTo>
                    <a:pt x="73" y="239"/>
                  </a:lnTo>
                  <a:lnTo>
                    <a:pt x="86" y="210"/>
                  </a:lnTo>
                  <a:lnTo>
                    <a:pt x="123" y="192"/>
                  </a:lnTo>
                  <a:lnTo>
                    <a:pt x="156" y="207"/>
                  </a:lnTo>
                  <a:lnTo>
                    <a:pt x="192" y="217"/>
                  </a:lnTo>
                  <a:lnTo>
                    <a:pt x="190" y="252"/>
                  </a:lnTo>
                  <a:lnTo>
                    <a:pt x="174" y="299"/>
                  </a:lnTo>
                  <a:lnTo>
                    <a:pt x="194" y="320"/>
                  </a:lnTo>
                  <a:lnTo>
                    <a:pt x="225" y="314"/>
                  </a:lnTo>
                  <a:lnTo>
                    <a:pt x="239" y="280"/>
                  </a:lnTo>
                  <a:lnTo>
                    <a:pt x="269" y="259"/>
                  </a:lnTo>
                  <a:lnTo>
                    <a:pt x="261" y="217"/>
                  </a:lnTo>
                  <a:lnTo>
                    <a:pt x="249" y="186"/>
                  </a:lnTo>
                  <a:lnTo>
                    <a:pt x="230" y="158"/>
                  </a:lnTo>
                  <a:lnTo>
                    <a:pt x="217" y="142"/>
                  </a:lnTo>
                  <a:lnTo>
                    <a:pt x="197" y="118"/>
                  </a:lnTo>
                  <a:lnTo>
                    <a:pt x="204" y="85"/>
                  </a:lnTo>
                  <a:lnTo>
                    <a:pt x="214" y="45"/>
                  </a:lnTo>
                  <a:lnTo>
                    <a:pt x="206" y="0"/>
                  </a:lnTo>
                  <a:lnTo>
                    <a:pt x="244" y="31"/>
                  </a:lnTo>
                  <a:lnTo>
                    <a:pt x="253" y="58"/>
                  </a:lnTo>
                  <a:lnTo>
                    <a:pt x="346" y="65"/>
                  </a:lnTo>
                  <a:lnTo>
                    <a:pt x="356" y="35"/>
                  </a:lnTo>
                  <a:lnTo>
                    <a:pt x="407" y="35"/>
                  </a:lnTo>
                  <a:lnTo>
                    <a:pt x="420" y="16"/>
                  </a:lnTo>
                  <a:lnTo>
                    <a:pt x="472" y="4"/>
                  </a:lnTo>
                  <a:lnTo>
                    <a:pt x="472" y="95"/>
                  </a:lnTo>
                  <a:lnTo>
                    <a:pt x="472" y="265"/>
                  </a:lnTo>
                  <a:lnTo>
                    <a:pt x="442" y="296"/>
                  </a:lnTo>
                  <a:lnTo>
                    <a:pt x="433" y="326"/>
                  </a:lnTo>
                  <a:lnTo>
                    <a:pt x="358" y="338"/>
                  </a:lnTo>
                  <a:lnTo>
                    <a:pt x="354" y="359"/>
                  </a:lnTo>
                  <a:lnTo>
                    <a:pt x="320" y="372"/>
                  </a:lnTo>
                  <a:lnTo>
                    <a:pt x="304" y="385"/>
                  </a:lnTo>
                  <a:lnTo>
                    <a:pt x="297" y="443"/>
                  </a:lnTo>
                  <a:lnTo>
                    <a:pt x="258" y="452"/>
                  </a:lnTo>
                  <a:lnTo>
                    <a:pt x="231" y="472"/>
                  </a:lnTo>
                  <a:lnTo>
                    <a:pt x="220" y="499"/>
                  </a:lnTo>
                  <a:lnTo>
                    <a:pt x="216" y="596"/>
                  </a:lnTo>
                  <a:lnTo>
                    <a:pt x="228" y="605"/>
                  </a:lnTo>
                  <a:lnTo>
                    <a:pt x="228" y="696"/>
                  </a:lnTo>
                  <a:lnTo>
                    <a:pt x="231" y="737"/>
                  </a:lnTo>
                  <a:lnTo>
                    <a:pt x="216" y="743"/>
                  </a:lnTo>
                  <a:lnTo>
                    <a:pt x="211" y="765"/>
                  </a:lnTo>
                  <a:lnTo>
                    <a:pt x="176" y="767"/>
                  </a:lnTo>
                  <a:lnTo>
                    <a:pt x="169" y="781"/>
                  </a:lnTo>
                  <a:lnTo>
                    <a:pt x="125" y="785"/>
                  </a:lnTo>
                  <a:lnTo>
                    <a:pt x="121" y="820"/>
                  </a:lnTo>
                  <a:lnTo>
                    <a:pt x="121" y="851"/>
                  </a:lnTo>
                  <a:lnTo>
                    <a:pt x="121" y="885"/>
                  </a:lnTo>
                  <a:lnTo>
                    <a:pt x="113" y="9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5" name="Freeform 214"/>
            <p:cNvSpPr>
              <a:spLocks noChangeAspect="1"/>
            </p:cNvSpPr>
            <p:nvPr/>
          </p:nvSpPr>
          <p:spPr bwMode="auto">
            <a:xfrm>
              <a:off x="1520459" y="4457618"/>
              <a:ext cx="290109" cy="328369"/>
            </a:xfrm>
            <a:custGeom>
              <a:avLst/>
              <a:gdLst/>
              <a:ahLst/>
              <a:cxnLst>
                <a:cxn ang="0">
                  <a:pos x="493" y="492"/>
                </a:cxn>
                <a:cxn ang="0">
                  <a:pos x="441" y="504"/>
                </a:cxn>
                <a:cxn ang="0">
                  <a:pos x="428" y="523"/>
                </a:cxn>
                <a:cxn ang="0">
                  <a:pos x="377" y="523"/>
                </a:cxn>
                <a:cxn ang="0">
                  <a:pos x="367" y="553"/>
                </a:cxn>
                <a:cxn ang="0">
                  <a:pos x="274" y="546"/>
                </a:cxn>
                <a:cxn ang="0">
                  <a:pos x="265" y="519"/>
                </a:cxn>
                <a:cxn ang="0">
                  <a:pos x="227" y="488"/>
                </a:cxn>
                <a:cxn ang="0">
                  <a:pos x="191" y="467"/>
                </a:cxn>
                <a:cxn ang="0">
                  <a:pos x="167" y="457"/>
                </a:cxn>
                <a:cxn ang="0">
                  <a:pos x="138" y="413"/>
                </a:cxn>
                <a:cxn ang="0">
                  <a:pos x="97" y="391"/>
                </a:cxn>
                <a:cxn ang="0">
                  <a:pos x="66" y="357"/>
                </a:cxn>
                <a:cxn ang="0">
                  <a:pos x="59" y="332"/>
                </a:cxn>
                <a:cxn ang="0">
                  <a:pos x="25" y="334"/>
                </a:cxn>
                <a:cxn ang="0">
                  <a:pos x="29" y="310"/>
                </a:cxn>
                <a:cxn ang="0">
                  <a:pos x="25" y="278"/>
                </a:cxn>
                <a:cxn ang="0">
                  <a:pos x="15" y="249"/>
                </a:cxn>
                <a:cxn ang="0">
                  <a:pos x="7" y="226"/>
                </a:cxn>
                <a:cxn ang="0">
                  <a:pos x="11" y="182"/>
                </a:cxn>
                <a:cxn ang="0">
                  <a:pos x="0" y="150"/>
                </a:cxn>
                <a:cxn ang="0">
                  <a:pos x="24" y="143"/>
                </a:cxn>
                <a:cxn ang="0">
                  <a:pos x="60" y="138"/>
                </a:cxn>
                <a:cxn ang="0">
                  <a:pos x="55" y="87"/>
                </a:cxn>
                <a:cxn ang="0">
                  <a:pos x="43" y="65"/>
                </a:cxn>
                <a:cxn ang="0">
                  <a:pos x="33" y="13"/>
                </a:cxn>
                <a:cxn ang="0">
                  <a:pos x="56" y="0"/>
                </a:cxn>
                <a:cxn ang="0">
                  <a:pos x="107" y="3"/>
                </a:cxn>
                <a:cxn ang="0">
                  <a:pos x="197" y="0"/>
                </a:cxn>
                <a:cxn ang="0">
                  <a:pos x="232" y="0"/>
                </a:cxn>
                <a:cxn ang="0">
                  <a:pos x="324" y="77"/>
                </a:cxn>
                <a:cxn ang="0">
                  <a:pos x="372" y="91"/>
                </a:cxn>
                <a:cxn ang="0">
                  <a:pos x="377" y="129"/>
                </a:cxn>
                <a:cxn ang="0">
                  <a:pos x="446" y="168"/>
                </a:cxn>
                <a:cxn ang="0">
                  <a:pos x="448" y="194"/>
                </a:cxn>
                <a:cxn ang="0">
                  <a:pos x="449" y="227"/>
                </a:cxn>
                <a:cxn ang="0">
                  <a:pos x="431" y="247"/>
                </a:cxn>
                <a:cxn ang="0">
                  <a:pos x="427" y="281"/>
                </a:cxn>
                <a:cxn ang="0">
                  <a:pos x="452" y="286"/>
                </a:cxn>
                <a:cxn ang="0">
                  <a:pos x="448" y="337"/>
                </a:cxn>
                <a:cxn ang="0">
                  <a:pos x="459" y="391"/>
                </a:cxn>
                <a:cxn ang="0">
                  <a:pos x="462" y="449"/>
                </a:cxn>
                <a:cxn ang="0">
                  <a:pos x="482" y="467"/>
                </a:cxn>
                <a:cxn ang="0">
                  <a:pos x="493" y="492"/>
                </a:cxn>
              </a:cxnLst>
              <a:rect l="0" t="0" r="r" b="b"/>
              <a:pathLst>
                <a:path w="493" h="553">
                  <a:moveTo>
                    <a:pt x="493" y="492"/>
                  </a:moveTo>
                  <a:lnTo>
                    <a:pt x="441" y="504"/>
                  </a:lnTo>
                  <a:lnTo>
                    <a:pt x="428" y="523"/>
                  </a:lnTo>
                  <a:lnTo>
                    <a:pt x="377" y="523"/>
                  </a:lnTo>
                  <a:lnTo>
                    <a:pt x="367" y="553"/>
                  </a:lnTo>
                  <a:lnTo>
                    <a:pt x="274" y="546"/>
                  </a:lnTo>
                  <a:lnTo>
                    <a:pt x="265" y="519"/>
                  </a:lnTo>
                  <a:lnTo>
                    <a:pt x="227" y="488"/>
                  </a:lnTo>
                  <a:lnTo>
                    <a:pt x="191" y="467"/>
                  </a:lnTo>
                  <a:lnTo>
                    <a:pt x="167" y="457"/>
                  </a:lnTo>
                  <a:lnTo>
                    <a:pt x="138" y="413"/>
                  </a:lnTo>
                  <a:lnTo>
                    <a:pt x="97" y="391"/>
                  </a:lnTo>
                  <a:lnTo>
                    <a:pt x="66" y="357"/>
                  </a:lnTo>
                  <a:lnTo>
                    <a:pt x="59" y="332"/>
                  </a:lnTo>
                  <a:lnTo>
                    <a:pt x="25" y="334"/>
                  </a:lnTo>
                  <a:lnTo>
                    <a:pt x="29" y="310"/>
                  </a:lnTo>
                  <a:lnTo>
                    <a:pt x="25" y="278"/>
                  </a:lnTo>
                  <a:lnTo>
                    <a:pt x="15" y="249"/>
                  </a:lnTo>
                  <a:lnTo>
                    <a:pt x="7" y="226"/>
                  </a:lnTo>
                  <a:lnTo>
                    <a:pt x="11" y="182"/>
                  </a:lnTo>
                  <a:lnTo>
                    <a:pt x="0" y="150"/>
                  </a:lnTo>
                  <a:lnTo>
                    <a:pt x="24" y="143"/>
                  </a:lnTo>
                  <a:lnTo>
                    <a:pt x="60" y="138"/>
                  </a:lnTo>
                  <a:lnTo>
                    <a:pt x="55" y="87"/>
                  </a:lnTo>
                  <a:lnTo>
                    <a:pt x="43" y="65"/>
                  </a:lnTo>
                  <a:lnTo>
                    <a:pt x="33" y="13"/>
                  </a:lnTo>
                  <a:lnTo>
                    <a:pt x="56" y="0"/>
                  </a:lnTo>
                  <a:lnTo>
                    <a:pt x="107" y="3"/>
                  </a:lnTo>
                  <a:lnTo>
                    <a:pt x="197" y="0"/>
                  </a:lnTo>
                  <a:lnTo>
                    <a:pt x="232" y="0"/>
                  </a:lnTo>
                  <a:lnTo>
                    <a:pt x="324" y="77"/>
                  </a:lnTo>
                  <a:lnTo>
                    <a:pt x="372" y="91"/>
                  </a:lnTo>
                  <a:lnTo>
                    <a:pt x="377" y="129"/>
                  </a:lnTo>
                  <a:lnTo>
                    <a:pt x="446" y="168"/>
                  </a:lnTo>
                  <a:lnTo>
                    <a:pt x="448" y="194"/>
                  </a:lnTo>
                  <a:lnTo>
                    <a:pt x="449" y="227"/>
                  </a:lnTo>
                  <a:lnTo>
                    <a:pt x="431" y="247"/>
                  </a:lnTo>
                  <a:lnTo>
                    <a:pt x="427" y="281"/>
                  </a:lnTo>
                  <a:lnTo>
                    <a:pt x="452" y="286"/>
                  </a:lnTo>
                  <a:lnTo>
                    <a:pt x="448" y="337"/>
                  </a:lnTo>
                  <a:lnTo>
                    <a:pt x="459" y="391"/>
                  </a:lnTo>
                  <a:lnTo>
                    <a:pt x="462" y="449"/>
                  </a:lnTo>
                  <a:lnTo>
                    <a:pt x="482" y="467"/>
                  </a:lnTo>
                  <a:lnTo>
                    <a:pt x="493" y="49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6" name="Freeform 215"/>
            <p:cNvSpPr>
              <a:spLocks noChangeAspect="1"/>
            </p:cNvSpPr>
            <p:nvPr/>
          </p:nvSpPr>
          <p:spPr bwMode="auto">
            <a:xfrm>
              <a:off x="1831666" y="4049376"/>
              <a:ext cx="58022" cy="55024"/>
            </a:xfrm>
            <a:custGeom>
              <a:avLst/>
              <a:gdLst/>
              <a:ahLst/>
              <a:cxnLst>
                <a:cxn ang="0">
                  <a:pos x="51" y="95"/>
                </a:cxn>
                <a:cxn ang="0">
                  <a:pos x="0" y="88"/>
                </a:cxn>
                <a:cxn ang="0">
                  <a:pos x="8" y="0"/>
                </a:cxn>
                <a:cxn ang="0">
                  <a:pos x="97" y="56"/>
                </a:cxn>
                <a:cxn ang="0">
                  <a:pos x="51" y="95"/>
                </a:cxn>
              </a:cxnLst>
              <a:rect l="0" t="0" r="r" b="b"/>
              <a:pathLst>
                <a:path w="97" h="95">
                  <a:moveTo>
                    <a:pt x="51" y="95"/>
                  </a:moveTo>
                  <a:lnTo>
                    <a:pt x="0" y="88"/>
                  </a:lnTo>
                  <a:lnTo>
                    <a:pt x="8" y="0"/>
                  </a:lnTo>
                  <a:lnTo>
                    <a:pt x="97" y="56"/>
                  </a:lnTo>
                  <a:lnTo>
                    <a:pt x="51" y="9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7" name="Freeform 216"/>
            <p:cNvSpPr>
              <a:spLocks noChangeAspect="1"/>
            </p:cNvSpPr>
            <p:nvPr/>
          </p:nvSpPr>
          <p:spPr bwMode="auto">
            <a:xfrm>
              <a:off x="1430788" y="5325578"/>
              <a:ext cx="68572" cy="69223"/>
            </a:xfrm>
            <a:custGeom>
              <a:avLst/>
              <a:gdLst/>
              <a:ahLst/>
              <a:cxnLst>
                <a:cxn ang="0">
                  <a:pos x="40" y="6"/>
                </a:cxn>
                <a:cxn ang="0">
                  <a:pos x="30" y="32"/>
                </a:cxn>
                <a:cxn ang="0">
                  <a:pos x="0" y="35"/>
                </a:cxn>
                <a:cxn ang="0">
                  <a:pos x="2" y="107"/>
                </a:cxn>
                <a:cxn ang="0">
                  <a:pos x="42" y="103"/>
                </a:cxn>
                <a:cxn ang="0">
                  <a:pos x="51" y="117"/>
                </a:cxn>
                <a:cxn ang="0">
                  <a:pos x="71" y="114"/>
                </a:cxn>
                <a:cxn ang="0">
                  <a:pos x="88" y="96"/>
                </a:cxn>
                <a:cxn ang="0">
                  <a:pos x="95" y="72"/>
                </a:cxn>
                <a:cxn ang="0">
                  <a:pos x="115" y="72"/>
                </a:cxn>
                <a:cxn ang="0">
                  <a:pos x="115" y="3"/>
                </a:cxn>
                <a:cxn ang="0">
                  <a:pos x="74" y="0"/>
                </a:cxn>
                <a:cxn ang="0">
                  <a:pos x="40" y="6"/>
                </a:cxn>
              </a:cxnLst>
              <a:rect l="0" t="0" r="r" b="b"/>
              <a:pathLst>
                <a:path w="115" h="117">
                  <a:moveTo>
                    <a:pt x="40" y="6"/>
                  </a:moveTo>
                  <a:lnTo>
                    <a:pt x="30" y="32"/>
                  </a:lnTo>
                  <a:lnTo>
                    <a:pt x="0" y="35"/>
                  </a:lnTo>
                  <a:lnTo>
                    <a:pt x="2" y="107"/>
                  </a:lnTo>
                  <a:lnTo>
                    <a:pt x="42" y="103"/>
                  </a:lnTo>
                  <a:lnTo>
                    <a:pt x="51" y="117"/>
                  </a:lnTo>
                  <a:lnTo>
                    <a:pt x="71" y="114"/>
                  </a:lnTo>
                  <a:lnTo>
                    <a:pt x="88" y="96"/>
                  </a:lnTo>
                  <a:lnTo>
                    <a:pt x="95" y="72"/>
                  </a:lnTo>
                  <a:lnTo>
                    <a:pt x="115" y="72"/>
                  </a:lnTo>
                  <a:lnTo>
                    <a:pt x="115" y="3"/>
                  </a:lnTo>
                  <a:lnTo>
                    <a:pt x="74" y="0"/>
                  </a:lnTo>
                  <a:lnTo>
                    <a:pt x="40" y="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8" name="Freeform 217"/>
            <p:cNvSpPr>
              <a:spLocks noChangeAspect="1"/>
            </p:cNvSpPr>
            <p:nvPr/>
          </p:nvSpPr>
          <p:spPr bwMode="auto">
            <a:xfrm>
              <a:off x="1858039" y="3831056"/>
              <a:ext cx="269010" cy="204121"/>
            </a:xfrm>
            <a:custGeom>
              <a:avLst/>
              <a:gdLst/>
              <a:ahLst/>
              <a:cxnLst>
                <a:cxn ang="0">
                  <a:pos x="162" y="186"/>
                </a:cxn>
                <a:cxn ang="0">
                  <a:pos x="162" y="146"/>
                </a:cxn>
                <a:cxn ang="0">
                  <a:pos x="162" y="114"/>
                </a:cxn>
                <a:cxn ang="0">
                  <a:pos x="142" y="107"/>
                </a:cxn>
                <a:cxn ang="0">
                  <a:pos x="87" y="103"/>
                </a:cxn>
                <a:cxn ang="0">
                  <a:pos x="35" y="107"/>
                </a:cxn>
                <a:cxn ang="0">
                  <a:pos x="0" y="126"/>
                </a:cxn>
                <a:cxn ang="0">
                  <a:pos x="4" y="229"/>
                </a:cxn>
                <a:cxn ang="0">
                  <a:pos x="4" y="289"/>
                </a:cxn>
                <a:cxn ang="0">
                  <a:pos x="24" y="320"/>
                </a:cxn>
                <a:cxn ang="0">
                  <a:pos x="70" y="344"/>
                </a:cxn>
                <a:cxn ang="0">
                  <a:pos x="107" y="308"/>
                </a:cxn>
                <a:cxn ang="0">
                  <a:pos x="149" y="267"/>
                </a:cxn>
                <a:cxn ang="0">
                  <a:pos x="168" y="249"/>
                </a:cxn>
                <a:cxn ang="0">
                  <a:pos x="284" y="245"/>
                </a:cxn>
                <a:cxn ang="0">
                  <a:pos x="320" y="213"/>
                </a:cxn>
                <a:cxn ang="0">
                  <a:pos x="422" y="193"/>
                </a:cxn>
                <a:cxn ang="0">
                  <a:pos x="422" y="158"/>
                </a:cxn>
                <a:cxn ang="0">
                  <a:pos x="458" y="126"/>
                </a:cxn>
                <a:cxn ang="0">
                  <a:pos x="431" y="55"/>
                </a:cxn>
                <a:cxn ang="0">
                  <a:pos x="410" y="0"/>
                </a:cxn>
                <a:cxn ang="0">
                  <a:pos x="276" y="24"/>
                </a:cxn>
                <a:cxn ang="0">
                  <a:pos x="236" y="70"/>
                </a:cxn>
                <a:cxn ang="0">
                  <a:pos x="221" y="138"/>
                </a:cxn>
                <a:cxn ang="0">
                  <a:pos x="162" y="186"/>
                </a:cxn>
              </a:cxnLst>
              <a:rect l="0" t="0" r="r" b="b"/>
              <a:pathLst>
                <a:path w="458" h="344">
                  <a:moveTo>
                    <a:pt x="162" y="186"/>
                  </a:moveTo>
                  <a:lnTo>
                    <a:pt x="162" y="146"/>
                  </a:lnTo>
                  <a:lnTo>
                    <a:pt x="162" y="114"/>
                  </a:lnTo>
                  <a:lnTo>
                    <a:pt x="142" y="107"/>
                  </a:lnTo>
                  <a:lnTo>
                    <a:pt x="87" y="103"/>
                  </a:lnTo>
                  <a:lnTo>
                    <a:pt x="35" y="107"/>
                  </a:lnTo>
                  <a:lnTo>
                    <a:pt x="0" y="126"/>
                  </a:lnTo>
                  <a:lnTo>
                    <a:pt x="4" y="229"/>
                  </a:lnTo>
                  <a:lnTo>
                    <a:pt x="4" y="289"/>
                  </a:lnTo>
                  <a:lnTo>
                    <a:pt x="24" y="320"/>
                  </a:lnTo>
                  <a:lnTo>
                    <a:pt x="70" y="344"/>
                  </a:lnTo>
                  <a:lnTo>
                    <a:pt x="107" y="308"/>
                  </a:lnTo>
                  <a:lnTo>
                    <a:pt x="149" y="267"/>
                  </a:lnTo>
                  <a:lnTo>
                    <a:pt x="168" y="249"/>
                  </a:lnTo>
                  <a:lnTo>
                    <a:pt x="284" y="245"/>
                  </a:lnTo>
                  <a:lnTo>
                    <a:pt x="320" y="213"/>
                  </a:lnTo>
                  <a:lnTo>
                    <a:pt x="422" y="193"/>
                  </a:lnTo>
                  <a:lnTo>
                    <a:pt x="422" y="158"/>
                  </a:lnTo>
                  <a:lnTo>
                    <a:pt x="458" y="126"/>
                  </a:lnTo>
                  <a:lnTo>
                    <a:pt x="431" y="55"/>
                  </a:lnTo>
                  <a:lnTo>
                    <a:pt x="410" y="0"/>
                  </a:lnTo>
                  <a:lnTo>
                    <a:pt x="276" y="24"/>
                  </a:lnTo>
                  <a:lnTo>
                    <a:pt x="236" y="70"/>
                  </a:lnTo>
                  <a:lnTo>
                    <a:pt x="221" y="138"/>
                  </a:lnTo>
                  <a:lnTo>
                    <a:pt x="162" y="18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89" name="Freeform 218"/>
            <p:cNvSpPr>
              <a:spLocks noChangeAspect="1"/>
            </p:cNvSpPr>
            <p:nvPr/>
          </p:nvSpPr>
          <p:spPr bwMode="auto">
            <a:xfrm>
              <a:off x="1858039" y="3831056"/>
              <a:ext cx="269010" cy="204121"/>
            </a:xfrm>
            <a:custGeom>
              <a:avLst/>
              <a:gdLst/>
              <a:ahLst/>
              <a:cxnLst>
                <a:cxn ang="0">
                  <a:pos x="162" y="186"/>
                </a:cxn>
                <a:cxn ang="0">
                  <a:pos x="162" y="146"/>
                </a:cxn>
                <a:cxn ang="0">
                  <a:pos x="162" y="114"/>
                </a:cxn>
                <a:cxn ang="0">
                  <a:pos x="142" y="107"/>
                </a:cxn>
                <a:cxn ang="0">
                  <a:pos x="87" y="103"/>
                </a:cxn>
                <a:cxn ang="0">
                  <a:pos x="35" y="107"/>
                </a:cxn>
                <a:cxn ang="0">
                  <a:pos x="0" y="126"/>
                </a:cxn>
                <a:cxn ang="0">
                  <a:pos x="4" y="229"/>
                </a:cxn>
                <a:cxn ang="0">
                  <a:pos x="4" y="289"/>
                </a:cxn>
                <a:cxn ang="0">
                  <a:pos x="24" y="320"/>
                </a:cxn>
                <a:cxn ang="0">
                  <a:pos x="70" y="344"/>
                </a:cxn>
                <a:cxn ang="0">
                  <a:pos x="107" y="308"/>
                </a:cxn>
                <a:cxn ang="0">
                  <a:pos x="149" y="267"/>
                </a:cxn>
                <a:cxn ang="0">
                  <a:pos x="168" y="249"/>
                </a:cxn>
                <a:cxn ang="0">
                  <a:pos x="284" y="245"/>
                </a:cxn>
                <a:cxn ang="0">
                  <a:pos x="320" y="213"/>
                </a:cxn>
                <a:cxn ang="0">
                  <a:pos x="422" y="193"/>
                </a:cxn>
                <a:cxn ang="0">
                  <a:pos x="422" y="158"/>
                </a:cxn>
                <a:cxn ang="0">
                  <a:pos x="458" y="126"/>
                </a:cxn>
                <a:cxn ang="0">
                  <a:pos x="431" y="55"/>
                </a:cxn>
                <a:cxn ang="0">
                  <a:pos x="410" y="0"/>
                </a:cxn>
                <a:cxn ang="0">
                  <a:pos x="276" y="24"/>
                </a:cxn>
                <a:cxn ang="0">
                  <a:pos x="236" y="70"/>
                </a:cxn>
                <a:cxn ang="0">
                  <a:pos x="221" y="138"/>
                </a:cxn>
                <a:cxn ang="0">
                  <a:pos x="162" y="186"/>
                </a:cxn>
              </a:cxnLst>
              <a:rect l="0" t="0" r="r" b="b"/>
              <a:pathLst>
                <a:path w="458" h="344">
                  <a:moveTo>
                    <a:pt x="162" y="186"/>
                  </a:moveTo>
                  <a:lnTo>
                    <a:pt x="162" y="146"/>
                  </a:lnTo>
                  <a:lnTo>
                    <a:pt x="162" y="114"/>
                  </a:lnTo>
                  <a:lnTo>
                    <a:pt x="142" y="107"/>
                  </a:lnTo>
                  <a:lnTo>
                    <a:pt x="87" y="103"/>
                  </a:lnTo>
                  <a:lnTo>
                    <a:pt x="35" y="107"/>
                  </a:lnTo>
                  <a:lnTo>
                    <a:pt x="0" y="126"/>
                  </a:lnTo>
                  <a:lnTo>
                    <a:pt x="4" y="229"/>
                  </a:lnTo>
                  <a:lnTo>
                    <a:pt x="4" y="289"/>
                  </a:lnTo>
                  <a:lnTo>
                    <a:pt x="24" y="320"/>
                  </a:lnTo>
                  <a:lnTo>
                    <a:pt x="70" y="344"/>
                  </a:lnTo>
                  <a:lnTo>
                    <a:pt x="107" y="308"/>
                  </a:lnTo>
                  <a:lnTo>
                    <a:pt x="149" y="267"/>
                  </a:lnTo>
                  <a:lnTo>
                    <a:pt x="168" y="249"/>
                  </a:lnTo>
                  <a:lnTo>
                    <a:pt x="284" y="245"/>
                  </a:lnTo>
                  <a:lnTo>
                    <a:pt x="320" y="213"/>
                  </a:lnTo>
                  <a:lnTo>
                    <a:pt x="422" y="193"/>
                  </a:lnTo>
                  <a:lnTo>
                    <a:pt x="422" y="158"/>
                  </a:lnTo>
                  <a:lnTo>
                    <a:pt x="458" y="126"/>
                  </a:lnTo>
                  <a:lnTo>
                    <a:pt x="431" y="55"/>
                  </a:lnTo>
                  <a:lnTo>
                    <a:pt x="410" y="0"/>
                  </a:lnTo>
                  <a:lnTo>
                    <a:pt x="276" y="24"/>
                  </a:lnTo>
                  <a:lnTo>
                    <a:pt x="236" y="70"/>
                  </a:lnTo>
                  <a:lnTo>
                    <a:pt x="221" y="138"/>
                  </a:lnTo>
                  <a:lnTo>
                    <a:pt x="162" y="186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0" name="Freeform 219"/>
            <p:cNvSpPr>
              <a:spLocks noChangeAspect="1"/>
            </p:cNvSpPr>
            <p:nvPr/>
          </p:nvSpPr>
          <p:spPr bwMode="auto">
            <a:xfrm>
              <a:off x="1304195" y="4654639"/>
              <a:ext cx="319998" cy="323044"/>
            </a:xfrm>
            <a:custGeom>
              <a:avLst/>
              <a:gdLst/>
              <a:ahLst/>
              <a:cxnLst>
                <a:cxn ang="0">
                  <a:pos x="185" y="545"/>
                </a:cxn>
                <a:cxn ang="0">
                  <a:pos x="213" y="535"/>
                </a:cxn>
                <a:cxn ang="0">
                  <a:pos x="254" y="535"/>
                </a:cxn>
                <a:cxn ang="0">
                  <a:pos x="281" y="525"/>
                </a:cxn>
                <a:cxn ang="0">
                  <a:pos x="287" y="493"/>
                </a:cxn>
                <a:cxn ang="0">
                  <a:pos x="310" y="486"/>
                </a:cxn>
                <a:cxn ang="0">
                  <a:pos x="328" y="474"/>
                </a:cxn>
                <a:cxn ang="0">
                  <a:pos x="332" y="442"/>
                </a:cxn>
                <a:cxn ang="0">
                  <a:pos x="374" y="436"/>
                </a:cxn>
                <a:cxn ang="0">
                  <a:pos x="391" y="411"/>
                </a:cxn>
                <a:cxn ang="0">
                  <a:pos x="464" y="395"/>
                </a:cxn>
                <a:cxn ang="0">
                  <a:pos x="477" y="366"/>
                </a:cxn>
                <a:cxn ang="0">
                  <a:pos x="514" y="348"/>
                </a:cxn>
                <a:cxn ang="0">
                  <a:pos x="519" y="263"/>
                </a:cxn>
                <a:cxn ang="0">
                  <a:pos x="546" y="241"/>
                </a:cxn>
                <a:cxn ang="0">
                  <a:pos x="533" y="187"/>
                </a:cxn>
                <a:cxn ang="0">
                  <a:pos x="537" y="125"/>
                </a:cxn>
                <a:cxn ang="0">
                  <a:pos x="508" y="81"/>
                </a:cxn>
                <a:cxn ang="0">
                  <a:pos x="467" y="59"/>
                </a:cxn>
                <a:cxn ang="0">
                  <a:pos x="436" y="25"/>
                </a:cxn>
                <a:cxn ang="0">
                  <a:pos x="429" y="0"/>
                </a:cxn>
                <a:cxn ang="0">
                  <a:pos x="395" y="2"/>
                </a:cxn>
                <a:cxn ang="0">
                  <a:pos x="388" y="29"/>
                </a:cxn>
                <a:cxn ang="0">
                  <a:pos x="352" y="45"/>
                </a:cxn>
                <a:cxn ang="0">
                  <a:pos x="334" y="77"/>
                </a:cxn>
                <a:cxn ang="0">
                  <a:pos x="322" y="215"/>
                </a:cxn>
                <a:cxn ang="0">
                  <a:pos x="342" y="235"/>
                </a:cxn>
                <a:cxn ang="0">
                  <a:pos x="374" y="239"/>
                </a:cxn>
                <a:cxn ang="0">
                  <a:pos x="381" y="294"/>
                </a:cxn>
                <a:cxn ang="0">
                  <a:pos x="370" y="324"/>
                </a:cxn>
                <a:cxn ang="0">
                  <a:pos x="320" y="326"/>
                </a:cxn>
                <a:cxn ang="0">
                  <a:pos x="301" y="302"/>
                </a:cxn>
                <a:cxn ang="0">
                  <a:pos x="291" y="253"/>
                </a:cxn>
                <a:cxn ang="0">
                  <a:pos x="254" y="233"/>
                </a:cxn>
                <a:cxn ang="0">
                  <a:pos x="249" y="215"/>
                </a:cxn>
                <a:cxn ang="0">
                  <a:pos x="213" y="224"/>
                </a:cxn>
                <a:cxn ang="0">
                  <a:pos x="199" y="251"/>
                </a:cxn>
                <a:cxn ang="0">
                  <a:pos x="178" y="243"/>
                </a:cxn>
                <a:cxn ang="0">
                  <a:pos x="164" y="195"/>
                </a:cxn>
                <a:cxn ang="0">
                  <a:pos x="115" y="190"/>
                </a:cxn>
                <a:cxn ang="0">
                  <a:pos x="109" y="297"/>
                </a:cxn>
                <a:cxn ang="0">
                  <a:pos x="67" y="297"/>
                </a:cxn>
                <a:cxn ang="0">
                  <a:pos x="51" y="269"/>
                </a:cxn>
                <a:cxn ang="0">
                  <a:pos x="33" y="270"/>
                </a:cxn>
                <a:cxn ang="0">
                  <a:pos x="32" y="297"/>
                </a:cxn>
                <a:cxn ang="0">
                  <a:pos x="2" y="300"/>
                </a:cxn>
                <a:cxn ang="0">
                  <a:pos x="0" y="422"/>
                </a:cxn>
                <a:cxn ang="0">
                  <a:pos x="5" y="462"/>
                </a:cxn>
                <a:cxn ang="0">
                  <a:pos x="40" y="508"/>
                </a:cxn>
                <a:cxn ang="0">
                  <a:pos x="41" y="531"/>
                </a:cxn>
                <a:cxn ang="0">
                  <a:pos x="65" y="538"/>
                </a:cxn>
                <a:cxn ang="0">
                  <a:pos x="185" y="545"/>
                </a:cxn>
              </a:cxnLst>
              <a:rect l="0" t="0" r="r" b="b"/>
              <a:pathLst>
                <a:path w="546" h="545">
                  <a:moveTo>
                    <a:pt x="185" y="545"/>
                  </a:moveTo>
                  <a:lnTo>
                    <a:pt x="213" y="535"/>
                  </a:lnTo>
                  <a:lnTo>
                    <a:pt x="254" y="535"/>
                  </a:lnTo>
                  <a:lnTo>
                    <a:pt x="281" y="525"/>
                  </a:lnTo>
                  <a:lnTo>
                    <a:pt x="287" y="493"/>
                  </a:lnTo>
                  <a:lnTo>
                    <a:pt x="310" y="486"/>
                  </a:lnTo>
                  <a:lnTo>
                    <a:pt x="328" y="474"/>
                  </a:lnTo>
                  <a:lnTo>
                    <a:pt x="332" y="442"/>
                  </a:lnTo>
                  <a:lnTo>
                    <a:pt x="374" y="436"/>
                  </a:lnTo>
                  <a:lnTo>
                    <a:pt x="391" y="411"/>
                  </a:lnTo>
                  <a:lnTo>
                    <a:pt x="464" y="395"/>
                  </a:lnTo>
                  <a:lnTo>
                    <a:pt x="477" y="366"/>
                  </a:lnTo>
                  <a:lnTo>
                    <a:pt x="514" y="348"/>
                  </a:lnTo>
                  <a:lnTo>
                    <a:pt x="519" y="263"/>
                  </a:lnTo>
                  <a:lnTo>
                    <a:pt x="546" y="241"/>
                  </a:lnTo>
                  <a:lnTo>
                    <a:pt x="533" y="187"/>
                  </a:lnTo>
                  <a:lnTo>
                    <a:pt x="537" y="125"/>
                  </a:lnTo>
                  <a:lnTo>
                    <a:pt x="508" y="81"/>
                  </a:lnTo>
                  <a:lnTo>
                    <a:pt x="467" y="59"/>
                  </a:lnTo>
                  <a:lnTo>
                    <a:pt x="436" y="25"/>
                  </a:lnTo>
                  <a:lnTo>
                    <a:pt x="429" y="0"/>
                  </a:lnTo>
                  <a:lnTo>
                    <a:pt x="395" y="2"/>
                  </a:lnTo>
                  <a:lnTo>
                    <a:pt x="388" y="29"/>
                  </a:lnTo>
                  <a:lnTo>
                    <a:pt x="352" y="45"/>
                  </a:lnTo>
                  <a:lnTo>
                    <a:pt x="334" y="77"/>
                  </a:lnTo>
                  <a:lnTo>
                    <a:pt x="322" y="215"/>
                  </a:lnTo>
                  <a:lnTo>
                    <a:pt x="342" y="235"/>
                  </a:lnTo>
                  <a:lnTo>
                    <a:pt x="374" y="239"/>
                  </a:lnTo>
                  <a:lnTo>
                    <a:pt x="381" y="294"/>
                  </a:lnTo>
                  <a:lnTo>
                    <a:pt x="370" y="324"/>
                  </a:lnTo>
                  <a:lnTo>
                    <a:pt x="320" y="326"/>
                  </a:lnTo>
                  <a:lnTo>
                    <a:pt x="301" y="302"/>
                  </a:lnTo>
                  <a:lnTo>
                    <a:pt x="291" y="253"/>
                  </a:lnTo>
                  <a:lnTo>
                    <a:pt x="254" y="233"/>
                  </a:lnTo>
                  <a:lnTo>
                    <a:pt x="249" y="215"/>
                  </a:lnTo>
                  <a:lnTo>
                    <a:pt x="213" y="224"/>
                  </a:lnTo>
                  <a:lnTo>
                    <a:pt x="199" y="251"/>
                  </a:lnTo>
                  <a:lnTo>
                    <a:pt x="178" y="243"/>
                  </a:lnTo>
                  <a:lnTo>
                    <a:pt x="164" y="195"/>
                  </a:lnTo>
                  <a:lnTo>
                    <a:pt x="115" y="190"/>
                  </a:lnTo>
                  <a:lnTo>
                    <a:pt x="109" y="297"/>
                  </a:lnTo>
                  <a:lnTo>
                    <a:pt x="67" y="297"/>
                  </a:lnTo>
                  <a:lnTo>
                    <a:pt x="51" y="269"/>
                  </a:lnTo>
                  <a:lnTo>
                    <a:pt x="33" y="270"/>
                  </a:lnTo>
                  <a:lnTo>
                    <a:pt x="32" y="297"/>
                  </a:lnTo>
                  <a:lnTo>
                    <a:pt x="2" y="300"/>
                  </a:lnTo>
                  <a:lnTo>
                    <a:pt x="0" y="422"/>
                  </a:lnTo>
                  <a:lnTo>
                    <a:pt x="5" y="462"/>
                  </a:lnTo>
                  <a:lnTo>
                    <a:pt x="40" y="508"/>
                  </a:lnTo>
                  <a:lnTo>
                    <a:pt x="41" y="531"/>
                  </a:lnTo>
                  <a:lnTo>
                    <a:pt x="65" y="538"/>
                  </a:lnTo>
                  <a:lnTo>
                    <a:pt x="185" y="54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1" name="Freeform 220"/>
            <p:cNvSpPr>
              <a:spLocks noChangeAspect="1"/>
            </p:cNvSpPr>
            <p:nvPr/>
          </p:nvSpPr>
          <p:spPr bwMode="auto">
            <a:xfrm>
              <a:off x="1082657" y="3717460"/>
              <a:ext cx="286592" cy="486340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83" y="27"/>
                </a:cxn>
                <a:cxn ang="0">
                  <a:pos x="93" y="47"/>
                </a:cxn>
                <a:cxn ang="0">
                  <a:pos x="113" y="96"/>
                </a:cxn>
                <a:cxn ang="0">
                  <a:pos x="96" y="346"/>
                </a:cxn>
                <a:cxn ang="0">
                  <a:pos x="65" y="354"/>
                </a:cxn>
                <a:cxn ang="0">
                  <a:pos x="47" y="383"/>
                </a:cxn>
                <a:cxn ang="0">
                  <a:pos x="17" y="403"/>
                </a:cxn>
                <a:cxn ang="0">
                  <a:pos x="0" y="427"/>
                </a:cxn>
                <a:cxn ang="0">
                  <a:pos x="1" y="473"/>
                </a:cxn>
                <a:cxn ang="0">
                  <a:pos x="21" y="472"/>
                </a:cxn>
                <a:cxn ang="0">
                  <a:pos x="29" y="501"/>
                </a:cxn>
                <a:cxn ang="0">
                  <a:pos x="42" y="527"/>
                </a:cxn>
                <a:cxn ang="0">
                  <a:pos x="64" y="570"/>
                </a:cxn>
                <a:cxn ang="0">
                  <a:pos x="64" y="596"/>
                </a:cxn>
                <a:cxn ang="0">
                  <a:pos x="44" y="606"/>
                </a:cxn>
                <a:cxn ang="0">
                  <a:pos x="54" y="614"/>
                </a:cxn>
                <a:cxn ang="0">
                  <a:pos x="64" y="644"/>
                </a:cxn>
                <a:cxn ang="0">
                  <a:pos x="80" y="665"/>
                </a:cxn>
                <a:cxn ang="0">
                  <a:pos x="76" y="689"/>
                </a:cxn>
                <a:cxn ang="0">
                  <a:pos x="54" y="703"/>
                </a:cxn>
                <a:cxn ang="0">
                  <a:pos x="57" y="728"/>
                </a:cxn>
                <a:cxn ang="0">
                  <a:pos x="91" y="772"/>
                </a:cxn>
                <a:cxn ang="0">
                  <a:pos x="115" y="821"/>
                </a:cxn>
                <a:cxn ang="0">
                  <a:pos x="142" y="807"/>
                </a:cxn>
                <a:cxn ang="0">
                  <a:pos x="184" y="811"/>
                </a:cxn>
                <a:cxn ang="0">
                  <a:pos x="198" y="782"/>
                </a:cxn>
                <a:cxn ang="0">
                  <a:pos x="248" y="778"/>
                </a:cxn>
                <a:cxn ang="0">
                  <a:pos x="271" y="745"/>
                </a:cxn>
                <a:cxn ang="0">
                  <a:pos x="315" y="735"/>
                </a:cxn>
                <a:cxn ang="0">
                  <a:pos x="331" y="703"/>
                </a:cxn>
                <a:cxn ang="0">
                  <a:pos x="360" y="689"/>
                </a:cxn>
                <a:cxn ang="0">
                  <a:pos x="380" y="651"/>
                </a:cxn>
                <a:cxn ang="0">
                  <a:pos x="410" y="624"/>
                </a:cxn>
                <a:cxn ang="0">
                  <a:pos x="432" y="616"/>
                </a:cxn>
                <a:cxn ang="0">
                  <a:pos x="442" y="600"/>
                </a:cxn>
                <a:cxn ang="0">
                  <a:pos x="439" y="578"/>
                </a:cxn>
                <a:cxn ang="0">
                  <a:pos x="419" y="568"/>
                </a:cxn>
                <a:cxn ang="0">
                  <a:pos x="411" y="532"/>
                </a:cxn>
                <a:cxn ang="0">
                  <a:pos x="378" y="518"/>
                </a:cxn>
                <a:cxn ang="0">
                  <a:pos x="383" y="489"/>
                </a:cxn>
                <a:cxn ang="0">
                  <a:pos x="415" y="487"/>
                </a:cxn>
                <a:cxn ang="0">
                  <a:pos x="428" y="439"/>
                </a:cxn>
                <a:cxn ang="0">
                  <a:pos x="455" y="389"/>
                </a:cxn>
                <a:cxn ang="0">
                  <a:pos x="484" y="379"/>
                </a:cxn>
                <a:cxn ang="0">
                  <a:pos x="489" y="244"/>
                </a:cxn>
                <a:cxn ang="0">
                  <a:pos x="457" y="241"/>
                </a:cxn>
                <a:cxn ang="0">
                  <a:pos x="383" y="180"/>
                </a:cxn>
                <a:cxn ang="0">
                  <a:pos x="350" y="163"/>
                </a:cxn>
                <a:cxn ang="0">
                  <a:pos x="281" y="129"/>
                </a:cxn>
                <a:cxn ang="0">
                  <a:pos x="257" y="88"/>
                </a:cxn>
                <a:cxn ang="0">
                  <a:pos x="178" y="76"/>
                </a:cxn>
                <a:cxn ang="0">
                  <a:pos x="163" y="36"/>
                </a:cxn>
                <a:cxn ang="0">
                  <a:pos x="123" y="22"/>
                </a:cxn>
                <a:cxn ang="0">
                  <a:pos x="119" y="5"/>
                </a:cxn>
                <a:cxn ang="0">
                  <a:pos x="76" y="0"/>
                </a:cxn>
              </a:cxnLst>
              <a:rect l="0" t="0" r="r" b="b"/>
              <a:pathLst>
                <a:path w="489" h="821">
                  <a:moveTo>
                    <a:pt x="76" y="0"/>
                  </a:moveTo>
                  <a:lnTo>
                    <a:pt x="83" y="27"/>
                  </a:lnTo>
                  <a:lnTo>
                    <a:pt x="93" y="47"/>
                  </a:lnTo>
                  <a:lnTo>
                    <a:pt x="113" y="96"/>
                  </a:lnTo>
                  <a:lnTo>
                    <a:pt x="96" y="346"/>
                  </a:lnTo>
                  <a:lnTo>
                    <a:pt x="65" y="354"/>
                  </a:lnTo>
                  <a:lnTo>
                    <a:pt x="47" y="383"/>
                  </a:lnTo>
                  <a:lnTo>
                    <a:pt x="17" y="403"/>
                  </a:lnTo>
                  <a:lnTo>
                    <a:pt x="0" y="427"/>
                  </a:lnTo>
                  <a:lnTo>
                    <a:pt x="1" y="473"/>
                  </a:lnTo>
                  <a:lnTo>
                    <a:pt x="21" y="472"/>
                  </a:lnTo>
                  <a:lnTo>
                    <a:pt x="29" y="501"/>
                  </a:lnTo>
                  <a:lnTo>
                    <a:pt x="42" y="527"/>
                  </a:lnTo>
                  <a:lnTo>
                    <a:pt x="64" y="570"/>
                  </a:lnTo>
                  <a:lnTo>
                    <a:pt x="64" y="596"/>
                  </a:lnTo>
                  <a:lnTo>
                    <a:pt x="44" y="606"/>
                  </a:lnTo>
                  <a:lnTo>
                    <a:pt x="54" y="614"/>
                  </a:lnTo>
                  <a:lnTo>
                    <a:pt x="64" y="644"/>
                  </a:lnTo>
                  <a:lnTo>
                    <a:pt x="80" y="665"/>
                  </a:lnTo>
                  <a:lnTo>
                    <a:pt x="76" y="689"/>
                  </a:lnTo>
                  <a:lnTo>
                    <a:pt x="54" y="703"/>
                  </a:lnTo>
                  <a:lnTo>
                    <a:pt x="57" y="728"/>
                  </a:lnTo>
                  <a:lnTo>
                    <a:pt x="91" y="772"/>
                  </a:lnTo>
                  <a:lnTo>
                    <a:pt x="115" y="821"/>
                  </a:lnTo>
                  <a:lnTo>
                    <a:pt x="142" y="807"/>
                  </a:lnTo>
                  <a:lnTo>
                    <a:pt x="184" y="811"/>
                  </a:lnTo>
                  <a:lnTo>
                    <a:pt x="198" y="782"/>
                  </a:lnTo>
                  <a:lnTo>
                    <a:pt x="248" y="778"/>
                  </a:lnTo>
                  <a:lnTo>
                    <a:pt x="271" y="745"/>
                  </a:lnTo>
                  <a:lnTo>
                    <a:pt x="315" y="735"/>
                  </a:lnTo>
                  <a:lnTo>
                    <a:pt x="331" y="703"/>
                  </a:lnTo>
                  <a:lnTo>
                    <a:pt x="360" y="689"/>
                  </a:lnTo>
                  <a:lnTo>
                    <a:pt x="380" y="651"/>
                  </a:lnTo>
                  <a:lnTo>
                    <a:pt x="410" y="624"/>
                  </a:lnTo>
                  <a:lnTo>
                    <a:pt x="432" y="616"/>
                  </a:lnTo>
                  <a:lnTo>
                    <a:pt x="442" y="600"/>
                  </a:lnTo>
                  <a:lnTo>
                    <a:pt x="439" y="578"/>
                  </a:lnTo>
                  <a:lnTo>
                    <a:pt x="419" y="568"/>
                  </a:lnTo>
                  <a:lnTo>
                    <a:pt x="411" y="532"/>
                  </a:lnTo>
                  <a:lnTo>
                    <a:pt x="378" y="518"/>
                  </a:lnTo>
                  <a:lnTo>
                    <a:pt x="383" y="489"/>
                  </a:lnTo>
                  <a:lnTo>
                    <a:pt x="415" y="487"/>
                  </a:lnTo>
                  <a:lnTo>
                    <a:pt x="428" y="439"/>
                  </a:lnTo>
                  <a:lnTo>
                    <a:pt x="455" y="389"/>
                  </a:lnTo>
                  <a:lnTo>
                    <a:pt x="484" y="379"/>
                  </a:lnTo>
                  <a:lnTo>
                    <a:pt x="489" y="244"/>
                  </a:lnTo>
                  <a:lnTo>
                    <a:pt x="457" y="241"/>
                  </a:lnTo>
                  <a:lnTo>
                    <a:pt x="383" y="180"/>
                  </a:lnTo>
                  <a:lnTo>
                    <a:pt x="350" y="163"/>
                  </a:lnTo>
                  <a:lnTo>
                    <a:pt x="281" y="129"/>
                  </a:lnTo>
                  <a:lnTo>
                    <a:pt x="257" y="88"/>
                  </a:lnTo>
                  <a:lnTo>
                    <a:pt x="178" y="76"/>
                  </a:lnTo>
                  <a:lnTo>
                    <a:pt x="163" y="36"/>
                  </a:lnTo>
                  <a:lnTo>
                    <a:pt x="123" y="22"/>
                  </a:lnTo>
                  <a:lnTo>
                    <a:pt x="119" y="5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2" name="Freeform 221"/>
            <p:cNvSpPr>
              <a:spLocks noChangeAspect="1"/>
            </p:cNvSpPr>
            <p:nvPr/>
          </p:nvSpPr>
          <p:spPr bwMode="auto">
            <a:xfrm>
              <a:off x="734527" y="3694384"/>
              <a:ext cx="414944" cy="349668"/>
            </a:xfrm>
            <a:custGeom>
              <a:avLst/>
              <a:gdLst/>
              <a:ahLst/>
              <a:cxnLst>
                <a:cxn ang="0">
                  <a:pos x="161" y="585"/>
                </a:cxn>
                <a:cxn ang="0">
                  <a:pos x="175" y="561"/>
                </a:cxn>
                <a:cxn ang="0">
                  <a:pos x="192" y="527"/>
                </a:cxn>
                <a:cxn ang="0">
                  <a:pos x="234" y="516"/>
                </a:cxn>
                <a:cxn ang="0">
                  <a:pos x="271" y="522"/>
                </a:cxn>
                <a:cxn ang="0">
                  <a:pos x="290" y="554"/>
                </a:cxn>
                <a:cxn ang="0">
                  <a:pos x="295" y="534"/>
                </a:cxn>
                <a:cxn ang="0">
                  <a:pos x="352" y="527"/>
                </a:cxn>
                <a:cxn ang="0">
                  <a:pos x="385" y="524"/>
                </a:cxn>
                <a:cxn ang="0">
                  <a:pos x="413" y="550"/>
                </a:cxn>
                <a:cxn ang="0">
                  <a:pos x="451" y="554"/>
                </a:cxn>
                <a:cxn ang="0">
                  <a:pos x="457" y="527"/>
                </a:cxn>
                <a:cxn ang="0">
                  <a:pos x="517" y="530"/>
                </a:cxn>
                <a:cxn ang="0">
                  <a:pos x="540" y="555"/>
                </a:cxn>
                <a:cxn ang="0">
                  <a:pos x="561" y="530"/>
                </a:cxn>
                <a:cxn ang="0">
                  <a:pos x="594" y="511"/>
                </a:cxn>
                <a:cxn ang="0">
                  <a:pos x="593" y="465"/>
                </a:cxn>
                <a:cxn ang="0">
                  <a:pos x="610" y="441"/>
                </a:cxn>
                <a:cxn ang="0">
                  <a:pos x="640" y="421"/>
                </a:cxn>
                <a:cxn ang="0">
                  <a:pos x="658" y="392"/>
                </a:cxn>
                <a:cxn ang="0">
                  <a:pos x="689" y="384"/>
                </a:cxn>
                <a:cxn ang="0">
                  <a:pos x="706" y="134"/>
                </a:cxn>
                <a:cxn ang="0">
                  <a:pos x="686" y="85"/>
                </a:cxn>
                <a:cxn ang="0">
                  <a:pos x="676" y="65"/>
                </a:cxn>
                <a:cxn ang="0">
                  <a:pos x="669" y="38"/>
                </a:cxn>
                <a:cxn ang="0">
                  <a:pos x="640" y="28"/>
                </a:cxn>
                <a:cxn ang="0">
                  <a:pos x="586" y="23"/>
                </a:cxn>
                <a:cxn ang="0">
                  <a:pos x="581" y="0"/>
                </a:cxn>
                <a:cxn ang="0">
                  <a:pos x="522" y="0"/>
                </a:cxn>
                <a:cxn ang="0">
                  <a:pos x="507" y="19"/>
                </a:cxn>
                <a:cxn ang="0">
                  <a:pos x="460" y="39"/>
                </a:cxn>
                <a:cxn ang="0">
                  <a:pos x="421" y="70"/>
                </a:cxn>
                <a:cxn ang="0">
                  <a:pos x="401" y="102"/>
                </a:cxn>
                <a:cxn ang="0">
                  <a:pos x="325" y="126"/>
                </a:cxn>
                <a:cxn ang="0">
                  <a:pos x="318" y="157"/>
                </a:cxn>
                <a:cxn ang="0">
                  <a:pos x="290" y="173"/>
                </a:cxn>
                <a:cxn ang="0">
                  <a:pos x="259" y="208"/>
                </a:cxn>
                <a:cxn ang="0">
                  <a:pos x="183" y="212"/>
                </a:cxn>
                <a:cxn ang="0">
                  <a:pos x="178" y="237"/>
                </a:cxn>
                <a:cxn ang="0">
                  <a:pos x="186" y="388"/>
                </a:cxn>
                <a:cxn ang="0">
                  <a:pos x="154" y="392"/>
                </a:cxn>
                <a:cxn ang="0">
                  <a:pos x="154" y="419"/>
                </a:cxn>
                <a:cxn ang="0">
                  <a:pos x="35" y="434"/>
                </a:cxn>
                <a:cxn ang="0">
                  <a:pos x="0" y="460"/>
                </a:cxn>
                <a:cxn ang="0">
                  <a:pos x="16" y="486"/>
                </a:cxn>
                <a:cxn ang="0">
                  <a:pos x="44" y="502"/>
                </a:cxn>
                <a:cxn ang="0">
                  <a:pos x="48" y="550"/>
                </a:cxn>
                <a:cxn ang="0">
                  <a:pos x="79" y="554"/>
                </a:cxn>
                <a:cxn ang="0">
                  <a:pos x="103" y="589"/>
                </a:cxn>
                <a:cxn ang="0">
                  <a:pos x="147" y="585"/>
                </a:cxn>
                <a:cxn ang="0">
                  <a:pos x="161" y="585"/>
                </a:cxn>
              </a:cxnLst>
              <a:rect l="0" t="0" r="r" b="b"/>
              <a:pathLst>
                <a:path w="706" h="589">
                  <a:moveTo>
                    <a:pt x="161" y="585"/>
                  </a:moveTo>
                  <a:lnTo>
                    <a:pt x="175" y="561"/>
                  </a:lnTo>
                  <a:lnTo>
                    <a:pt x="192" y="527"/>
                  </a:lnTo>
                  <a:lnTo>
                    <a:pt x="234" y="516"/>
                  </a:lnTo>
                  <a:lnTo>
                    <a:pt x="271" y="522"/>
                  </a:lnTo>
                  <a:lnTo>
                    <a:pt x="290" y="554"/>
                  </a:lnTo>
                  <a:lnTo>
                    <a:pt x="295" y="534"/>
                  </a:lnTo>
                  <a:lnTo>
                    <a:pt x="352" y="527"/>
                  </a:lnTo>
                  <a:lnTo>
                    <a:pt x="385" y="524"/>
                  </a:lnTo>
                  <a:lnTo>
                    <a:pt x="413" y="550"/>
                  </a:lnTo>
                  <a:lnTo>
                    <a:pt x="451" y="554"/>
                  </a:lnTo>
                  <a:lnTo>
                    <a:pt x="457" y="527"/>
                  </a:lnTo>
                  <a:lnTo>
                    <a:pt x="517" y="530"/>
                  </a:lnTo>
                  <a:lnTo>
                    <a:pt x="540" y="555"/>
                  </a:lnTo>
                  <a:lnTo>
                    <a:pt x="561" y="530"/>
                  </a:lnTo>
                  <a:lnTo>
                    <a:pt x="594" y="511"/>
                  </a:lnTo>
                  <a:lnTo>
                    <a:pt x="593" y="465"/>
                  </a:lnTo>
                  <a:lnTo>
                    <a:pt x="610" y="441"/>
                  </a:lnTo>
                  <a:lnTo>
                    <a:pt x="640" y="421"/>
                  </a:lnTo>
                  <a:lnTo>
                    <a:pt x="658" y="392"/>
                  </a:lnTo>
                  <a:lnTo>
                    <a:pt x="689" y="384"/>
                  </a:lnTo>
                  <a:lnTo>
                    <a:pt x="706" y="134"/>
                  </a:lnTo>
                  <a:lnTo>
                    <a:pt x="686" y="85"/>
                  </a:lnTo>
                  <a:lnTo>
                    <a:pt x="676" y="65"/>
                  </a:lnTo>
                  <a:lnTo>
                    <a:pt x="669" y="38"/>
                  </a:lnTo>
                  <a:lnTo>
                    <a:pt x="640" y="28"/>
                  </a:lnTo>
                  <a:lnTo>
                    <a:pt x="586" y="23"/>
                  </a:lnTo>
                  <a:lnTo>
                    <a:pt x="581" y="0"/>
                  </a:lnTo>
                  <a:lnTo>
                    <a:pt x="522" y="0"/>
                  </a:lnTo>
                  <a:lnTo>
                    <a:pt x="507" y="19"/>
                  </a:lnTo>
                  <a:lnTo>
                    <a:pt x="460" y="39"/>
                  </a:lnTo>
                  <a:lnTo>
                    <a:pt x="421" y="70"/>
                  </a:lnTo>
                  <a:lnTo>
                    <a:pt x="401" y="102"/>
                  </a:lnTo>
                  <a:lnTo>
                    <a:pt x="325" y="126"/>
                  </a:lnTo>
                  <a:lnTo>
                    <a:pt x="318" y="157"/>
                  </a:lnTo>
                  <a:lnTo>
                    <a:pt x="290" y="173"/>
                  </a:lnTo>
                  <a:lnTo>
                    <a:pt x="259" y="208"/>
                  </a:lnTo>
                  <a:lnTo>
                    <a:pt x="183" y="212"/>
                  </a:lnTo>
                  <a:lnTo>
                    <a:pt x="178" y="237"/>
                  </a:lnTo>
                  <a:lnTo>
                    <a:pt x="186" y="388"/>
                  </a:lnTo>
                  <a:lnTo>
                    <a:pt x="154" y="392"/>
                  </a:lnTo>
                  <a:lnTo>
                    <a:pt x="154" y="419"/>
                  </a:lnTo>
                  <a:lnTo>
                    <a:pt x="35" y="434"/>
                  </a:lnTo>
                  <a:lnTo>
                    <a:pt x="0" y="460"/>
                  </a:lnTo>
                  <a:lnTo>
                    <a:pt x="16" y="486"/>
                  </a:lnTo>
                  <a:lnTo>
                    <a:pt x="44" y="502"/>
                  </a:lnTo>
                  <a:lnTo>
                    <a:pt x="48" y="550"/>
                  </a:lnTo>
                  <a:lnTo>
                    <a:pt x="79" y="554"/>
                  </a:lnTo>
                  <a:lnTo>
                    <a:pt x="103" y="589"/>
                  </a:lnTo>
                  <a:lnTo>
                    <a:pt x="147" y="585"/>
                  </a:lnTo>
                  <a:lnTo>
                    <a:pt x="161" y="58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3" name="Freeform 222"/>
            <p:cNvSpPr>
              <a:spLocks noChangeAspect="1"/>
            </p:cNvSpPr>
            <p:nvPr/>
          </p:nvSpPr>
          <p:spPr bwMode="auto">
            <a:xfrm>
              <a:off x="1216283" y="3044746"/>
              <a:ext cx="47472" cy="76323"/>
            </a:xfrm>
            <a:custGeom>
              <a:avLst/>
              <a:gdLst/>
              <a:ahLst/>
              <a:cxnLst>
                <a:cxn ang="0">
                  <a:pos x="81" y="91"/>
                </a:cxn>
                <a:cxn ang="0">
                  <a:pos x="37" y="129"/>
                </a:cxn>
                <a:cxn ang="0">
                  <a:pos x="20" y="114"/>
                </a:cxn>
                <a:cxn ang="0">
                  <a:pos x="0" y="97"/>
                </a:cxn>
                <a:cxn ang="0">
                  <a:pos x="27" y="48"/>
                </a:cxn>
                <a:cxn ang="0">
                  <a:pos x="19" y="13"/>
                </a:cxn>
                <a:cxn ang="0">
                  <a:pos x="47" y="0"/>
                </a:cxn>
                <a:cxn ang="0">
                  <a:pos x="69" y="44"/>
                </a:cxn>
                <a:cxn ang="0">
                  <a:pos x="81" y="91"/>
                </a:cxn>
                <a:cxn ang="0">
                  <a:pos x="81" y="91"/>
                </a:cxn>
              </a:cxnLst>
              <a:rect l="0" t="0" r="r" b="b"/>
              <a:pathLst>
                <a:path w="81" h="129">
                  <a:moveTo>
                    <a:pt x="81" y="91"/>
                  </a:moveTo>
                  <a:lnTo>
                    <a:pt x="37" y="129"/>
                  </a:lnTo>
                  <a:lnTo>
                    <a:pt x="20" y="114"/>
                  </a:lnTo>
                  <a:lnTo>
                    <a:pt x="0" y="97"/>
                  </a:lnTo>
                  <a:lnTo>
                    <a:pt x="27" y="48"/>
                  </a:lnTo>
                  <a:lnTo>
                    <a:pt x="19" y="13"/>
                  </a:lnTo>
                  <a:lnTo>
                    <a:pt x="47" y="0"/>
                  </a:lnTo>
                  <a:lnTo>
                    <a:pt x="69" y="44"/>
                  </a:lnTo>
                  <a:lnTo>
                    <a:pt x="81" y="91"/>
                  </a:lnTo>
                  <a:lnTo>
                    <a:pt x="81" y="9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4" name="Freeform 223"/>
            <p:cNvSpPr>
              <a:spLocks noChangeAspect="1"/>
            </p:cNvSpPr>
            <p:nvPr/>
          </p:nvSpPr>
          <p:spPr bwMode="auto">
            <a:xfrm>
              <a:off x="1555622" y="3289692"/>
              <a:ext cx="56264" cy="26624"/>
            </a:xfrm>
            <a:custGeom>
              <a:avLst/>
              <a:gdLst/>
              <a:ahLst/>
              <a:cxnLst>
                <a:cxn ang="0">
                  <a:pos x="49" y="36"/>
                </a:cxn>
                <a:cxn ang="0">
                  <a:pos x="49" y="36"/>
                </a:cxn>
                <a:cxn ang="0">
                  <a:pos x="39" y="38"/>
                </a:cxn>
                <a:cxn ang="0">
                  <a:pos x="28" y="41"/>
                </a:cxn>
                <a:cxn ang="0">
                  <a:pos x="15" y="44"/>
                </a:cxn>
                <a:cxn ang="0">
                  <a:pos x="11" y="46"/>
                </a:cxn>
                <a:cxn ang="0">
                  <a:pos x="8" y="46"/>
                </a:cxn>
                <a:cxn ang="0">
                  <a:pos x="8" y="46"/>
                </a:cxn>
                <a:cxn ang="0">
                  <a:pos x="4" y="43"/>
                </a:cxn>
                <a:cxn ang="0">
                  <a:pos x="1" y="41"/>
                </a:cxn>
                <a:cxn ang="0">
                  <a:pos x="0" y="37"/>
                </a:cxn>
                <a:cxn ang="0">
                  <a:pos x="0" y="32"/>
                </a:cxn>
                <a:cxn ang="0">
                  <a:pos x="0" y="23"/>
                </a:cxn>
                <a:cxn ang="0">
                  <a:pos x="1" y="17"/>
                </a:cxn>
                <a:cxn ang="0">
                  <a:pos x="1" y="17"/>
                </a:cxn>
                <a:cxn ang="0">
                  <a:pos x="3" y="15"/>
                </a:cxn>
                <a:cxn ang="0">
                  <a:pos x="4" y="14"/>
                </a:cxn>
                <a:cxn ang="0">
                  <a:pos x="11" y="12"/>
                </a:cxn>
                <a:cxn ang="0">
                  <a:pos x="24" y="12"/>
                </a:cxn>
                <a:cxn ang="0">
                  <a:pos x="42" y="12"/>
                </a:cxn>
                <a:cxn ang="0">
                  <a:pos x="42" y="12"/>
                </a:cxn>
                <a:cxn ang="0">
                  <a:pos x="48" y="12"/>
                </a:cxn>
                <a:cxn ang="0">
                  <a:pos x="54" y="9"/>
                </a:cxn>
                <a:cxn ang="0">
                  <a:pos x="68" y="5"/>
                </a:cxn>
                <a:cxn ang="0">
                  <a:pos x="82" y="2"/>
                </a:cxn>
                <a:cxn ang="0">
                  <a:pos x="88" y="2"/>
                </a:cxn>
                <a:cxn ang="0">
                  <a:pos x="93" y="0"/>
                </a:cxn>
                <a:cxn ang="0">
                  <a:pos x="93" y="0"/>
                </a:cxn>
                <a:cxn ang="0">
                  <a:pos x="94" y="2"/>
                </a:cxn>
                <a:cxn ang="0">
                  <a:pos x="94" y="4"/>
                </a:cxn>
                <a:cxn ang="0">
                  <a:pos x="91" y="10"/>
                </a:cxn>
                <a:cxn ang="0">
                  <a:pos x="84" y="18"/>
                </a:cxn>
                <a:cxn ang="0">
                  <a:pos x="82" y="23"/>
                </a:cxn>
                <a:cxn ang="0">
                  <a:pos x="82" y="23"/>
                </a:cxn>
                <a:cxn ang="0">
                  <a:pos x="81" y="25"/>
                </a:cxn>
                <a:cxn ang="0">
                  <a:pos x="81" y="28"/>
                </a:cxn>
                <a:cxn ang="0">
                  <a:pos x="78" y="29"/>
                </a:cxn>
                <a:cxn ang="0">
                  <a:pos x="76" y="32"/>
                </a:cxn>
                <a:cxn ang="0">
                  <a:pos x="70" y="33"/>
                </a:cxn>
                <a:cxn ang="0">
                  <a:pos x="65" y="34"/>
                </a:cxn>
                <a:cxn ang="0">
                  <a:pos x="49" y="36"/>
                </a:cxn>
                <a:cxn ang="0">
                  <a:pos x="49" y="36"/>
                </a:cxn>
              </a:cxnLst>
              <a:rect l="0" t="0" r="r" b="b"/>
              <a:pathLst>
                <a:path w="94" h="46">
                  <a:moveTo>
                    <a:pt x="49" y="36"/>
                  </a:moveTo>
                  <a:lnTo>
                    <a:pt x="49" y="36"/>
                  </a:lnTo>
                  <a:lnTo>
                    <a:pt x="39" y="38"/>
                  </a:lnTo>
                  <a:lnTo>
                    <a:pt x="28" y="41"/>
                  </a:lnTo>
                  <a:lnTo>
                    <a:pt x="15" y="44"/>
                  </a:lnTo>
                  <a:lnTo>
                    <a:pt x="11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4" y="43"/>
                  </a:lnTo>
                  <a:lnTo>
                    <a:pt x="1" y="41"/>
                  </a:lnTo>
                  <a:lnTo>
                    <a:pt x="0" y="37"/>
                  </a:lnTo>
                  <a:lnTo>
                    <a:pt x="0" y="32"/>
                  </a:lnTo>
                  <a:lnTo>
                    <a:pt x="0" y="23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3" y="15"/>
                  </a:lnTo>
                  <a:lnTo>
                    <a:pt x="4" y="14"/>
                  </a:lnTo>
                  <a:lnTo>
                    <a:pt x="11" y="12"/>
                  </a:lnTo>
                  <a:lnTo>
                    <a:pt x="24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54" y="9"/>
                  </a:lnTo>
                  <a:lnTo>
                    <a:pt x="68" y="5"/>
                  </a:lnTo>
                  <a:lnTo>
                    <a:pt x="82" y="2"/>
                  </a:lnTo>
                  <a:lnTo>
                    <a:pt x="88" y="2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4" y="2"/>
                  </a:lnTo>
                  <a:lnTo>
                    <a:pt x="94" y="4"/>
                  </a:lnTo>
                  <a:lnTo>
                    <a:pt x="91" y="10"/>
                  </a:lnTo>
                  <a:lnTo>
                    <a:pt x="84" y="18"/>
                  </a:lnTo>
                  <a:lnTo>
                    <a:pt x="82" y="23"/>
                  </a:lnTo>
                  <a:lnTo>
                    <a:pt x="82" y="23"/>
                  </a:lnTo>
                  <a:lnTo>
                    <a:pt x="81" y="25"/>
                  </a:lnTo>
                  <a:lnTo>
                    <a:pt x="81" y="28"/>
                  </a:lnTo>
                  <a:lnTo>
                    <a:pt x="78" y="29"/>
                  </a:lnTo>
                  <a:lnTo>
                    <a:pt x="76" y="32"/>
                  </a:lnTo>
                  <a:lnTo>
                    <a:pt x="70" y="33"/>
                  </a:lnTo>
                  <a:lnTo>
                    <a:pt x="65" y="34"/>
                  </a:lnTo>
                  <a:lnTo>
                    <a:pt x="49" y="36"/>
                  </a:lnTo>
                  <a:lnTo>
                    <a:pt x="49" y="3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5" name="Freeform 224"/>
            <p:cNvSpPr>
              <a:spLocks noChangeAspect="1"/>
            </p:cNvSpPr>
            <p:nvPr/>
          </p:nvSpPr>
          <p:spPr bwMode="auto">
            <a:xfrm>
              <a:off x="1632985" y="3374890"/>
              <a:ext cx="109010" cy="133123"/>
            </a:xfrm>
            <a:custGeom>
              <a:avLst/>
              <a:gdLst/>
              <a:ahLst/>
              <a:cxnLst>
                <a:cxn ang="0">
                  <a:pos x="55" y="225"/>
                </a:cxn>
                <a:cxn ang="0">
                  <a:pos x="95" y="186"/>
                </a:cxn>
                <a:cxn ang="0">
                  <a:pos x="134" y="154"/>
                </a:cxn>
                <a:cxn ang="0">
                  <a:pos x="134" y="90"/>
                </a:cxn>
                <a:cxn ang="0">
                  <a:pos x="186" y="48"/>
                </a:cxn>
                <a:cxn ang="0">
                  <a:pos x="158" y="0"/>
                </a:cxn>
                <a:cxn ang="0">
                  <a:pos x="103" y="44"/>
                </a:cxn>
                <a:cxn ang="0">
                  <a:pos x="40" y="35"/>
                </a:cxn>
                <a:cxn ang="0">
                  <a:pos x="9" y="8"/>
                </a:cxn>
                <a:cxn ang="0">
                  <a:pos x="7" y="114"/>
                </a:cxn>
                <a:cxn ang="0">
                  <a:pos x="0" y="170"/>
                </a:cxn>
                <a:cxn ang="0">
                  <a:pos x="0" y="225"/>
                </a:cxn>
                <a:cxn ang="0">
                  <a:pos x="55" y="225"/>
                </a:cxn>
              </a:cxnLst>
              <a:rect l="0" t="0" r="r" b="b"/>
              <a:pathLst>
                <a:path w="186" h="225">
                  <a:moveTo>
                    <a:pt x="55" y="225"/>
                  </a:moveTo>
                  <a:lnTo>
                    <a:pt x="95" y="186"/>
                  </a:lnTo>
                  <a:lnTo>
                    <a:pt x="134" y="154"/>
                  </a:lnTo>
                  <a:lnTo>
                    <a:pt x="134" y="90"/>
                  </a:lnTo>
                  <a:lnTo>
                    <a:pt x="186" y="48"/>
                  </a:lnTo>
                  <a:lnTo>
                    <a:pt x="158" y="0"/>
                  </a:lnTo>
                  <a:lnTo>
                    <a:pt x="103" y="44"/>
                  </a:lnTo>
                  <a:lnTo>
                    <a:pt x="40" y="35"/>
                  </a:lnTo>
                  <a:lnTo>
                    <a:pt x="9" y="8"/>
                  </a:lnTo>
                  <a:lnTo>
                    <a:pt x="7" y="114"/>
                  </a:lnTo>
                  <a:lnTo>
                    <a:pt x="0" y="170"/>
                  </a:lnTo>
                  <a:lnTo>
                    <a:pt x="0" y="225"/>
                  </a:lnTo>
                  <a:lnTo>
                    <a:pt x="55" y="22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6" name="Freeform 225"/>
            <p:cNvSpPr>
              <a:spLocks noChangeAspect="1"/>
            </p:cNvSpPr>
            <p:nvPr/>
          </p:nvSpPr>
          <p:spPr bwMode="auto">
            <a:xfrm>
              <a:off x="1638260" y="3247092"/>
              <a:ext cx="154724" cy="154422"/>
            </a:xfrm>
            <a:custGeom>
              <a:avLst/>
              <a:gdLst/>
              <a:ahLst/>
              <a:cxnLst>
                <a:cxn ang="0">
                  <a:pos x="0" y="226"/>
                </a:cxn>
                <a:cxn ang="0">
                  <a:pos x="31" y="253"/>
                </a:cxn>
                <a:cxn ang="0">
                  <a:pos x="94" y="262"/>
                </a:cxn>
                <a:cxn ang="0">
                  <a:pos x="149" y="218"/>
                </a:cxn>
                <a:cxn ang="0">
                  <a:pos x="197" y="190"/>
                </a:cxn>
                <a:cxn ang="0">
                  <a:pos x="256" y="150"/>
                </a:cxn>
                <a:cxn ang="0">
                  <a:pos x="263" y="108"/>
                </a:cxn>
                <a:cxn ang="0">
                  <a:pos x="264" y="47"/>
                </a:cxn>
                <a:cxn ang="0">
                  <a:pos x="249" y="0"/>
                </a:cxn>
                <a:cxn ang="0">
                  <a:pos x="190" y="11"/>
                </a:cxn>
                <a:cxn ang="0">
                  <a:pos x="139" y="11"/>
                </a:cxn>
                <a:cxn ang="0">
                  <a:pos x="67" y="20"/>
                </a:cxn>
                <a:cxn ang="0">
                  <a:pos x="27" y="27"/>
                </a:cxn>
                <a:cxn ang="0">
                  <a:pos x="15" y="72"/>
                </a:cxn>
                <a:cxn ang="0">
                  <a:pos x="27" y="123"/>
                </a:cxn>
                <a:cxn ang="0">
                  <a:pos x="66" y="150"/>
                </a:cxn>
                <a:cxn ang="0">
                  <a:pos x="42" y="202"/>
                </a:cxn>
                <a:cxn ang="0">
                  <a:pos x="0" y="226"/>
                </a:cxn>
              </a:cxnLst>
              <a:rect l="0" t="0" r="r" b="b"/>
              <a:pathLst>
                <a:path w="264" h="262">
                  <a:moveTo>
                    <a:pt x="0" y="226"/>
                  </a:moveTo>
                  <a:lnTo>
                    <a:pt x="31" y="253"/>
                  </a:lnTo>
                  <a:lnTo>
                    <a:pt x="94" y="262"/>
                  </a:lnTo>
                  <a:lnTo>
                    <a:pt x="149" y="218"/>
                  </a:lnTo>
                  <a:lnTo>
                    <a:pt x="197" y="190"/>
                  </a:lnTo>
                  <a:lnTo>
                    <a:pt x="256" y="150"/>
                  </a:lnTo>
                  <a:lnTo>
                    <a:pt x="263" y="108"/>
                  </a:lnTo>
                  <a:lnTo>
                    <a:pt x="264" y="47"/>
                  </a:lnTo>
                  <a:lnTo>
                    <a:pt x="249" y="0"/>
                  </a:lnTo>
                  <a:lnTo>
                    <a:pt x="190" y="11"/>
                  </a:lnTo>
                  <a:lnTo>
                    <a:pt x="139" y="11"/>
                  </a:lnTo>
                  <a:lnTo>
                    <a:pt x="67" y="20"/>
                  </a:lnTo>
                  <a:lnTo>
                    <a:pt x="27" y="27"/>
                  </a:lnTo>
                  <a:lnTo>
                    <a:pt x="15" y="72"/>
                  </a:lnTo>
                  <a:lnTo>
                    <a:pt x="27" y="123"/>
                  </a:lnTo>
                  <a:lnTo>
                    <a:pt x="66" y="150"/>
                  </a:lnTo>
                  <a:lnTo>
                    <a:pt x="42" y="202"/>
                  </a:lnTo>
                  <a:lnTo>
                    <a:pt x="0" y="22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7" name="Freeform 226"/>
            <p:cNvSpPr>
              <a:spLocks noChangeAspect="1"/>
            </p:cNvSpPr>
            <p:nvPr/>
          </p:nvSpPr>
          <p:spPr bwMode="auto">
            <a:xfrm>
              <a:off x="2299356" y="3202718"/>
              <a:ext cx="355164" cy="319494"/>
            </a:xfrm>
            <a:custGeom>
              <a:avLst/>
              <a:gdLst/>
              <a:ahLst/>
              <a:cxnLst>
                <a:cxn ang="0">
                  <a:pos x="604" y="88"/>
                </a:cxn>
                <a:cxn ang="0">
                  <a:pos x="506" y="83"/>
                </a:cxn>
                <a:cxn ang="0">
                  <a:pos x="506" y="83"/>
                </a:cxn>
                <a:cxn ang="0">
                  <a:pos x="459" y="63"/>
                </a:cxn>
                <a:cxn ang="0">
                  <a:pos x="435" y="4"/>
                </a:cxn>
                <a:cxn ang="0">
                  <a:pos x="411" y="0"/>
                </a:cxn>
                <a:cxn ang="0">
                  <a:pos x="391" y="41"/>
                </a:cxn>
                <a:cxn ang="0">
                  <a:pos x="321" y="56"/>
                </a:cxn>
                <a:cxn ang="0">
                  <a:pos x="293" y="72"/>
                </a:cxn>
                <a:cxn ang="0">
                  <a:pos x="257" y="56"/>
                </a:cxn>
                <a:cxn ang="0">
                  <a:pos x="198" y="52"/>
                </a:cxn>
                <a:cxn ang="0">
                  <a:pos x="174" y="72"/>
                </a:cxn>
                <a:cxn ang="0">
                  <a:pos x="139" y="76"/>
                </a:cxn>
                <a:cxn ang="0">
                  <a:pos x="127" y="100"/>
                </a:cxn>
                <a:cxn ang="0">
                  <a:pos x="95" y="120"/>
                </a:cxn>
                <a:cxn ang="0">
                  <a:pos x="87" y="159"/>
                </a:cxn>
                <a:cxn ang="0">
                  <a:pos x="39" y="170"/>
                </a:cxn>
                <a:cxn ang="0">
                  <a:pos x="0" y="206"/>
                </a:cxn>
                <a:cxn ang="0">
                  <a:pos x="12" y="277"/>
                </a:cxn>
                <a:cxn ang="0">
                  <a:pos x="0" y="388"/>
                </a:cxn>
                <a:cxn ang="0">
                  <a:pos x="56" y="388"/>
                </a:cxn>
                <a:cxn ang="0">
                  <a:pos x="71" y="444"/>
                </a:cxn>
                <a:cxn ang="0">
                  <a:pos x="48" y="475"/>
                </a:cxn>
                <a:cxn ang="0">
                  <a:pos x="43" y="518"/>
                </a:cxn>
                <a:cxn ang="0">
                  <a:pos x="95" y="542"/>
                </a:cxn>
                <a:cxn ang="0">
                  <a:pos x="115" y="503"/>
                </a:cxn>
                <a:cxn ang="0">
                  <a:pos x="245" y="490"/>
                </a:cxn>
                <a:cxn ang="0">
                  <a:pos x="265" y="444"/>
                </a:cxn>
                <a:cxn ang="0">
                  <a:pos x="301" y="416"/>
                </a:cxn>
                <a:cxn ang="0">
                  <a:pos x="352" y="383"/>
                </a:cxn>
                <a:cxn ang="0">
                  <a:pos x="391" y="380"/>
                </a:cxn>
                <a:cxn ang="0">
                  <a:pos x="404" y="324"/>
                </a:cxn>
                <a:cxn ang="0">
                  <a:pos x="435" y="304"/>
                </a:cxn>
                <a:cxn ang="0">
                  <a:pos x="455" y="258"/>
                </a:cxn>
                <a:cxn ang="0">
                  <a:pos x="473" y="200"/>
                </a:cxn>
                <a:cxn ang="0">
                  <a:pos x="473" y="200"/>
                </a:cxn>
                <a:cxn ang="0">
                  <a:pos x="483" y="151"/>
                </a:cxn>
                <a:cxn ang="0">
                  <a:pos x="525" y="135"/>
                </a:cxn>
                <a:cxn ang="0">
                  <a:pos x="525" y="135"/>
                </a:cxn>
                <a:cxn ang="0">
                  <a:pos x="554" y="142"/>
                </a:cxn>
                <a:cxn ang="0">
                  <a:pos x="593" y="162"/>
                </a:cxn>
                <a:cxn ang="0">
                  <a:pos x="604" y="88"/>
                </a:cxn>
              </a:cxnLst>
              <a:rect l="0" t="0" r="r" b="b"/>
              <a:pathLst>
                <a:path w="604" h="542">
                  <a:moveTo>
                    <a:pt x="604" y="88"/>
                  </a:moveTo>
                  <a:lnTo>
                    <a:pt x="506" y="83"/>
                  </a:lnTo>
                  <a:lnTo>
                    <a:pt x="506" y="83"/>
                  </a:lnTo>
                  <a:lnTo>
                    <a:pt x="459" y="63"/>
                  </a:lnTo>
                  <a:lnTo>
                    <a:pt x="435" y="4"/>
                  </a:lnTo>
                  <a:lnTo>
                    <a:pt x="411" y="0"/>
                  </a:lnTo>
                  <a:lnTo>
                    <a:pt x="391" y="41"/>
                  </a:lnTo>
                  <a:lnTo>
                    <a:pt x="321" y="56"/>
                  </a:lnTo>
                  <a:lnTo>
                    <a:pt x="293" y="72"/>
                  </a:lnTo>
                  <a:lnTo>
                    <a:pt x="257" y="56"/>
                  </a:lnTo>
                  <a:lnTo>
                    <a:pt x="198" y="52"/>
                  </a:lnTo>
                  <a:lnTo>
                    <a:pt x="174" y="72"/>
                  </a:lnTo>
                  <a:lnTo>
                    <a:pt x="139" y="76"/>
                  </a:lnTo>
                  <a:lnTo>
                    <a:pt x="127" y="100"/>
                  </a:lnTo>
                  <a:lnTo>
                    <a:pt x="95" y="120"/>
                  </a:lnTo>
                  <a:lnTo>
                    <a:pt x="87" y="159"/>
                  </a:lnTo>
                  <a:lnTo>
                    <a:pt x="39" y="170"/>
                  </a:lnTo>
                  <a:lnTo>
                    <a:pt x="0" y="206"/>
                  </a:lnTo>
                  <a:lnTo>
                    <a:pt x="12" y="277"/>
                  </a:lnTo>
                  <a:lnTo>
                    <a:pt x="0" y="388"/>
                  </a:lnTo>
                  <a:lnTo>
                    <a:pt x="56" y="388"/>
                  </a:lnTo>
                  <a:lnTo>
                    <a:pt x="71" y="444"/>
                  </a:lnTo>
                  <a:lnTo>
                    <a:pt x="48" y="475"/>
                  </a:lnTo>
                  <a:lnTo>
                    <a:pt x="43" y="518"/>
                  </a:lnTo>
                  <a:lnTo>
                    <a:pt x="95" y="542"/>
                  </a:lnTo>
                  <a:lnTo>
                    <a:pt x="115" y="503"/>
                  </a:lnTo>
                  <a:lnTo>
                    <a:pt x="245" y="490"/>
                  </a:lnTo>
                  <a:lnTo>
                    <a:pt x="265" y="444"/>
                  </a:lnTo>
                  <a:lnTo>
                    <a:pt x="301" y="416"/>
                  </a:lnTo>
                  <a:lnTo>
                    <a:pt x="352" y="383"/>
                  </a:lnTo>
                  <a:lnTo>
                    <a:pt x="391" y="380"/>
                  </a:lnTo>
                  <a:lnTo>
                    <a:pt x="404" y="324"/>
                  </a:lnTo>
                  <a:lnTo>
                    <a:pt x="435" y="304"/>
                  </a:lnTo>
                  <a:lnTo>
                    <a:pt x="455" y="258"/>
                  </a:lnTo>
                  <a:lnTo>
                    <a:pt x="473" y="200"/>
                  </a:lnTo>
                  <a:lnTo>
                    <a:pt x="473" y="200"/>
                  </a:lnTo>
                  <a:lnTo>
                    <a:pt x="483" y="151"/>
                  </a:lnTo>
                  <a:lnTo>
                    <a:pt x="525" y="135"/>
                  </a:lnTo>
                  <a:lnTo>
                    <a:pt x="525" y="135"/>
                  </a:lnTo>
                  <a:lnTo>
                    <a:pt x="554" y="142"/>
                  </a:lnTo>
                  <a:lnTo>
                    <a:pt x="593" y="162"/>
                  </a:lnTo>
                  <a:lnTo>
                    <a:pt x="604" y="8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8" name="Freeform 227"/>
            <p:cNvSpPr>
              <a:spLocks noChangeAspect="1"/>
            </p:cNvSpPr>
            <p:nvPr/>
          </p:nvSpPr>
          <p:spPr bwMode="auto">
            <a:xfrm>
              <a:off x="2079576" y="3082021"/>
              <a:ext cx="337581" cy="241395"/>
            </a:xfrm>
            <a:custGeom>
              <a:avLst/>
              <a:gdLst/>
              <a:ahLst/>
              <a:cxnLst>
                <a:cxn ang="0">
                  <a:pos x="573" y="256"/>
                </a:cxn>
                <a:cxn ang="0">
                  <a:pos x="549" y="276"/>
                </a:cxn>
                <a:cxn ang="0">
                  <a:pos x="514" y="280"/>
                </a:cxn>
                <a:cxn ang="0">
                  <a:pos x="502" y="304"/>
                </a:cxn>
                <a:cxn ang="0">
                  <a:pos x="470" y="324"/>
                </a:cxn>
                <a:cxn ang="0">
                  <a:pos x="462" y="363"/>
                </a:cxn>
                <a:cxn ang="0">
                  <a:pos x="414" y="374"/>
                </a:cxn>
                <a:cxn ang="0">
                  <a:pos x="375" y="410"/>
                </a:cxn>
                <a:cxn ang="0">
                  <a:pos x="391" y="307"/>
                </a:cxn>
                <a:cxn ang="0">
                  <a:pos x="328" y="276"/>
                </a:cxn>
                <a:cxn ang="0">
                  <a:pos x="256" y="225"/>
                </a:cxn>
                <a:cxn ang="0">
                  <a:pos x="205" y="221"/>
                </a:cxn>
                <a:cxn ang="0">
                  <a:pos x="126" y="204"/>
                </a:cxn>
                <a:cxn ang="0">
                  <a:pos x="107" y="245"/>
                </a:cxn>
                <a:cxn ang="0">
                  <a:pos x="59" y="263"/>
                </a:cxn>
                <a:cxn ang="0">
                  <a:pos x="52" y="204"/>
                </a:cxn>
                <a:cxn ang="0">
                  <a:pos x="48" y="173"/>
                </a:cxn>
                <a:cxn ang="0">
                  <a:pos x="35" y="149"/>
                </a:cxn>
                <a:cxn ang="0">
                  <a:pos x="28" y="98"/>
                </a:cxn>
                <a:cxn ang="0">
                  <a:pos x="8" y="78"/>
                </a:cxn>
                <a:cxn ang="0">
                  <a:pos x="24" y="59"/>
                </a:cxn>
                <a:cxn ang="0">
                  <a:pos x="0" y="42"/>
                </a:cxn>
                <a:cxn ang="0">
                  <a:pos x="4" y="11"/>
                </a:cxn>
                <a:cxn ang="0">
                  <a:pos x="52" y="58"/>
                </a:cxn>
                <a:cxn ang="0">
                  <a:pos x="75" y="17"/>
                </a:cxn>
                <a:cxn ang="0">
                  <a:pos x="119" y="0"/>
                </a:cxn>
                <a:cxn ang="0">
                  <a:pos x="156" y="15"/>
                </a:cxn>
                <a:cxn ang="0">
                  <a:pos x="156" y="46"/>
                </a:cxn>
                <a:cxn ang="0">
                  <a:pos x="197" y="59"/>
                </a:cxn>
                <a:cxn ang="0">
                  <a:pos x="254" y="76"/>
                </a:cxn>
                <a:cxn ang="0">
                  <a:pos x="261" y="42"/>
                </a:cxn>
                <a:cxn ang="0">
                  <a:pos x="291" y="34"/>
                </a:cxn>
                <a:cxn ang="0">
                  <a:pos x="322" y="19"/>
                </a:cxn>
                <a:cxn ang="0">
                  <a:pos x="337" y="46"/>
                </a:cxn>
                <a:cxn ang="0">
                  <a:pos x="360" y="65"/>
                </a:cxn>
                <a:cxn ang="0">
                  <a:pos x="349" y="88"/>
                </a:cxn>
                <a:cxn ang="0">
                  <a:pos x="383" y="95"/>
                </a:cxn>
                <a:cxn ang="0">
                  <a:pos x="406" y="95"/>
                </a:cxn>
                <a:cxn ang="0">
                  <a:pos x="432" y="106"/>
                </a:cxn>
                <a:cxn ang="0">
                  <a:pos x="421" y="144"/>
                </a:cxn>
                <a:cxn ang="0">
                  <a:pos x="526" y="227"/>
                </a:cxn>
                <a:cxn ang="0">
                  <a:pos x="553" y="212"/>
                </a:cxn>
                <a:cxn ang="0">
                  <a:pos x="575" y="223"/>
                </a:cxn>
                <a:cxn ang="0">
                  <a:pos x="573" y="256"/>
                </a:cxn>
              </a:cxnLst>
              <a:rect l="0" t="0" r="r" b="b"/>
              <a:pathLst>
                <a:path w="575" h="410">
                  <a:moveTo>
                    <a:pt x="573" y="256"/>
                  </a:moveTo>
                  <a:lnTo>
                    <a:pt x="549" y="276"/>
                  </a:lnTo>
                  <a:lnTo>
                    <a:pt x="514" y="280"/>
                  </a:lnTo>
                  <a:lnTo>
                    <a:pt x="502" y="304"/>
                  </a:lnTo>
                  <a:lnTo>
                    <a:pt x="470" y="324"/>
                  </a:lnTo>
                  <a:lnTo>
                    <a:pt x="462" y="363"/>
                  </a:lnTo>
                  <a:lnTo>
                    <a:pt x="414" y="374"/>
                  </a:lnTo>
                  <a:lnTo>
                    <a:pt x="375" y="410"/>
                  </a:lnTo>
                  <a:lnTo>
                    <a:pt x="391" y="307"/>
                  </a:lnTo>
                  <a:lnTo>
                    <a:pt x="328" y="276"/>
                  </a:lnTo>
                  <a:lnTo>
                    <a:pt x="256" y="225"/>
                  </a:lnTo>
                  <a:lnTo>
                    <a:pt x="205" y="221"/>
                  </a:lnTo>
                  <a:lnTo>
                    <a:pt x="126" y="204"/>
                  </a:lnTo>
                  <a:lnTo>
                    <a:pt x="107" y="245"/>
                  </a:lnTo>
                  <a:lnTo>
                    <a:pt x="59" y="263"/>
                  </a:lnTo>
                  <a:lnTo>
                    <a:pt x="52" y="204"/>
                  </a:lnTo>
                  <a:lnTo>
                    <a:pt x="48" y="173"/>
                  </a:lnTo>
                  <a:lnTo>
                    <a:pt x="35" y="149"/>
                  </a:lnTo>
                  <a:lnTo>
                    <a:pt x="28" y="98"/>
                  </a:lnTo>
                  <a:lnTo>
                    <a:pt x="8" y="78"/>
                  </a:lnTo>
                  <a:lnTo>
                    <a:pt x="24" y="59"/>
                  </a:lnTo>
                  <a:lnTo>
                    <a:pt x="0" y="42"/>
                  </a:lnTo>
                  <a:lnTo>
                    <a:pt x="4" y="11"/>
                  </a:lnTo>
                  <a:lnTo>
                    <a:pt x="52" y="58"/>
                  </a:lnTo>
                  <a:lnTo>
                    <a:pt x="75" y="17"/>
                  </a:lnTo>
                  <a:lnTo>
                    <a:pt x="119" y="0"/>
                  </a:lnTo>
                  <a:lnTo>
                    <a:pt x="156" y="15"/>
                  </a:lnTo>
                  <a:lnTo>
                    <a:pt x="156" y="46"/>
                  </a:lnTo>
                  <a:lnTo>
                    <a:pt x="197" y="59"/>
                  </a:lnTo>
                  <a:lnTo>
                    <a:pt x="254" y="76"/>
                  </a:lnTo>
                  <a:lnTo>
                    <a:pt x="261" y="42"/>
                  </a:lnTo>
                  <a:lnTo>
                    <a:pt x="291" y="34"/>
                  </a:lnTo>
                  <a:lnTo>
                    <a:pt x="322" y="19"/>
                  </a:lnTo>
                  <a:lnTo>
                    <a:pt x="337" y="46"/>
                  </a:lnTo>
                  <a:lnTo>
                    <a:pt x="360" y="65"/>
                  </a:lnTo>
                  <a:lnTo>
                    <a:pt x="349" y="88"/>
                  </a:lnTo>
                  <a:lnTo>
                    <a:pt x="383" y="95"/>
                  </a:lnTo>
                  <a:lnTo>
                    <a:pt x="406" y="95"/>
                  </a:lnTo>
                  <a:lnTo>
                    <a:pt x="432" y="106"/>
                  </a:lnTo>
                  <a:lnTo>
                    <a:pt x="421" y="144"/>
                  </a:lnTo>
                  <a:lnTo>
                    <a:pt x="526" y="227"/>
                  </a:lnTo>
                  <a:lnTo>
                    <a:pt x="553" y="212"/>
                  </a:lnTo>
                  <a:lnTo>
                    <a:pt x="575" y="223"/>
                  </a:lnTo>
                  <a:lnTo>
                    <a:pt x="573" y="25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99" name="Freeform 228"/>
            <p:cNvSpPr>
              <a:spLocks noChangeAspect="1"/>
            </p:cNvSpPr>
            <p:nvPr/>
          </p:nvSpPr>
          <p:spPr bwMode="auto">
            <a:xfrm>
              <a:off x="2471664" y="3115746"/>
              <a:ext cx="214505" cy="138448"/>
            </a:xfrm>
            <a:custGeom>
              <a:avLst/>
              <a:gdLst/>
              <a:ahLst/>
              <a:cxnLst>
                <a:cxn ang="0">
                  <a:pos x="112" y="26"/>
                </a:cxn>
                <a:cxn ang="0">
                  <a:pos x="85" y="79"/>
                </a:cxn>
                <a:cxn ang="0">
                  <a:pos x="48" y="128"/>
                </a:cxn>
                <a:cxn ang="0">
                  <a:pos x="0" y="218"/>
                </a:cxn>
                <a:cxn ang="0">
                  <a:pos x="28" y="202"/>
                </a:cxn>
                <a:cxn ang="0">
                  <a:pos x="98" y="187"/>
                </a:cxn>
                <a:cxn ang="0">
                  <a:pos x="118" y="146"/>
                </a:cxn>
                <a:cxn ang="0">
                  <a:pos x="142" y="150"/>
                </a:cxn>
                <a:cxn ang="0">
                  <a:pos x="166" y="209"/>
                </a:cxn>
                <a:cxn ang="0">
                  <a:pos x="213" y="229"/>
                </a:cxn>
                <a:cxn ang="0">
                  <a:pos x="213" y="229"/>
                </a:cxn>
                <a:cxn ang="0">
                  <a:pos x="311" y="234"/>
                </a:cxn>
                <a:cxn ang="0">
                  <a:pos x="311" y="194"/>
                </a:cxn>
                <a:cxn ang="0">
                  <a:pos x="304" y="199"/>
                </a:cxn>
                <a:cxn ang="0">
                  <a:pos x="256" y="168"/>
                </a:cxn>
                <a:cxn ang="0">
                  <a:pos x="265" y="96"/>
                </a:cxn>
                <a:cxn ang="0">
                  <a:pos x="300" y="69"/>
                </a:cxn>
                <a:cxn ang="0">
                  <a:pos x="367" y="113"/>
                </a:cxn>
                <a:cxn ang="0">
                  <a:pos x="324" y="0"/>
                </a:cxn>
                <a:cxn ang="0">
                  <a:pos x="270" y="37"/>
                </a:cxn>
                <a:cxn ang="0">
                  <a:pos x="225" y="45"/>
                </a:cxn>
                <a:cxn ang="0">
                  <a:pos x="112" y="26"/>
                </a:cxn>
              </a:cxnLst>
              <a:rect l="0" t="0" r="r" b="b"/>
              <a:pathLst>
                <a:path w="367" h="234">
                  <a:moveTo>
                    <a:pt x="112" y="26"/>
                  </a:moveTo>
                  <a:lnTo>
                    <a:pt x="85" y="79"/>
                  </a:lnTo>
                  <a:lnTo>
                    <a:pt x="48" y="128"/>
                  </a:lnTo>
                  <a:lnTo>
                    <a:pt x="0" y="218"/>
                  </a:lnTo>
                  <a:lnTo>
                    <a:pt x="28" y="202"/>
                  </a:lnTo>
                  <a:lnTo>
                    <a:pt x="98" y="187"/>
                  </a:lnTo>
                  <a:lnTo>
                    <a:pt x="118" y="146"/>
                  </a:lnTo>
                  <a:lnTo>
                    <a:pt x="142" y="150"/>
                  </a:lnTo>
                  <a:lnTo>
                    <a:pt x="166" y="209"/>
                  </a:lnTo>
                  <a:lnTo>
                    <a:pt x="213" y="229"/>
                  </a:lnTo>
                  <a:lnTo>
                    <a:pt x="213" y="229"/>
                  </a:lnTo>
                  <a:lnTo>
                    <a:pt x="311" y="234"/>
                  </a:lnTo>
                  <a:lnTo>
                    <a:pt x="311" y="194"/>
                  </a:lnTo>
                  <a:lnTo>
                    <a:pt x="304" y="199"/>
                  </a:lnTo>
                  <a:lnTo>
                    <a:pt x="256" y="168"/>
                  </a:lnTo>
                  <a:lnTo>
                    <a:pt x="265" y="96"/>
                  </a:lnTo>
                  <a:lnTo>
                    <a:pt x="300" y="69"/>
                  </a:lnTo>
                  <a:lnTo>
                    <a:pt x="367" y="113"/>
                  </a:lnTo>
                  <a:lnTo>
                    <a:pt x="324" y="0"/>
                  </a:lnTo>
                  <a:lnTo>
                    <a:pt x="270" y="37"/>
                  </a:lnTo>
                  <a:lnTo>
                    <a:pt x="225" y="45"/>
                  </a:lnTo>
                  <a:lnTo>
                    <a:pt x="112" y="2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0" name="Freeform 229"/>
            <p:cNvSpPr>
              <a:spLocks noChangeAspect="1"/>
            </p:cNvSpPr>
            <p:nvPr/>
          </p:nvSpPr>
          <p:spPr bwMode="auto">
            <a:xfrm>
              <a:off x="2195620" y="2936474"/>
              <a:ext cx="341097" cy="308844"/>
            </a:xfrm>
            <a:custGeom>
              <a:avLst/>
              <a:gdLst/>
              <a:ahLst/>
              <a:cxnLst>
                <a:cxn ang="0">
                  <a:pos x="471" y="522"/>
                </a:cxn>
                <a:cxn ang="0">
                  <a:pos x="435" y="506"/>
                </a:cxn>
                <a:cxn ang="0">
                  <a:pos x="376" y="502"/>
                </a:cxn>
                <a:cxn ang="0">
                  <a:pos x="378" y="469"/>
                </a:cxn>
                <a:cxn ang="0">
                  <a:pos x="356" y="458"/>
                </a:cxn>
                <a:cxn ang="0">
                  <a:pos x="329" y="473"/>
                </a:cxn>
                <a:cxn ang="0">
                  <a:pos x="224" y="390"/>
                </a:cxn>
                <a:cxn ang="0">
                  <a:pos x="235" y="352"/>
                </a:cxn>
                <a:cxn ang="0">
                  <a:pos x="209" y="341"/>
                </a:cxn>
                <a:cxn ang="0">
                  <a:pos x="186" y="341"/>
                </a:cxn>
                <a:cxn ang="0">
                  <a:pos x="152" y="334"/>
                </a:cxn>
                <a:cxn ang="0">
                  <a:pos x="163" y="311"/>
                </a:cxn>
                <a:cxn ang="0">
                  <a:pos x="140" y="292"/>
                </a:cxn>
                <a:cxn ang="0">
                  <a:pos x="125" y="265"/>
                </a:cxn>
                <a:cxn ang="0">
                  <a:pos x="94" y="280"/>
                </a:cxn>
                <a:cxn ang="0">
                  <a:pos x="64" y="288"/>
                </a:cxn>
                <a:cxn ang="0">
                  <a:pos x="57" y="322"/>
                </a:cxn>
                <a:cxn ang="0">
                  <a:pos x="0" y="305"/>
                </a:cxn>
                <a:cxn ang="0">
                  <a:pos x="34" y="76"/>
                </a:cxn>
                <a:cxn ang="0">
                  <a:pos x="133" y="0"/>
                </a:cxn>
                <a:cxn ang="0">
                  <a:pos x="142" y="115"/>
                </a:cxn>
                <a:cxn ang="0">
                  <a:pos x="189" y="115"/>
                </a:cxn>
                <a:cxn ang="0">
                  <a:pos x="212" y="138"/>
                </a:cxn>
                <a:cxn ang="0">
                  <a:pos x="268" y="138"/>
                </a:cxn>
                <a:cxn ang="0">
                  <a:pos x="271" y="64"/>
                </a:cxn>
                <a:cxn ang="0">
                  <a:pos x="303" y="118"/>
                </a:cxn>
                <a:cxn ang="0">
                  <a:pos x="318" y="155"/>
                </a:cxn>
                <a:cxn ang="0">
                  <a:pos x="374" y="140"/>
                </a:cxn>
                <a:cxn ang="0">
                  <a:pos x="427" y="148"/>
                </a:cxn>
                <a:cxn ang="0">
                  <a:pos x="477" y="170"/>
                </a:cxn>
                <a:cxn ang="0">
                  <a:pos x="481" y="238"/>
                </a:cxn>
                <a:cxn ang="0">
                  <a:pos x="496" y="280"/>
                </a:cxn>
                <a:cxn ang="0">
                  <a:pos x="549" y="307"/>
                </a:cxn>
                <a:cxn ang="0">
                  <a:pos x="583" y="330"/>
                </a:cxn>
                <a:cxn ang="0">
                  <a:pos x="556" y="383"/>
                </a:cxn>
                <a:cxn ang="0">
                  <a:pos x="519" y="432"/>
                </a:cxn>
                <a:cxn ang="0">
                  <a:pos x="471" y="522"/>
                </a:cxn>
              </a:cxnLst>
              <a:rect l="0" t="0" r="r" b="b"/>
              <a:pathLst>
                <a:path w="583" h="522">
                  <a:moveTo>
                    <a:pt x="471" y="522"/>
                  </a:moveTo>
                  <a:lnTo>
                    <a:pt x="435" y="506"/>
                  </a:lnTo>
                  <a:lnTo>
                    <a:pt x="376" y="502"/>
                  </a:lnTo>
                  <a:lnTo>
                    <a:pt x="378" y="469"/>
                  </a:lnTo>
                  <a:lnTo>
                    <a:pt x="356" y="458"/>
                  </a:lnTo>
                  <a:lnTo>
                    <a:pt x="329" y="473"/>
                  </a:lnTo>
                  <a:lnTo>
                    <a:pt x="224" y="390"/>
                  </a:lnTo>
                  <a:lnTo>
                    <a:pt x="235" y="352"/>
                  </a:lnTo>
                  <a:lnTo>
                    <a:pt x="209" y="341"/>
                  </a:lnTo>
                  <a:lnTo>
                    <a:pt x="186" y="341"/>
                  </a:lnTo>
                  <a:lnTo>
                    <a:pt x="152" y="334"/>
                  </a:lnTo>
                  <a:lnTo>
                    <a:pt x="163" y="311"/>
                  </a:lnTo>
                  <a:lnTo>
                    <a:pt x="140" y="292"/>
                  </a:lnTo>
                  <a:lnTo>
                    <a:pt x="125" y="265"/>
                  </a:lnTo>
                  <a:lnTo>
                    <a:pt x="94" y="280"/>
                  </a:lnTo>
                  <a:lnTo>
                    <a:pt x="64" y="288"/>
                  </a:lnTo>
                  <a:lnTo>
                    <a:pt x="57" y="322"/>
                  </a:lnTo>
                  <a:lnTo>
                    <a:pt x="0" y="305"/>
                  </a:lnTo>
                  <a:lnTo>
                    <a:pt x="34" y="76"/>
                  </a:lnTo>
                  <a:lnTo>
                    <a:pt x="133" y="0"/>
                  </a:lnTo>
                  <a:lnTo>
                    <a:pt x="142" y="115"/>
                  </a:lnTo>
                  <a:lnTo>
                    <a:pt x="189" y="115"/>
                  </a:lnTo>
                  <a:lnTo>
                    <a:pt x="212" y="138"/>
                  </a:lnTo>
                  <a:lnTo>
                    <a:pt x="268" y="138"/>
                  </a:lnTo>
                  <a:lnTo>
                    <a:pt x="271" y="64"/>
                  </a:lnTo>
                  <a:lnTo>
                    <a:pt x="303" y="118"/>
                  </a:lnTo>
                  <a:lnTo>
                    <a:pt x="318" y="155"/>
                  </a:lnTo>
                  <a:lnTo>
                    <a:pt x="374" y="140"/>
                  </a:lnTo>
                  <a:lnTo>
                    <a:pt x="427" y="148"/>
                  </a:lnTo>
                  <a:lnTo>
                    <a:pt x="477" y="170"/>
                  </a:lnTo>
                  <a:lnTo>
                    <a:pt x="481" y="238"/>
                  </a:lnTo>
                  <a:lnTo>
                    <a:pt x="496" y="280"/>
                  </a:lnTo>
                  <a:lnTo>
                    <a:pt x="549" y="307"/>
                  </a:lnTo>
                  <a:lnTo>
                    <a:pt x="583" y="330"/>
                  </a:lnTo>
                  <a:lnTo>
                    <a:pt x="556" y="383"/>
                  </a:lnTo>
                  <a:lnTo>
                    <a:pt x="519" y="432"/>
                  </a:lnTo>
                  <a:lnTo>
                    <a:pt x="471" y="52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1" name="Freeform 230"/>
            <p:cNvSpPr>
              <a:spLocks noChangeAspect="1"/>
            </p:cNvSpPr>
            <p:nvPr/>
          </p:nvSpPr>
          <p:spPr bwMode="auto">
            <a:xfrm>
              <a:off x="1875621" y="3018122"/>
              <a:ext cx="140659" cy="161522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15" y="93"/>
                </a:cxn>
                <a:cxn ang="0">
                  <a:pos x="51" y="162"/>
                </a:cxn>
                <a:cxn ang="0">
                  <a:pos x="92" y="245"/>
                </a:cxn>
                <a:cxn ang="0">
                  <a:pos x="56" y="268"/>
                </a:cxn>
                <a:cxn ang="0">
                  <a:pos x="115" y="268"/>
                </a:cxn>
                <a:cxn ang="0">
                  <a:pos x="127" y="230"/>
                </a:cxn>
                <a:cxn ang="0">
                  <a:pos x="155" y="213"/>
                </a:cxn>
                <a:cxn ang="0">
                  <a:pos x="170" y="274"/>
                </a:cxn>
                <a:cxn ang="0">
                  <a:pos x="197" y="253"/>
                </a:cxn>
                <a:cxn ang="0">
                  <a:pos x="205" y="206"/>
                </a:cxn>
                <a:cxn ang="0">
                  <a:pos x="238" y="194"/>
                </a:cxn>
                <a:cxn ang="0">
                  <a:pos x="229" y="167"/>
                </a:cxn>
                <a:cxn ang="0">
                  <a:pos x="182" y="134"/>
                </a:cxn>
                <a:cxn ang="0">
                  <a:pos x="138" y="88"/>
                </a:cxn>
                <a:cxn ang="0">
                  <a:pos x="91" y="0"/>
                </a:cxn>
                <a:cxn ang="0">
                  <a:pos x="0" y="25"/>
                </a:cxn>
              </a:cxnLst>
              <a:rect l="0" t="0" r="r" b="b"/>
              <a:pathLst>
                <a:path w="238" h="274">
                  <a:moveTo>
                    <a:pt x="0" y="25"/>
                  </a:moveTo>
                  <a:lnTo>
                    <a:pt x="15" y="93"/>
                  </a:lnTo>
                  <a:lnTo>
                    <a:pt x="51" y="162"/>
                  </a:lnTo>
                  <a:lnTo>
                    <a:pt x="92" y="245"/>
                  </a:lnTo>
                  <a:lnTo>
                    <a:pt x="56" y="268"/>
                  </a:lnTo>
                  <a:lnTo>
                    <a:pt x="115" y="268"/>
                  </a:lnTo>
                  <a:lnTo>
                    <a:pt x="127" y="230"/>
                  </a:lnTo>
                  <a:lnTo>
                    <a:pt x="155" y="213"/>
                  </a:lnTo>
                  <a:lnTo>
                    <a:pt x="170" y="274"/>
                  </a:lnTo>
                  <a:lnTo>
                    <a:pt x="197" y="253"/>
                  </a:lnTo>
                  <a:lnTo>
                    <a:pt x="205" y="206"/>
                  </a:lnTo>
                  <a:lnTo>
                    <a:pt x="238" y="194"/>
                  </a:lnTo>
                  <a:lnTo>
                    <a:pt x="229" y="167"/>
                  </a:lnTo>
                  <a:lnTo>
                    <a:pt x="182" y="134"/>
                  </a:lnTo>
                  <a:lnTo>
                    <a:pt x="138" y="88"/>
                  </a:lnTo>
                  <a:lnTo>
                    <a:pt x="91" y="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2" name="Freeform 231"/>
            <p:cNvSpPr>
              <a:spLocks noChangeAspect="1"/>
            </p:cNvSpPr>
            <p:nvPr/>
          </p:nvSpPr>
          <p:spPr bwMode="auto">
            <a:xfrm>
              <a:off x="298484" y="3987254"/>
              <a:ext cx="86154" cy="30174"/>
            </a:xfrm>
            <a:custGeom>
              <a:avLst/>
              <a:gdLst/>
              <a:ahLst/>
              <a:cxnLst>
                <a:cxn ang="0">
                  <a:pos x="8" y="6"/>
                </a:cxn>
                <a:cxn ang="0">
                  <a:pos x="68" y="7"/>
                </a:cxn>
                <a:cxn ang="0">
                  <a:pos x="92" y="0"/>
                </a:cxn>
                <a:cxn ang="0">
                  <a:pos x="148" y="7"/>
                </a:cxn>
                <a:cxn ang="0">
                  <a:pos x="147" y="36"/>
                </a:cxn>
                <a:cxn ang="0">
                  <a:pos x="121" y="32"/>
                </a:cxn>
                <a:cxn ang="0">
                  <a:pos x="94" y="25"/>
                </a:cxn>
                <a:cxn ang="0">
                  <a:pos x="49" y="49"/>
                </a:cxn>
                <a:cxn ang="0">
                  <a:pos x="0" y="41"/>
                </a:cxn>
                <a:cxn ang="0">
                  <a:pos x="27" y="24"/>
                </a:cxn>
                <a:cxn ang="0">
                  <a:pos x="8" y="6"/>
                </a:cxn>
              </a:cxnLst>
              <a:rect l="0" t="0" r="r" b="b"/>
              <a:pathLst>
                <a:path w="148" h="49">
                  <a:moveTo>
                    <a:pt x="8" y="6"/>
                  </a:moveTo>
                  <a:lnTo>
                    <a:pt x="68" y="7"/>
                  </a:lnTo>
                  <a:lnTo>
                    <a:pt x="92" y="0"/>
                  </a:lnTo>
                  <a:lnTo>
                    <a:pt x="148" y="7"/>
                  </a:lnTo>
                  <a:lnTo>
                    <a:pt x="147" y="36"/>
                  </a:lnTo>
                  <a:lnTo>
                    <a:pt x="121" y="32"/>
                  </a:lnTo>
                  <a:lnTo>
                    <a:pt x="94" y="25"/>
                  </a:lnTo>
                  <a:lnTo>
                    <a:pt x="49" y="49"/>
                  </a:lnTo>
                  <a:lnTo>
                    <a:pt x="0" y="41"/>
                  </a:lnTo>
                  <a:lnTo>
                    <a:pt x="27" y="24"/>
                  </a:lnTo>
                  <a:lnTo>
                    <a:pt x="8" y="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3" name="Freeform 232"/>
            <p:cNvSpPr>
              <a:spLocks noChangeAspect="1"/>
            </p:cNvSpPr>
            <p:nvPr/>
          </p:nvSpPr>
          <p:spPr bwMode="auto">
            <a:xfrm>
              <a:off x="1130129" y="2835301"/>
              <a:ext cx="163516" cy="92298"/>
            </a:xfrm>
            <a:custGeom>
              <a:avLst/>
              <a:gdLst/>
              <a:ahLst/>
              <a:cxnLst>
                <a:cxn ang="0">
                  <a:pos x="280" y="39"/>
                </a:cxn>
                <a:cxn ang="0">
                  <a:pos x="244" y="9"/>
                </a:cxn>
                <a:cxn ang="0">
                  <a:pos x="220" y="0"/>
                </a:cxn>
                <a:cxn ang="0">
                  <a:pos x="144" y="16"/>
                </a:cxn>
                <a:cxn ang="0">
                  <a:pos x="93" y="16"/>
                </a:cxn>
                <a:cxn ang="0">
                  <a:pos x="31" y="7"/>
                </a:cxn>
                <a:cxn ang="0">
                  <a:pos x="36" y="51"/>
                </a:cxn>
                <a:cxn ang="0">
                  <a:pos x="19" y="79"/>
                </a:cxn>
                <a:cxn ang="0">
                  <a:pos x="16" y="90"/>
                </a:cxn>
                <a:cxn ang="0">
                  <a:pos x="0" y="113"/>
                </a:cxn>
                <a:cxn ang="0">
                  <a:pos x="20" y="118"/>
                </a:cxn>
                <a:cxn ang="0">
                  <a:pos x="20" y="118"/>
                </a:cxn>
                <a:cxn ang="0">
                  <a:pos x="69" y="143"/>
                </a:cxn>
                <a:cxn ang="0">
                  <a:pos x="121" y="156"/>
                </a:cxn>
                <a:cxn ang="0">
                  <a:pos x="148" y="132"/>
                </a:cxn>
                <a:cxn ang="0">
                  <a:pos x="185" y="134"/>
                </a:cxn>
                <a:cxn ang="0">
                  <a:pos x="229" y="122"/>
                </a:cxn>
                <a:cxn ang="0">
                  <a:pos x="260" y="71"/>
                </a:cxn>
                <a:cxn ang="0">
                  <a:pos x="280" y="39"/>
                </a:cxn>
              </a:cxnLst>
              <a:rect l="0" t="0" r="r" b="b"/>
              <a:pathLst>
                <a:path w="280" h="156">
                  <a:moveTo>
                    <a:pt x="280" y="39"/>
                  </a:moveTo>
                  <a:lnTo>
                    <a:pt x="244" y="9"/>
                  </a:lnTo>
                  <a:lnTo>
                    <a:pt x="220" y="0"/>
                  </a:lnTo>
                  <a:lnTo>
                    <a:pt x="144" y="16"/>
                  </a:lnTo>
                  <a:lnTo>
                    <a:pt x="93" y="16"/>
                  </a:lnTo>
                  <a:lnTo>
                    <a:pt x="31" y="7"/>
                  </a:lnTo>
                  <a:lnTo>
                    <a:pt x="36" y="51"/>
                  </a:lnTo>
                  <a:lnTo>
                    <a:pt x="19" y="79"/>
                  </a:lnTo>
                  <a:lnTo>
                    <a:pt x="16" y="90"/>
                  </a:lnTo>
                  <a:lnTo>
                    <a:pt x="0" y="113"/>
                  </a:lnTo>
                  <a:lnTo>
                    <a:pt x="20" y="118"/>
                  </a:lnTo>
                  <a:lnTo>
                    <a:pt x="20" y="118"/>
                  </a:lnTo>
                  <a:lnTo>
                    <a:pt x="69" y="143"/>
                  </a:lnTo>
                  <a:lnTo>
                    <a:pt x="121" y="156"/>
                  </a:lnTo>
                  <a:lnTo>
                    <a:pt x="148" y="132"/>
                  </a:lnTo>
                  <a:lnTo>
                    <a:pt x="185" y="134"/>
                  </a:lnTo>
                  <a:lnTo>
                    <a:pt x="229" y="122"/>
                  </a:lnTo>
                  <a:lnTo>
                    <a:pt x="260" y="71"/>
                  </a:lnTo>
                  <a:lnTo>
                    <a:pt x="280" y="3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4" name="Freeform 233"/>
            <p:cNvSpPr>
              <a:spLocks noChangeAspect="1"/>
            </p:cNvSpPr>
            <p:nvPr/>
          </p:nvSpPr>
          <p:spPr bwMode="auto">
            <a:xfrm>
              <a:off x="808373" y="2721703"/>
              <a:ext cx="84395" cy="69223"/>
            </a:xfrm>
            <a:custGeom>
              <a:avLst/>
              <a:gdLst/>
              <a:ahLst/>
              <a:cxnLst>
                <a:cxn ang="0">
                  <a:pos x="3" y="9"/>
                </a:cxn>
                <a:cxn ang="0">
                  <a:pos x="0" y="37"/>
                </a:cxn>
                <a:cxn ang="0">
                  <a:pos x="36" y="57"/>
                </a:cxn>
                <a:cxn ang="0">
                  <a:pos x="55" y="96"/>
                </a:cxn>
                <a:cxn ang="0">
                  <a:pos x="108" y="116"/>
                </a:cxn>
                <a:cxn ang="0">
                  <a:pos x="114" y="92"/>
                </a:cxn>
                <a:cxn ang="0">
                  <a:pos x="144" y="61"/>
                </a:cxn>
                <a:cxn ang="0">
                  <a:pos x="114" y="44"/>
                </a:cxn>
                <a:cxn ang="0">
                  <a:pos x="106" y="5"/>
                </a:cxn>
                <a:cxn ang="0">
                  <a:pos x="77" y="0"/>
                </a:cxn>
                <a:cxn ang="0">
                  <a:pos x="51" y="9"/>
                </a:cxn>
                <a:cxn ang="0">
                  <a:pos x="3" y="9"/>
                </a:cxn>
              </a:cxnLst>
              <a:rect l="0" t="0" r="r" b="b"/>
              <a:pathLst>
                <a:path w="144" h="116">
                  <a:moveTo>
                    <a:pt x="3" y="9"/>
                  </a:moveTo>
                  <a:lnTo>
                    <a:pt x="0" y="37"/>
                  </a:lnTo>
                  <a:lnTo>
                    <a:pt x="36" y="57"/>
                  </a:lnTo>
                  <a:lnTo>
                    <a:pt x="55" y="96"/>
                  </a:lnTo>
                  <a:lnTo>
                    <a:pt x="108" y="116"/>
                  </a:lnTo>
                  <a:lnTo>
                    <a:pt x="114" y="92"/>
                  </a:lnTo>
                  <a:lnTo>
                    <a:pt x="144" y="61"/>
                  </a:lnTo>
                  <a:lnTo>
                    <a:pt x="114" y="44"/>
                  </a:lnTo>
                  <a:lnTo>
                    <a:pt x="106" y="5"/>
                  </a:lnTo>
                  <a:lnTo>
                    <a:pt x="77" y="0"/>
                  </a:lnTo>
                  <a:lnTo>
                    <a:pt x="51" y="9"/>
                  </a:lnTo>
                  <a:lnTo>
                    <a:pt x="3" y="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5" name="Freeform 234"/>
            <p:cNvSpPr>
              <a:spLocks noChangeAspect="1"/>
            </p:cNvSpPr>
            <p:nvPr/>
          </p:nvSpPr>
          <p:spPr bwMode="auto">
            <a:xfrm>
              <a:off x="929691" y="2485633"/>
              <a:ext cx="72087" cy="115373"/>
            </a:xfrm>
            <a:custGeom>
              <a:avLst/>
              <a:gdLst/>
              <a:ahLst/>
              <a:cxnLst>
                <a:cxn ang="0">
                  <a:pos x="98" y="183"/>
                </a:cxn>
                <a:cxn ang="0">
                  <a:pos x="47" y="196"/>
                </a:cxn>
                <a:cxn ang="0">
                  <a:pos x="27" y="150"/>
                </a:cxn>
                <a:cxn ang="0">
                  <a:pos x="0" y="138"/>
                </a:cxn>
                <a:cxn ang="0">
                  <a:pos x="0" y="59"/>
                </a:cxn>
                <a:cxn ang="0">
                  <a:pos x="60" y="55"/>
                </a:cxn>
                <a:cxn ang="0">
                  <a:pos x="88" y="0"/>
                </a:cxn>
                <a:cxn ang="0">
                  <a:pos x="123" y="55"/>
                </a:cxn>
                <a:cxn ang="0">
                  <a:pos x="91" y="134"/>
                </a:cxn>
                <a:cxn ang="0">
                  <a:pos x="98" y="183"/>
                </a:cxn>
              </a:cxnLst>
              <a:rect l="0" t="0" r="r" b="b"/>
              <a:pathLst>
                <a:path w="123" h="196">
                  <a:moveTo>
                    <a:pt x="98" y="183"/>
                  </a:moveTo>
                  <a:lnTo>
                    <a:pt x="47" y="196"/>
                  </a:lnTo>
                  <a:lnTo>
                    <a:pt x="27" y="150"/>
                  </a:lnTo>
                  <a:lnTo>
                    <a:pt x="0" y="138"/>
                  </a:lnTo>
                  <a:lnTo>
                    <a:pt x="0" y="59"/>
                  </a:lnTo>
                  <a:lnTo>
                    <a:pt x="60" y="55"/>
                  </a:lnTo>
                  <a:lnTo>
                    <a:pt x="88" y="0"/>
                  </a:lnTo>
                  <a:lnTo>
                    <a:pt x="123" y="55"/>
                  </a:lnTo>
                  <a:lnTo>
                    <a:pt x="91" y="134"/>
                  </a:lnTo>
                  <a:lnTo>
                    <a:pt x="98" y="18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6" name="Freeform 235"/>
            <p:cNvSpPr>
              <a:spLocks noChangeAspect="1"/>
            </p:cNvSpPr>
            <p:nvPr/>
          </p:nvSpPr>
          <p:spPr bwMode="auto">
            <a:xfrm>
              <a:off x="957823" y="2466108"/>
              <a:ext cx="33407" cy="14200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8" y="0"/>
                </a:cxn>
                <a:cxn ang="0">
                  <a:pos x="37" y="0"/>
                </a:cxn>
                <a:cxn ang="0">
                  <a:pos x="56" y="0"/>
                </a:cxn>
                <a:cxn ang="0">
                  <a:pos x="0" y="24"/>
                </a:cxn>
              </a:cxnLst>
              <a:rect l="0" t="0" r="r" b="b"/>
              <a:pathLst>
                <a:path w="56" h="24">
                  <a:moveTo>
                    <a:pt x="0" y="24"/>
                  </a:moveTo>
                  <a:lnTo>
                    <a:pt x="8" y="0"/>
                  </a:lnTo>
                  <a:lnTo>
                    <a:pt x="37" y="0"/>
                  </a:lnTo>
                  <a:lnTo>
                    <a:pt x="56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7" name="Freeform 236"/>
            <p:cNvSpPr>
              <a:spLocks noChangeAspect="1"/>
            </p:cNvSpPr>
            <p:nvPr/>
          </p:nvSpPr>
          <p:spPr bwMode="auto">
            <a:xfrm>
              <a:off x="8688145" y="2068187"/>
              <a:ext cx="246152" cy="149097"/>
            </a:xfrm>
            <a:custGeom>
              <a:avLst/>
              <a:gdLst/>
              <a:ahLst/>
              <a:cxnLst>
                <a:cxn ang="0">
                  <a:pos x="127" y="47"/>
                </a:cxn>
                <a:cxn ang="0">
                  <a:pos x="72" y="0"/>
                </a:cxn>
                <a:cxn ang="0">
                  <a:pos x="0" y="79"/>
                </a:cxn>
                <a:cxn ang="0">
                  <a:pos x="8" y="118"/>
                </a:cxn>
                <a:cxn ang="0">
                  <a:pos x="87" y="103"/>
                </a:cxn>
                <a:cxn ang="0">
                  <a:pos x="87" y="165"/>
                </a:cxn>
                <a:cxn ang="0">
                  <a:pos x="64" y="205"/>
                </a:cxn>
                <a:cxn ang="0">
                  <a:pos x="135" y="189"/>
                </a:cxn>
                <a:cxn ang="0">
                  <a:pos x="206" y="221"/>
                </a:cxn>
                <a:cxn ang="0">
                  <a:pos x="230" y="252"/>
                </a:cxn>
                <a:cxn ang="0">
                  <a:pos x="293" y="189"/>
                </a:cxn>
                <a:cxn ang="0">
                  <a:pos x="348" y="189"/>
                </a:cxn>
                <a:cxn ang="0">
                  <a:pos x="403" y="150"/>
                </a:cxn>
                <a:cxn ang="0">
                  <a:pos x="420" y="86"/>
                </a:cxn>
                <a:cxn ang="0">
                  <a:pos x="403" y="16"/>
                </a:cxn>
                <a:cxn ang="0">
                  <a:pos x="324" y="16"/>
                </a:cxn>
                <a:cxn ang="0">
                  <a:pos x="245" y="38"/>
                </a:cxn>
                <a:cxn ang="0">
                  <a:pos x="158" y="7"/>
                </a:cxn>
                <a:cxn ang="0">
                  <a:pos x="127" y="47"/>
                </a:cxn>
              </a:cxnLst>
              <a:rect l="0" t="0" r="r" b="b"/>
              <a:pathLst>
                <a:path w="420" h="252">
                  <a:moveTo>
                    <a:pt x="127" y="47"/>
                  </a:moveTo>
                  <a:lnTo>
                    <a:pt x="72" y="0"/>
                  </a:lnTo>
                  <a:lnTo>
                    <a:pt x="0" y="79"/>
                  </a:lnTo>
                  <a:lnTo>
                    <a:pt x="8" y="118"/>
                  </a:lnTo>
                  <a:lnTo>
                    <a:pt x="87" y="103"/>
                  </a:lnTo>
                  <a:lnTo>
                    <a:pt x="87" y="165"/>
                  </a:lnTo>
                  <a:lnTo>
                    <a:pt x="64" y="205"/>
                  </a:lnTo>
                  <a:lnTo>
                    <a:pt x="135" y="189"/>
                  </a:lnTo>
                  <a:lnTo>
                    <a:pt x="206" y="221"/>
                  </a:lnTo>
                  <a:lnTo>
                    <a:pt x="230" y="252"/>
                  </a:lnTo>
                  <a:lnTo>
                    <a:pt x="293" y="189"/>
                  </a:lnTo>
                  <a:lnTo>
                    <a:pt x="348" y="189"/>
                  </a:lnTo>
                  <a:lnTo>
                    <a:pt x="403" y="150"/>
                  </a:lnTo>
                  <a:lnTo>
                    <a:pt x="420" y="86"/>
                  </a:lnTo>
                  <a:lnTo>
                    <a:pt x="403" y="16"/>
                  </a:lnTo>
                  <a:lnTo>
                    <a:pt x="324" y="16"/>
                  </a:lnTo>
                  <a:lnTo>
                    <a:pt x="245" y="38"/>
                  </a:lnTo>
                  <a:lnTo>
                    <a:pt x="158" y="7"/>
                  </a:lnTo>
                  <a:lnTo>
                    <a:pt x="127" y="4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8" name="Freeform 237"/>
            <p:cNvSpPr>
              <a:spLocks noChangeAspect="1"/>
            </p:cNvSpPr>
            <p:nvPr/>
          </p:nvSpPr>
          <p:spPr bwMode="auto">
            <a:xfrm>
              <a:off x="1256723" y="2425284"/>
              <a:ext cx="216263" cy="102948"/>
            </a:xfrm>
            <a:custGeom>
              <a:avLst/>
              <a:gdLst/>
              <a:ahLst/>
              <a:cxnLst>
                <a:cxn ang="0">
                  <a:pos x="270" y="174"/>
                </a:cxn>
                <a:cxn ang="0">
                  <a:pos x="267" y="143"/>
                </a:cxn>
                <a:cxn ang="0">
                  <a:pos x="176" y="106"/>
                </a:cxn>
                <a:cxn ang="0">
                  <a:pos x="81" y="162"/>
                </a:cxn>
                <a:cxn ang="0">
                  <a:pos x="5" y="166"/>
                </a:cxn>
                <a:cxn ang="0">
                  <a:pos x="0" y="87"/>
                </a:cxn>
                <a:cxn ang="0">
                  <a:pos x="33" y="56"/>
                </a:cxn>
                <a:cxn ang="0">
                  <a:pos x="68" y="107"/>
                </a:cxn>
                <a:cxn ang="0">
                  <a:pos x="116" y="107"/>
                </a:cxn>
                <a:cxn ang="0">
                  <a:pos x="127" y="59"/>
                </a:cxn>
                <a:cxn ang="0">
                  <a:pos x="92" y="44"/>
                </a:cxn>
                <a:cxn ang="0">
                  <a:pos x="76" y="8"/>
                </a:cxn>
                <a:cxn ang="0">
                  <a:pos x="165" y="0"/>
                </a:cxn>
                <a:cxn ang="0">
                  <a:pos x="210" y="38"/>
                </a:cxn>
                <a:cxn ang="0">
                  <a:pos x="297" y="42"/>
                </a:cxn>
                <a:cxn ang="0">
                  <a:pos x="368" y="106"/>
                </a:cxn>
                <a:cxn ang="0">
                  <a:pos x="334" y="128"/>
                </a:cxn>
                <a:cxn ang="0">
                  <a:pos x="289" y="113"/>
                </a:cxn>
                <a:cxn ang="0">
                  <a:pos x="270" y="174"/>
                </a:cxn>
              </a:cxnLst>
              <a:rect l="0" t="0" r="r" b="b"/>
              <a:pathLst>
                <a:path w="368" h="174">
                  <a:moveTo>
                    <a:pt x="270" y="174"/>
                  </a:moveTo>
                  <a:lnTo>
                    <a:pt x="267" y="143"/>
                  </a:lnTo>
                  <a:lnTo>
                    <a:pt x="176" y="106"/>
                  </a:lnTo>
                  <a:lnTo>
                    <a:pt x="81" y="162"/>
                  </a:lnTo>
                  <a:lnTo>
                    <a:pt x="5" y="166"/>
                  </a:lnTo>
                  <a:lnTo>
                    <a:pt x="0" y="87"/>
                  </a:lnTo>
                  <a:lnTo>
                    <a:pt x="33" y="56"/>
                  </a:lnTo>
                  <a:lnTo>
                    <a:pt x="68" y="107"/>
                  </a:lnTo>
                  <a:lnTo>
                    <a:pt x="116" y="107"/>
                  </a:lnTo>
                  <a:lnTo>
                    <a:pt x="127" y="59"/>
                  </a:lnTo>
                  <a:lnTo>
                    <a:pt x="92" y="44"/>
                  </a:lnTo>
                  <a:lnTo>
                    <a:pt x="76" y="8"/>
                  </a:lnTo>
                  <a:lnTo>
                    <a:pt x="165" y="0"/>
                  </a:lnTo>
                  <a:lnTo>
                    <a:pt x="210" y="38"/>
                  </a:lnTo>
                  <a:lnTo>
                    <a:pt x="297" y="42"/>
                  </a:lnTo>
                  <a:lnTo>
                    <a:pt x="368" y="106"/>
                  </a:lnTo>
                  <a:lnTo>
                    <a:pt x="334" y="128"/>
                  </a:lnTo>
                  <a:lnTo>
                    <a:pt x="289" y="113"/>
                  </a:lnTo>
                  <a:lnTo>
                    <a:pt x="270" y="174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09" name="Freeform 238"/>
            <p:cNvSpPr>
              <a:spLocks noChangeAspect="1"/>
            </p:cNvSpPr>
            <p:nvPr/>
          </p:nvSpPr>
          <p:spPr bwMode="auto">
            <a:xfrm>
              <a:off x="1290129" y="2977298"/>
              <a:ext cx="147692" cy="113598"/>
            </a:xfrm>
            <a:custGeom>
              <a:avLst/>
              <a:gdLst/>
              <a:ahLst/>
              <a:cxnLst>
                <a:cxn ang="0">
                  <a:pos x="191" y="166"/>
                </a:cxn>
                <a:cxn ang="0">
                  <a:pos x="148" y="174"/>
                </a:cxn>
                <a:cxn ang="0">
                  <a:pos x="126" y="172"/>
                </a:cxn>
                <a:cxn ang="0">
                  <a:pos x="95" y="192"/>
                </a:cxn>
                <a:cxn ang="0">
                  <a:pos x="56" y="181"/>
                </a:cxn>
                <a:cxn ang="0">
                  <a:pos x="31" y="181"/>
                </a:cxn>
                <a:cxn ang="0">
                  <a:pos x="28" y="111"/>
                </a:cxn>
                <a:cxn ang="0">
                  <a:pos x="4" y="67"/>
                </a:cxn>
                <a:cxn ang="0">
                  <a:pos x="0" y="39"/>
                </a:cxn>
                <a:cxn ang="0">
                  <a:pos x="40" y="7"/>
                </a:cxn>
                <a:cxn ang="0">
                  <a:pos x="51" y="19"/>
                </a:cxn>
                <a:cxn ang="0">
                  <a:pos x="65" y="0"/>
                </a:cxn>
                <a:cxn ang="0">
                  <a:pos x="117" y="19"/>
                </a:cxn>
                <a:cxn ang="0">
                  <a:pos x="131" y="58"/>
                </a:cxn>
                <a:cxn ang="0">
                  <a:pos x="196" y="50"/>
                </a:cxn>
                <a:cxn ang="0">
                  <a:pos x="237" y="44"/>
                </a:cxn>
                <a:cxn ang="0">
                  <a:pos x="252" y="83"/>
                </a:cxn>
                <a:cxn ang="0">
                  <a:pos x="239" y="114"/>
                </a:cxn>
                <a:cxn ang="0">
                  <a:pos x="221" y="136"/>
                </a:cxn>
                <a:cxn ang="0">
                  <a:pos x="235" y="160"/>
                </a:cxn>
                <a:cxn ang="0">
                  <a:pos x="191" y="166"/>
                </a:cxn>
              </a:cxnLst>
              <a:rect l="0" t="0" r="r" b="b"/>
              <a:pathLst>
                <a:path w="252" h="192">
                  <a:moveTo>
                    <a:pt x="191" y="166"/>
                  </a:moveTo>
                  <a:lnTo>
                    <a:pt x="148" y="174"/>
                  </a:lnTo>
                  <a:lnTo>
                    <a:pt x="126" y="172"/>
                  </a:lnTo>
                  <a:lnTo>
                    <a:pt x="95" y="192"/>
                  </a:lnTo>
                  <a:lnTo>
                    <a:pt x="56" y="181"/>
                  </a:lnTo>
                  <a:lnTo>
                    <a:pt x="31" y="181"/>
                  </a:lnTo>
                  <a:lnTo>
                    <a:pt x="28" y="111"/>
                  </a:lnTo>
                  <a:lnTo>
                    <a:pt x="4" y="67"/>
                  </a:lnTo>
                  <a:lnTo>
                    <a:pt x="0" y="39"/>
                  </a:lnTo>
                  <a:lnTo>
                    <a:pt x="40" y="7"/>
                  </a:lnTo>
                  <a:lnTo>
                    <a:pt x="51" y="19"/>
                  </a:lnTo>
                  <a:lnTo>
                    <a:pt x="65" y="0"/>
                  </a:lnTo>
                  <a:lnTo>
                    <a:pt x="117" y="19"/>
                  </a:lnTo>
                  <a:lnTo>
                    <a:pt x="131" y="58"/>
                  </a:lnTo>
                  <a:lnTo>
                    <a:pt x="196" y="50"/>
                  </a:lnTo>
                  <a:lnTo>
                    <a:pt x="237" y="44"/>
                  </a:lnTo>
                  <a:lnTo>
                    <a:pt x="252" y="83"/>
                  </a:lnTo>
                  <a:lnTo>
                    <a:pt x="239" y="114"/>
                  </a:lnTo>
                  <a:lnTo>
                    <a:pt x="221" y="136"/>
                  </a:lnTo>
                  <a:lnTo>
                    <a:pt x="235" y="160"/>
                  </a:lnTo>
                  <a:lnTo>
                    <a:pt x="191" y="16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0" name="Freeform 239"/>
            <p:cNvSpPr>
              <a:spLocks noChangeAspect="1"/>
            </p:cNvSpPr>
            <p:nvPr/>
          </p:nvSpPr>
          <p:spPr bwMode="auto">
            <a:xfrm>
              <a:off x="1302436" y="2393335"/>
              <a:ext cx="128351" cy="56799"/>
            </a:xfrm>
            <a:custGeom>
              <a:avLst/>
              <a:gdLst/>
              <a:ahLst/>
              <a:cxnLst>
                <a:cxn ang="0">
                  <a:pos x="221" y="96"/>
                </a:cxn>
                <a:cxn ang="0">
                  <a:pos x="134" y="92"/>
                </a:cxn>
                <a:cxn ang="0">
                  <a:pos x="89" y="54"/>
                </a:cxn>
                <a:cxn ang="0">
                  <a:pos x="0" y="62"/>
                </a:cxn>
                <a:cxn ang="0">
                  <a:pos x="36" y="30"/>
                </a:cxn>
                <a:cxn ang="0">
                  <a:pos x="99" y="0"/>
                </a:cxn>
                <a:cxn ang="0">
                  <a:pos x="171" y="24"/>
                </a:cxn>
                <a:cxn ang="0">
                  <a:pos x="221" y="96"/>
                </a:cxn>
              </a:cxnLst>
              <a:rect l="0" t="0" r="r" b="b"/>
              <a:pathLst>
                <a:path w="221" h="96">
                  <a:moveTo>
                    <a:pt x="221" y="96"/>
                  </a:moveTo>
                  <a:lnTo>
                    <a:pt x="134" y="92"/>
                  </a:lnTo>
                  <a:lnTo>
                    <a:pt x="89" y="54"/>
                  </a:lnTo>
                  <a:lnTo>
                    <a:pt x="0" y="62"/>
                  </a:lnTo>
                  <a:lnTo>
                    <a:pt x="36" y="30"/>
                  </a:lnTo>
                  <a:lnTo>
                    <a:pt x="99" y="0"/>
                  </a:lnTo>
                  <a:lnTo>
                    <a:pt x="171" y="24"/>
                  </a:lnTo>
                  <a:lnTo>
                    <a:pt x="221" y="9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1" name="Freeform 240"/>
            <p:cNvSpPr>
              <a:spLocks noChangeAspect="1"/>
            </p:cNvSpPr>
            <p:nvPr/>
          </p:nvSpPr>
          <p:spPr bwMode="auto">
            <a:xfrm>
              <a:off x="1240898" y="1947819"/>
              <a:ext cx="256703" cy="454391"/>
            </a:xfrm>
            <a:custGeom>
              <a:avLst/>
              <a:gdLst/>
              <a:ahLst/>
              <a:cxnLst>
                <a:cxn ang="0">
                  <a:pos x="59" y="320"/>
                </a:cxn>
                <a:cxn ang="0">
                  <a:pos x="91" y="300"/>
                </a:cxn>
                <a:cxn ang="0">
                  <a:pos x="86" y="202"/>
                </a:cxn>
                <a:cxn ang="0">
                  <a:pos x="82" y="169"/>
                </a:cxn>
                <a:cxn ang="0">
                  <a:pos x="47" y="138"/>
                </a:cxn>
                <a:cxn ang="0">
                  <a:pos x="12" y="99"/>
                </a:cxn>
                <a:cxn ang="0">
                  <a:pos x="44" y="106"/>
                </a:cxn>
                <a:cxn ang="0">
                  <a:pos x="86" y="114"/>
                </a:cxn>
                <a:cxn ang="0">
                  <a:pos x="150" y="106"/>
                </a:cxn>
                <a:cxn ang="0">
                  <a:pos x="170" y="59"/>
                </a:cxn>
                <a:cxn ang="0">
                  <a:pos x="198" y="23"/>
                </a:cxn>
                <a:cxn ang="0">
                  <a:pos x="226" y="0"/>
                </a:cxn>
                <a:cxn ang="0">
                  <a:pos x="261" y="7"/>
                </a:cxn>
                <a:cxn ang="0">
                  <a:pos x="296" y="40"/>
                </a:cxn>
                <a:cxn ang="0">
                  <a:pos x="268" y="114"/>
                </a:cxn>
                <a:cxn ang="0">
                  <a:pos x="318" y="160"/>
                </a:cxn>
                <a:cxn ang="0">
                  <a:pos x="318" y="160"/>
                </a:cxn>
                <a:cxn ang="0">
                  <a:pos x="318" y="211"/>
                </a:cxn>
                <a:cxn ang="0">
                  <a:pos x="335" y="273"/>
                </a:cxn>
                <a:cxn ang="0">
                  <a:pos x="339" y="349"/>
                </a:cxn>
                <a:cxn ang="0">
                  <a:pos x="359" y="411"/>
                </a:cxn>
                <a:cxn ang="0">
                  <a:pos x="383" y="483"/>
                </a:cxn>
                <a:cxn ang="0">
                  <a:pos x="405" y="511"/>
                </a:cxn>
                <a:cxn ang="0">
                  <a:pos x="438" y="538"/>
                </a:cxn>
                <a:cxn ang="0">
                  <a:pos x="403" y="568"/>
                </a:cxn>
                <a:cxn ang="0">
                  <a:pos x="355" y="620"/>
                </a:cxn>
                <a:cxn ang="0">
                  <a:pos x="312" y="671"/>
                </a:cxn>
                <a:cxn ang="0">
                  <a:pos x="300" y="715"/>
                </a:cxn>
                <a:cxn ang="0">
                  <a:pos x="303" y="767"/>
                </a:cxn>
                <a:cxn ang="0">
                  <a:pos x="257" y="696"/>
                </a:cxn>
                <a:cxn ang="0">
                  <a:pos x="198" y="707"/>
                </a:cxn>
                <a:cxn ang="0">
                  <a:pos x="170" y="734"/>
                </a:cxn>
                <a:cxn ang="0">
                  <a:pos x="91" y="730"/>
                </a:cxn>
                <a:cxn ang="0">
                  <a:pos x="36" y="691"/>
                </a:cxn>
                <a:cxn ang="0">
                  <a:pos x="16" y="640"/>
                </a:cxn>
                <a:cxn ang="0">
                  <a:pos x="0" y="589"/>
                </a:cxn>
                <a:cxn ang="0">
                  <a:pos x="12" y="502"/>
                </a:cxn>
                <a:cxn ang="0">
                  <a:pos x="67" y="478"/>
                </a:cxn>
                <a:cxn ang="0">
                  <a:pos x="106" y="438"/>
                </a:cxn>
                <a:cxn ang="0">
                  <a:pos x="119" y="386"/>
                </a:cxn>
                <a:cxn ang="0">
                  <a:pos x="185" y="395"/>
                </a:cxn>
                <a:cxn ang="0">
                  <a:pos x="146" y="327"/>
                </a:cxn>
                <a:cxn ang="0">
                  <a:pos x="59" y="320"/>
                </a:cxn>
              </a:cxnLst>
              <a:rect l="0" t="0" r="r" b="b"/>
              <a:pathLst>
                <a:path w="438" h="767">
                  <a:moveTo>
                    <a:pt x="59" y="320"/>
                  </a:moveTo>
                  <a:lnTo>
                    <a:pt x="91" y="300"/>
                  </a:lnTo>
                  <a:lnTo>
                    <a:pt x="86" y="202"/>
                  </a:lnTo>
                  <a:lnTo>
                    <a:pt x="82" y="169"/>
                  </a:lnTo>
                  <a:lnTo>
                    <a:pt x="47" y="138"/>
                  </a:lnTo>
                  <a:lnTo>
                    <a:pt x="12" y="99"/>
                  </a:lnTo>
                  <a:lnTo>
                    <a:pt x="44" y="106"/>
                  </a:lnTo>
                  <a:lnTo>
                    <a:pt x="86" y="114"/>
                  </a:lnTo>
                  <a:lnTo>
                    <a:pt x="150" y="106"/>
                  </a:lnTo>
                  <a:lnTo>
                    <a:pt x="170" y="59"/>
                  </a:lnTo>
                  <a:lnTo>
                    <a:pt x="198" y="23"/>
                  </a:lnTo>
                  <a:lnTo>
                    <a:pt x="226" y="0"/>
                  </a:lnTo>
                  <a:lnTo>
                    <a:pt x="261" y="7"/>
                  </a:lnTo>
                  <a:lnTo>
                    <a:pt x="296" y="40"/>
                  </a:lnTo>
                  <a:lnTo>
                    <a:pt x="268" y="114"/>
                  </a:lnTo>
                  <a:lnTo>
                    <a:pt x="318" y="160"/>
                  </a:lnTo>
                  <a:lnTo>
                    <a:pt x="318" y="160"/>
                  </a:lnTo>
                  <a:lnTo>
                    <a:pt x="318" y="211"/>
                  </a:lnTo>
                  <a:lnTo>
                    <a:pt x="335" y="273"/>
                  </a:lnTo>
                  <a:lnTo>
                    <a:pt x="339" y="349"/>
                  </a:lnTo>
                  <a:lnTo>
                    <a:pt x="359" y="411"/>
                  </a:lnTo>
                  <a:lnTo>
                    <a:pt x="383" y="483"/>
                  </a:lnTo>
                  <a:lnTo>
                    <a:pt x="405" y="511"/>
                  </a:lnTo>
                  <a:lnTo>
                    <a:pt x="438" y="538"/>
                  </a:lnTo>
                  <a:lnTo>
                    <a:pt x="403" y="568"/>
                  </a:lnTo>
                  <a:lnTo>
                    <a:pt x="355" y="620"/>
                  </a:lnTo>
                  <a:lnTo>
                    <a:pt x="312" y="671"/>
                  </a:lnTo>
                  <a:lnTo>
                    <a:pt x="300" y="715"/>
                  </a:lnTo>
                  <a:lnTo>
                    <a:pt x="303" y="767"/>
                  </a:lnTo>
                  <a:lnTo>
                    <a:pt x="257" y="696"/>
                  </a:lnTo>
                  <a:lnTo>
                    <a:pt x="198" y="707"/>
                  </a:lnTo>
                  <a:lnTo>
                    <a:pt x="170" y="734"/>
                  </a:lnTo>
                  <a:lnTo>
                    <a:pt x="91" y="730"/>
                  </a:lnTo>
                  <a:lnTo>
                    <a:pt x="36" y="691"/>
                  </a:lnTo>
                  <a:lnTo>
                    <a:pt x="16" y="640"/>
                  </a:lnTo>
                  <a:lnTo>
                    <a:pt x="0" y="589"/>
                  </a:lnTo>
                  <a:lnTo>
                    <a:pt x="12" y="502"/>
                  </a:lnTo>
                  <a:lnTo>
                    <a:pt x="67" y="478"/>
                  </a:lnTo>
                  <a:lnTo>
                    <a:pt x="106" y="438"/>
                  </a:lnTo>
                  <a:lnTo>
                    <a:pt x="119" y="386"/>
                  </a:lnTo>
                  <a:lnTo>
                    <a:pt x="185" y="395"/>
                  </a:lnTo>
                  <a:lnTo>
                    <a:pt x="146" y="327"/>
                  </a:lnTo>
                  <a:lnTo>
                    <a:pt x="59" y="32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2" name="Freeform 241"/>
            <p:cNvSpPr>
              <a:spLocks noChangeAspect="1"/>
            </p:cNvSpPr>
            <p:nvPr/>
          </p:nvSpPr>
          <p:spPr bwMode="auto">
            <a:xfrm>
              <a:off x="977163" y="2808676"/>
              <a:ext cx="174065" cy="102948"/>
            </a:xfrm>
            <a:custGeom>
              <a:avLst/>
              <a:gdLst/>
              <a:ahLst/>
              <a:cxnLst>
                <a:cxn ang="0">
                  <a:pos x="9" y="137"/>
                </a:cxn>
                <a:cxn ang="0">
                  <a:pos x="0" y="105"/>
                </a:cxn>
                <a:cxn ang="0">
                  <a:pos x="18" y="110"/>
                </a:cxn>
                <a:cxn ang="0">
                  <a:pos x="35" y="113"/>
                </a:cxn>
                <a:cxn ang="0">
                  <a:pos x="91" y="90"/>
                </a:cxn>
                <a:cxn ang="0">
                  <a:pos x="133" y="62"/>
                </a:cxn>
                <a:cxn ang="0">
                  <a:pos x="147" y="47"/>
                </a:cxn>
                <a:cxn ang="0">
                  <a:pos x="150" y="0"/>
                </a:cxn>
                <a:cxn ang="0">
                  <a:pos x="185" y="31"/>
                </a:cxn>
                <a:cxn ang="0">
                  <a:pos x="217" y="27"/>
                </a:cxn>
                <a:cxn ang="0">
                  <a:pos x="226" y="2"/>
                </a:cxn>
                <a:cxn ang="0">
                  <a:pos x="266" y="6"/>
                </a:cxn>
                <a:cxn ang="0">
                  <a:pos x="263" y="36"/>
                </a:cxn>
                <a:cxn ang="0">
                  <a:pos x="291" y="52"/>
                </a:cxn>
                <a:cxn ang="0">
                  <a:pos x="296" y="96"/>
                </a:cxn>
                <a:cxn ang="0">
                  <a:pos x="279" y="124"/>
                </a:cxn>
                <a:cxn ang="0">
                  <a:pos x="276" y="135"/>
                </a:cxn>
                <a:cxn ang="0">
                  <a:pos x="260" y="158"/>
                </a:cxn>
                <a:cxn ang="0">
                  <a:pos x="217" y="175"/>
                </a:cxn>
                <a:cxn ang="0">
                  <a:pos x="143" y="159"/>
                </a:cxn>
                <a:cxn ang="0">
                  <a:pos x="116" y="129"/>
                </a:cxn>
                <a:cxn ang="0">
                  <a:pos x="77" y="148"/>
                </a:cxn>
                <a:cxn ang="0">
                  <a:pos x="29" y="148"/>
                </a:cxn>
                <a:cxn ang="0">
                  <a:pos x="9" y="137"/>
                </a:cxn>
              </a:cxnLst>
              <a:rect l="0" t="0" r="r" b="b"/>
              <a:pathLst>
                <a:path w="296" h="175">
                  <a:moveTo>
                    <a:pt x="9" y="137"/>
                  </a:moveTo>
                  <a:lnTo>
                    <a:pt x="0" y="105"/>
                  </a:lnTo>
                  <a:lnTo>
                    <a:pt x="18" y="110"/>
                  </a:lnTo>
                  <a:lnTo>
                    <a:pt x="35" y="113"/>
                  </a:lnTo>
                  <a:lnTo>
                    <a:pt x="91" y="90"/>
                  </a:lnTo>
                  <a:lnTo>
                    <a:pt x="133" y="62"/>
                  </a:lnTo>
                  <a:lnTo>
                    <a:pt x="147" y="47"/>
                  </a:lnTo>
                  <a:lnTo>
                    <a:pt x="150" y="0"/>
                  </a:lnTo>
                  <a:lnTo>
                    <a:pt x="185" y="31"/>
                  </a:lnTo>
                  <a:lnTo>
                    <a:pt x="217" y="27"/>
                  </a:lnTo>
                  <a:lnTo>
                    <a:pt x="226" y="2"/>
                  </a:lnTo>
                  <a:lnTo>
                    <a:pt x="266" y="6"/>
                  </a:lnTo>
                  <a:lnTo>
                    <a:pt x="263" y="36"/>
                  </a:lnTo>
                  <a:lnTo>
                    <a:pt x="291" y="52"/>
                  </a:lnTo>
                  <a:lnTo>
                    <a:pt x="296" y="96"/>
                  </a:lnTo>
                  <a:lnTo>
                    <a:pt x="279" y="124"/>
                  </a:lnTo>
                  <a:lnTo>
                    <a:pt x="276" y="135"/>
                  </a:lnTo>
                  <a:lnTo>
                    <a:pt x="260" y="158"/>
                  </a:lnTo>
                  <a:lnTo>
                    <a:pt x="217" y="175"/>
                  </a:lnTo>
                  <a:lnTo>
                    <a:pt x="143" y="159"/>
                  </a:lnTo>
                  <a:lnTo>
                    <a:pt x="116" y="129"/>
                  </a:lnTo>
                  <a:lnTo>
                    <a:pt x="77" y="148"/>
                  </a:lnTo>
                  <a:lnTo>
                    <a:pt x="29" y="148"/>
                  </a:lnTo>
                  <a:lnTo>
                    <a:pt x="9" y="13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3" name="Freeform 242"/>
            <p:cNvSpPr>
              <a:spLocks noChangeAspect="1"/>
            </p:cNvSpPr>
            <p:nvPr/>
          </p:nvSpPr>
          <p:spPr bwMode="auto">
            <a:xfrm>
              <a:off x="977163" y="2808676"/>
              <a:ext cx="174065" cy="102948"/>
            </a:xfrm>
            <a:custGeom>
              <a:avLst/>
              <a:gdLst/>
              <a:ahLst/>
              <a:cxnLst>
                <a:cxn ang="0">
                  <a:pos x="9" y="137"/>
                </a:cxn>
                <a:cxn ang="0">
                  <a:pos x="0" y="105"/>
                </a:cxn>
                <a:cxn ang="0">
                  <a:pos x="18" y="110"/>
                </a:cxn>
                <a:cxn ang="0">
                  <a:pos x="35" y="113"/>
                </a:cxn>
                <a:cxn ang="0">
                  <a:pos x="91" y="90"/>
                </a:cxn>
                <a:cxn ang="0">
                  <a:pos x="133" y="62"/>
                </a:cxn>
                <a:cxn ang="0">
                  <a:pos x="147" y="47"/>
                </a:cxn>
                <a:cxn ang="0">
                  <a:pos x="150" y="0"/>
                </a:cxn>
                <a:cxn ang="0">
                  <a:pos x="185" y="31"/>
                </a:cxn>
                <a:cxn ang="0">
                  <a:pos x="217" y="27"/>
                </a:cxn>
                <a:cxn ang="0">
                  <a:pos x="226" y="2"/>
                </a:cxn>
                <a:cxn ang="0">
                  <a:pos x="266" y="6"/>
                </a:cxn>
                <a:cxn ang="0">
                  <a:pos x="263" y="36"/>
                </a:cxn>
                <a:cxn ang="0">
                  <a:pos x="291" y="52"/>
                </a:cxn>
                <a:cxn ang="0">
                  <a:pos x="296" y="96"/>
                </a:cxn>
                <a:cxn ang="0">
                  <a:pos x="279" y="124"/>
                </a:cxn>
                <a:cxn ang="0">
                  <a:pos x="276" y="135"/>
                </a:cxn>
                <a:cxn ang="0">
                  <a:pos x="260" y="158"/>
                </a:cxn>
                <a:cxn ang="0">
                  <a:pos x="217" y="175"/>
                </a:cxn>
                <a:cxn ang="0">
                  <a:pos x="143" y="159"/>
                </a:cxn>
                <a:cxn ang="0">
                  <a:pos x="116" y="129"/>
                </a:cxn>
                <a:cxn ang="0">
                  <a:pos x="77" y="148"/>
                </a:cxn>
                <a:cxn ang="0">
                  <a:pos x="29" y="148"/>
                </a:cxn>
                <a:cxn ang="0">
                  <a:pos x="9" y="137"/>
                </a:cxn>
              </a:cxnLst>
              <a:rect l="0" t="0" r="r" b="b"/>
              <a:pathLst>
                <a:path w="296" h="175">
                  <a:moveTo>
                    <a:pt x="9" y="137"/>
                  </a:moveTo>
                  <a:lnTo>
                    <a:pt x="0" y="105"/>
                  </a:lnTo>
                  <a:lnTo>
                    <a:pt x="18" y="110"/>
                  </a:lnTo>
                  <a:lnTo>
                    <a:pt x="35" y="113"/>
                  </a:lnTo>
                  <a:lnTo>
                    <a:pt x="91" y="90"/>
                  </a:lnTo>
                  <a:lnTo>
                    <a:pt x="133" y="62"/>
                  </a:lnTo>
                  <a:lnTo>
                    <a:pt x="147" y="47"/>
                  </a:lnTo>
                  <a:lnTo>
                    <a:pt x="150" y="0"/>
                  </a:lnTo>
                  <a:lnTo>
                    <a:pt x="185" y="31"/>
                  </a:lnTo>
                  <a:lnTo>
                    <a:pt x="217" y="27"/>
                  </a:lnTo>
                  <a:lnTo>
                    <a:pt x="226" y="2"/>
                  </a:lnTo>
                  <a:lnTo>
                    <a:pt x="266" y="6"/>
                  </a:lnTo>
                  <a:lnTo>
                    <a:pt x="263" y="36"/>
                  </a:lnTo>
                  <a:lnTo>
                    <a:pt x="291" y="52"/>
                  </a:lnTo>
                  <a:lnTo>
                    <a:pt x="296" y="96"/>
                  </a:lnTo>
                  <a:lnTo>
                    <a:pt x="279" y="124"/>
                  </a:lnTo>
                  <a:lnTo>
                    <a:pt x="276" y="135"/>
                  </a:lnTo>
                  <a:lnTo>
                    <a:pt x="260" y="158"/>
                  </a:lnTo>
                  <a:lnTo>
                    <a:pt x="217" y="175"/>
                  </a:lnTo>
                  <a:lnTo>
                    <a:pt x="143" y="159"/>
                  </a:lnTo>
                  <a:lnTo>
                    <a:pt x="116" y="129"/>
                  </a:lnTo>
                  <a:lnTo>
                    <a:pt x="77" y="148"/>
                  </a:lnTo>
                  <a:lnTo>
                    <a:pt x="29" y="148"/>
                  </a:lnTo>
                  <a:lnTo>
                    <a:pt x="9" y="137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4" name="Freeform 243"/>
            <p:cNvSpPr>
              <a:spLocks noChangeAspect="1"/>
            </p:cNvSpPr>
            <p:nvPr/>
          </p:nvSpPr>
          <p:spPr bwMode="auto">
            <a:xfrm>
              <a:off x="664197" y="2425284"/>
              <a:ext cx="15824" cy="8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16"/>
                </a:cxn>
                <a:cxn ang="0">
                  <a:pos x="29" y="0"/>
                </a:cxn>
                <a:cxn ang="0">
                  <a:pos x="0" y="0"/>
                </a:cxn>
              </a:cxnLst>
              <a:rect l="0" t="0" r="r" b="b"/>
              <a:pathLst>
                <a:path w="29" h="16">
                  <a:moveTo>
                    <a:pt x="0" y="0"/>
                  </a:moveTo>
                  <a:lnTo>
                    <a:pt x="5" y="16"/>
                  </a:lnTo>
                  <a:lnTo>
                    <a:pt x="2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5" name="Freeform 244"/>
            <p:cNvSpPr>
              <a:spLocks noChangeAspect="1"/>
            </p:cNvSpPr>
            <p:nvPr/>
          </p:nvSpPr>
          <p:spPr bwMode="auto">
            <a:xfrm>
              <a:off x="1080900" y="3202718"/>
              <a:ext cx="54506" cy="39049"/>
            </a:xfrm>
            <a:custGeom>
              <a:avLst/>
              <a:gdLst/>
              <a:ahLst/>
              <a:cxnLst>
                <a:cxn ang="0">
                  <a:pos x="85" y="0"/>
                </a:cxn>
                <a:cxn ang="0">
                  <a:pos x="48" y="8"/>
                </a:cxn>
                <a:cxn ang="0">
                  <a:pos x="0" y="5"/>
                </a:cxn>
                <a:cxn ang="0">
                  <a:pos x="8" y="20"/>
                </a:cxn>
                <a:cxn ang="0">
                  <a:pos x="18" y="41"/>
                </a:cxn>
                <a:cxn ang="0">
                  <a:pos x="44" y="45"/>
                </a:cxn>
                <a:cxn ang="0">
                  <a:pos x="93" y="64"/>
                </a:cxn>
                <a:cxn ang="0">
                  <a:pos x="91" y="30"/>
                </a:cxn>
                <a:cxn ang="0">
                  <a:pos x="85" y="0"/>
                </a:cxn>
              </a:cxnLst>
              <a:rect l="0" t="0" r="r" b="b"/>
              <a:pathLst>
                <a:path w="93" h="64">
                  <a:moveTo>
                    <a:pt x="85" y="0"/>
                  </a:moveTo>
                  <a:lnTo>
                    <a:pt x="48" y="8"/>
                  </a:lnTo>
                  <a:lnTo>
                    <a:pt x="0" y="5"/>
                  </a:lnTo>
                  <a:lnTo>
                    <a:pt x="8" y="20"/>
                  </a:lnTo>
                  <a:lnTo>
                    <a:pt x="18" y="41"/>
                  </a:lnTo>
                  <a:lnTo>
                    <a:pt x="44" y="45"/>
                  </a:lnTo>
                  <a:lnTo>
                    <a:pt x="93" y="64"/>
                  </a:lnTo>
                  <a:lnTo>
                    <a:pt x="91" y="30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6" name="Freeform 245"/>
            <p:cNvSpPr>
              <a:spLocks noChangeAspect="1"/>
            </p:cNvSpPr>
            <p:nvPr/>
          </p:nvSpPr>
          <p:spPr bwMode="auto">
            <a:xfrm>
              <a:off x="476067" y="2583256"/>
              <a:ext cx="109010" cy="140223"/>
            </a:xfrm>
            <a:custGeom>
              <a:avLst/>
              <a:gdLst/>
              <a:ahLst/>
              <a:cxnLst>
                <a:cxn ang="0">
                  <a:pos x="98" y="0"/>
                </a:cxn>
                <a:cxn ang="0">
                  <a:pos x="83" y="21"/>
                </a:cxn>
                <a:cxn ang="0">
                  <a:pos x="83" y="52"/>
                </a:cxn>
                <a:cxn ang="0">
                  <a:pos x="8" y="59"/>
                </a:cxn>
                <a:cxn ang="0">
                  <a:pos x="0" y="83"/>
                </a:cxn>
                <a:cxn ang="0">
                  <a:pos x="0" y="124"/>
                </a:cxn>
                <a:cxn ang="0">
                  <a:pos x="23" y="127"/>
                </a:cxn>
                <a:cxn ang="0">
                  <a:pos x="23" y="155"/>
                </a:cxn>
                <a:cxn ang="0">
                  <a:pos x="0" y="171"/>
                </a:cxn>
                <a:cxn ang="0">
                  <a:pos x="4" y="210"/>
                </a:cxn>
                <a:cxn ang="0">
                  <a:pos x="4" y="238"/>
                </a:cxn>
                <a:cxn ang="0">
                  <a:pos x="56" y="234"/>
                </a:cxn>
                <a:cxn ang="0">
                  <a:pos x="102" y="203"/>
                </a:cxn>
                <a:cxn ang="0">
                  <a:pos x="142" y="203"/>
                </a:cxn>
                <a:cxn ang="0">
                  <a:pos x="174" y="194"/>
                </a:cxn>
                <a:cxn ang="0">
                  <a:pos x="185" y="127"/>
                </a:cxn>
                <a:cxn ang="0">
                  <a:pos x="167" y="78"/>
                </a:cxn>
                <a:cxn ang="0">
                  <a:pos x="116" y="78"/>
                </a:cxn>
                <a:cxn ang="0">
                  <a:pos x="108" y="51"/>
                </a:cxn>
                <a:cxn ang="0">
                  <a:pos x="121" y="14"/>
                </a:cxn>
                <a:cxn ang="0">
                  <a:pos x="98" y="0"/>
                </a:cxn>
              </a:cxnLst>
              <a:rect l="0" t="0" r="r" b="b"/>
              <a:pathLst>
                <a:path w="185" h="238">
                  <a:moveTo>
                    <a:pt x="98" y="0"/>
                  </a:moveTo>
                  <a:lnTo>
                    <a:pt x="83" y="21"/>
                  </a:lnTo>
                  <a:lnTo>
                    <a:pt x="83" y="52"/>
                  </a:lnTo>
                  <a:lnTo>
                    <a:pt x="8" y="59"/>
                  </a:lnTo>
                  <a:lnTo>
                    <a:pt x="0" y="83"/>
                  </a:lnTo>
                  <a:lnTo>
                    <a:pt x="0" y="124"/>
                  </a:lnTo>
                  <a:lnTo>
                    <a:pt x="23" y="127"/>
                  </a:lnTo>
                  <a:lnTo>
                    <a:pt x="23" y="155"/>
                  </a:lnTo>
                  <a:lnTo>
                    <a:pt x="0" y="171"/>
                  </a:lnTo>
                  <a:lnTo>
                    <a:pt x="4" y="210"/>
                  </a:lnTo>
                  <a:lnTo>
                    <a:pt x="4" y="238"/>
                  </a:lnTo>
                  <a:lnTo>
                    <a:pt x="56" y="234"/>
                  </a:lnTo>
                  <a:lnTo>
                    <a:pt x="102" y="203"/>
                  </a:lnTo>
                  <a:lnTo>
                    <a:pt x="142" y="203"/>
                  </a:lnTo>
                  <a:lnTo>
                    <a:pt x="174" y="194"/>
                  </a:lnTo>
                  <a:lnTo>
                    <a:pt x="185" y="127"/>
                  </a:lnTo>
                  <a:lnTo>
                    <a:pt x="167" y="78"/>
                  </a:lnTo>
                  <a:lnTo>
                    <a:pt x="116" y="78"/>
                  </a:lnTo>
                  <a:lnTo>
                    <a:pt x="108" y="51"/>
                  </a:lnTo>
                  <a:lnTo>
                    <a:pt x="121" y="14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7" name="Freeform 246"/>
            <p:cNvSpPr>
              <a:spLocks noChangeAspect="1"/>
            </p:cNvSpPr>
            <p:nvPr/>
          </p:nvSpPr>
          <p:spPr bwMode="auto">
            <a:xfrm>
              <a:off x="539363" y="2581481"/>
              <a:ext cx="54506" cy="47924"/>
            </a:xfrm>
            <a:custGeom>
              <a:avLst/>
              <a:gdLst/>
              <a:ahLst/>
              <a:cxnLst>
                <a:cxn ang="0">
                  <a:pos x="59" y="81"/>
                </a:cxn>
                <a:cxn ang="0">
                  <a:pos x="8" y="81"/>
                </a:cxn>
                <a:cxn ang="0">
                  <a:pos x="0" y="54"/>
                </a:cxn>
                <a:cxn ang="0">
                  <a:pos x="13" y="17"/>
                </a:cxn>
                <a:cxn ang="0">
                  <a:pos x="38" y="0"/>
                </a:cxn>
                <a:cxn ang="0">
                  <a:pos x="66" y="7"/>
                </a:cxn>
                <a:cxn ang="0">
                  <a:pos x="86" y="27"/>
                </a:cxn>
                <a:cxn ang="0">
                  <a:pos x="93" y="59"/>
                </a:cxn>
                <a:cxn ang="0">
                  <a:pos x="59" y="81"/>
                </a:cxn>
              </a:cxnLst>
              <a:rect l="0" t="0" r="r" b="b"/>
              <a:pathLst>
                <a:path w="93" h="81">
                  <a:moveTo>
                    <a:pt x="59" y="81"/>
                  </a:moveTo>
                  <a:lnTo>
                    <a:pt x="8" y="81"/>
                  </a:lnTo>
                  <a:lnTo>
                    <a:pt x="0" y="54"/>
                  </a:lnTo>
                  <a:lnTo>
                    <a:pt x="13" y="17"/>
                  </a:lnTo>
                  <a:lnTo>
                    <a:pt x="38" y="0"/>
                  </a:lnTo>
                  <a:lnTo>
                    <a:pt x="66" y="7"/>
                  </a:lnTo>
                  <a:lnTo>
                    <a:pt x="86" y="27"/>
                  </a:lnTo>
                  <a:lnTo>
                    <a:pt x="93" y="59"/>
                  </a:lnTo>
                  <a:lnTo>
                    <a:pt x="59" y="8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8" name="Freeform 247"/>
            <p:cNvSpPr>
              <a:spLocks noChangeAspect="1"/>
            </p:cNvSpPr>
            <p:nvPr/>
          </p:nvSpPr>
          <p:spPr bwMode="auto">
            <a:xfrm>
              <a:off x="553429" y="2455458"/>
              <a:ext cx="22856" cy="39049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5" y="20"/>
                </a:cxn>
                <a:cxn ang="0">
                  <a:pos x="0" y="52"/>
                </a:cxn>
                <a:cxn ang="0">
                  <a:pos x="16" y="68"/>
                </a:cxn>
                <a:cxn ang="0">
                  <a:pos x="40" y="35"/>
                </a:cxn>
                <a:cxn ang="0">
                  <a:pos x="36" y="0"/>
                </a:cxn>
              </a:cxnLst>
              <a:rect l="0" t="0" r="r" b="b"/>
              <a:pathLst>
                <a:path w="40" h="68">
                  <a:moveTo>
                    <a:pt x="36" y="0"/>
                  </a:moveTo>
                  <a:lnTo>
                    <a:pt x="5" y="20"/>
                  </a:lnTo>
                  <a:lnTo>
                    <a:pt x="0" y="52"/>
                  </a:lnTo>
                  <a:lnTo>
                    <a:pt x="16" y="68"/>
                  </a:lnTo>
                  <a:lnTo>
                    <a:pt x="40" y="35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19" name="Freeform 248"/>
            <p:cNvSpPr>
              <a:spLocks noChangeAspect="1"/>
            </p:cNvSpPr>
            <p:nvPr/>
          </p:nvSpPr>
          <p:spPr bwMode="auto">
            <a:xfrm>
              <a:off x="579802" y="2448358"/>
              <a:ext cx="193406" cy="337244"/>
            </a:xfrm>
            <a:custGeom>
              <a:avLst/>
              <a:gdLst/>
              <a:ahLst/>
              <a:cxnLst>
                <a:cxn ang="0">
                  <a:pos x="52" y="7"/>
                </a:cxn>
                <a:cxn ang="0">
                  <a:pos x="32" y="43"/>
                </a:cxn>
                <a:cxn ang="0">
                  <a:pos x="0" y="79"/>
                </a:cxn>
                <a:cxn ang="0">
                  <a:pos x="24" y="90"/>
                </a:cxn>
                <a:cxn ang="0">
                  <a:pos x="32" y="118"/>
                </a:cxn>
                <a:cxn ang="0">
                  <a:pos x="32" y="146"/>
                </a:cxn>
                <a:cxn ang="0">
                  <a:pos x="4" y="162"/>
                </a:cxn>
                <a:cxn ang="0">
                  <a:pos x="17" y="190"/>
                </a:cxn>
                <a:cxn ang="0">
                  <a:pos x="44" y="193"/>
                </a:cxn>
                <a:cxn ang="0">
                  <a:pos x="52" y="217"/>
                </a:cxn>
                <a:cxn ang="0">
                  <a:pos x="41" y="241"/>
                </a:cxn>
                <a:cxn ang="0">
                  <a:pos x="115" y="256"/>
                </a:cxn>
                <a:cxn ang="0">
                  <a:pos x="131" y="284"/>
                </a:cxn>
                <a:cxn ang="0">
                  <a:pos x="155" y="292"/>
                </a:cxn>
                <a:cxn ang="0">
                  <a:pos x="147" y="315"/>
                </a:cxn>
                <a:cxn ang="0">
                  <a:pos x="107" y="339"/>
                </a:cxn>
                <a:cxn ang="0">
                  <a:pos x="76" y="339"/>
                </a:cxn>
                <a:cxn ang="0">
                  <a:pos x="72" y="375"/>
                </a:cxn>
                <a:cxn ang="0">
                  <a:pos x="83" y="394"/>
                </a:cxn>
                <a:cxn ang="0">
                  <a:pos x="76" y="427"/>
                </a:cxn>
                <a:cxn ang="0">
                  <a:pos x="52" y="442"/>
                </a:cxn>
                <a:cxn ang="0">
                  <a:pos x="123" y="458"/>
                </a:cxn>
                <a:cxn ang="0">
                  <a:pos x="120" y="470"/>
                </a:cxn>
                <a:cxn ang="0">
                  <a:pos x="92" y="473"/>
                </a:cxn>
                <a:cxn ang="0">
                  <a:pos x="63" y="505"/>
                </a:cxn>
                <a:cxn ang="0">
                  <a:pos x="36" y="537"/>
                </a:cxn>
                <a:cxn ang="0">
                  <a:pos x="32" y="569"/>
                </a:cxn>
                <a:cxn ang="0">
                  <a:pos x="100" y="541"/>
                </a:cxn>
                <a:cxn ang="0">
                  <a:pos x="142" y="517"/>
                </a:cxn>
                <a:cxn ang="0">
                  <a:pos x="203" y="534"/>
                </a:cxn>
                <a:cxn ang="0">
                  <a:pos x="249" y="501"/>
                </a:cxn>
                <a:cxn ang="0">
                  <a:pos x="309" y="486"/>
                </a:cxn>
                <a:cxn ang="0">
                  <a:pos x="273" y="458"/>
                </a:cxn>
                <a:cxn ang="0">
                  <a:pos x="293" y="442"/>
                </a:cxn>
                <a:cxn ang="0">
                  <a:pos x="324" y="446"/>
                </a:cxn>
                <a:cxn ang="0">
                  <a:pos x="328" y="375"/>
                </a:cxn>
                <a:cxn ang="0">
                  <a:pos x="269" y="355"/>
                </a:cxn>
                <a:cxn ang="0">
                  <a:pos x="265" y="308"/>
                </a:cxn>
                <a:cxn ang="0">
                  <a:pos x="258" y="280"/>
                </a:cxn>
                <a:cxn ang="0">
                  <a:pos x="226" y="269"/>
                </a:cxn>
                <a:cxn ang="0">
                  <a:pos x="230" y="228"/>
                </a:cxn>
                <a:cxn ang="0">
                  <a:pos x="203" y="221"/>
                </a:cxn>
                <a:cxn ang="0">
                  <a:pos x="210" y="166"/>
                </a:cxn>
                <a:cxn ang="0">
                  <a:pos x="135" y="110"/>
                </a:cxn>
                <a:cxn ang="0">
                  <a:pos x="175" y="98"/>
                </a:cxn>
                <a:cxn ang="0">
                  <a:pos x="179" y="51"/>
                </a:cxn>
                <a:cxn ang="0">
                  <a:pos x="107" y="51"/>
                </a:cxn>
                <a:cxn ang="0">
                  <a:pos x="107" y="0"/>
                </a:cxn>
                <a:cxn ang="0">
                  <a:pos x="52" y="7"/>
                </a:cxn>
              </a:cxnLst>
              <a:rect l="0" t="0" r="r" b="b"/>
              <a:pathLst>
                <a:path w="328" h="569">
                  <a:moveTo>
                    <a:pt x="52" y="7"/>
                  </a:moveTo>
                  <a:lnTo>
                    <a:pt x="32" y="43"/>
                  </a:lnTo>
                  <a:lnTo>
                    <a:pt x="0" y="79"/>
                  </a:lnTo>
                  <a:lnTo>
                    <a:pt x="24" y="90"/>
                  </a:lnTo>
                  <a:lnTo>
                    <a:pt x="32" y="118"/>
                  </a:lnTo>
                  <a:lnTo>
                    <a:pt x="32" y="146"/>
                  </a:lnTo>
                  <a:lnTo>
                    <a:pt x="4" y="162"/>
                  </a:lnTo>
                  <a:lnTo>
                    <a:pt x="17" y="190"/>
                  </a:lnTo>
                  <a:lnTo>
                    <a:pt x="44" y="193"/>
                  </a:lnTo>
                  <a:lnTo>
                    <a:pt x="52" y="217"/>
                  </a:lnTo>
                  <a:lnTo>
                    <a:pt x="41" y="241"/>
                  </a:lnTo>
                  <a:lnTo>
                    <a:pt x="115" y="256"/>
                  </a:lnTo>
                  <a:lnTo>
                    <a:pt x="131" y="284"/>
                  </a:lnTo>
                  <a:lnTo>
                    <a:pt x="155" y="292"/>
                  </a:lnTo>
                  <a:lnTo>
                    <a:pt x="147" y="315"/>
                  </a:lnTo>
                  <a:lnTo>
                    <a:pt x="107" y="339"/>
                  </a:lnTo>
                  <a:lnTo>
                    <a:pt x="76" y="339"/>
                  </a:lnTo>
                  <a:lnTo>
                    <a:pt x="72" y="375"/>
                  </a:lnTo>
                  <a:lnTo>
                    <a:pt x="83" y="394"/>
                  </a:lnTo>
                  <a:lnTo>
                    <a:pt x="76" y="427"/>
                  </a:lnTo>
                  <a:lnTo>
                    <a:pt x="52" y="442"/>
                  </a:lnTo>
                  <a:lnTo>
                    <a:pt x="123" y="458"/>
                  </a:lnTo>
                  <a:lnTo>
                    <a:pt x="120" y="470"/>
                  </a:lnTo>
                  <a:lnTo>
                    <a:pt x="92" y="473"/>
                  </a:lnTo>
                  <a:lnTo>
                    <a:pt x="63" y="505"/>
                  </a:lnTo>
                  <a:lnTo>
                    <a:pt x="36" y="537"/>
                  </a:lnTo>
                  <a:lnTo>
                    <a:pt x="32" y="569"/>
                  </a:lnTo>
                  <a:lnTo>
                    <a:pt x="100" y="541"/>
                  </a:lnTo>
                  <a:lnTo>
                    <a:pt x="142" y="517"/>
                  </a:lnTo>
                  <a:lnTo>
                    <a:pt x="203" y="534"/>
                  </a:lnTo>
                  <a:lnTo>
                    <a:pt x="249" y="501"/>
                  </a:lnTo>
                  <a:lnTo>
                    <a:pt x="309" y="486"/>
                  </a:lnTo>
                  <a:lnTo>
                    <a:pt x="273" y="458"/>
                  </a:lnTo>
                  <a:lnTo>
                    <a:pt x="293" y="442"/>
                  </a:lnTo>
                  <a:lnTo>
                    <a:pt x="324" y="446"/>
                  </a:lnTo>
                  <a:lnTo>
                    <a:pt x="328" y="375"/>
                  </a:lnTo>
                  <a:lnTo>
                    <a:pt x="269" y="355"/>
                  </a:lnTo>
                  <a:lnTo>
                    <a:pt x="265" y="308"/>
                  </a:lnTo>
                  <a:lnTo>
                    <a:pt x="258" y="280"/>
                  </a:lnTo>
                  <a:lnTo>
                    <a:pt x="226" y="269"/>
                  </a:lnTo>
                  <a:lnTo>
                    <a:pt x="230" y="228"/>
                  </a:lnTo>
                  <a:lnTo>
                    <a:pt x="203" y="221"/>
                  </a:lnTo>
                  <a:lnTo>
                    <a:pt x="210" y="166"/>
                  </a:lnTo>
                  <a:lnTo>
                    <a:pt x="135" y="110"/>
                  </a:lnTo>
                  <a:lnTo>
                    <a:pt x="175" y="98"/>
                  </a:lnTo>
                  <a:lnTo>
                    <a:pt x="179" y="51"/>
                  </a:lnTo>
                  <a:lnTo>
                    <a:pt x="107" y="51"/>
                  </a:lnTo>
                  <a:lnTo>
                    <a:pt x="107" y="0"/>
                  </a:lnTo>
                  <a:lnTo>
                    <a:pt x="52" y="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0" name="Freeform 249"/>
            <p:cNvSpPr>
              <a:spLocks noChangeAspect="1"/>
            </p:cNvSpPr>
            <p:nvPr/>
          </p:nvSpPr>
          <p:spPr bwMode="auto">
            <a:xfrm>
              <a:off x="688812" y="2359610"/>
              <a:ext cx="17582" cy="33724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28"/>
                </a:cxn>
                <a:cxn ang="0">
                  <a:pos x="8" y="59"/>
                </a:cxn>
                <a:cxn ang="0">
                  <a:pos x="28" y="59"/>
                </a:cxn>
                <a:cxn ang="0">
                  <a:pos x="24" y="0"/>
                </a:cxn>
              </a:cxnLst>
              <a:rect l="0" t="0" r="r" b="b"/>
              <a:pathLst>
                <a:path w="28" h="59">
                  <a:moveTo>
                    <a:pt x="24" y="0"/>
                  </a:moveTo>
                  <a:lnTo>
                    <a:pt x="0" y="28"/>
                  </a:lnTo>
                  <a:lnTo>
                    <a:pt x="8" y="59"/>
                  </a:lnTo>
                  <a:lnTo>
                    <a:pt x="28" y="59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1" name="Freeform 250"/>
            <p:cNvSpPr>
              <a:spLocks noChangeAspect="1"/>
            </p:cNvSpPr>
            <p:nvPr/>
          </p:nvSpPr>
          <p:spPr bwMode="auto">
            <a:xfrm>
              <a:off x="850570" y="1891020"/>
              <a:ext cx="652305" cy="573314"/>
            </a:xfrm>
            <a:custGeom>
              <a:avLst/>
              <a:gdLst/>
              <a:ahLst/>
              <a:cxnLst>
                <a:cxn ang="0">
                  <a:pos x="961" y="136"/>
                </a:cxn>
                <a:cxn ang="0">
                  <a:pos x="891" y="96"/>
                </a:cxn>
                <a:cxn ang="0">
                  <a:pos x="835" y="155"/>
                </a:cxn>
                <a:cxn ang="0">
                  <a:pos x="751" y="210"/>
                </a:cxn>
                <a:cxn ang="0">
                  <a:pos x="677" y="195"/>
                </a:cxn>
                <a:cxn ang="0">
                  <a:pos x="626" y="246"/>
                </a:cxn>
                <a:cxn ang="0">
                  <a:pos x="550" y="250"/>
                </a:cxn>
                <a:cxn ang="0">
                  <a:pos x="503" y="285"/>
                </a:cxn>
                <a:cxn ang="0">
                  <a:pos x="471" y="317"/>
                </a:cxn>
                <a:cxn ang="0">
                  <a:pos x="440" y="372"/>
                </a:cxn>
                <a:cxn ang="0">
                  <a:pos x="396" y="412"/>
                </a:cxn>
                <a:cxn ang="0">
                  <a:pos x="365" y="482"/>
                </a:cxn>
                <a:cxn ang="0">
                  <a:pos x="372" y="546"/>
                </a:cxn>
                <a:cxn ang="0">
                  <a:pos x="309" y="554"/>
                </a:cxn>
                <a:cxn ang="0">
                  <a:pos x="309" y="668"/>
                </a:cxn>
                <a:cxn ang="0">
                  <a:pos x="341" y="771"/>
                </a:cxn>
                <a:cxn ang="0">
                  <a:pos x="309" y="850"/>
                </a:cxn>
                <a:cxn ang="0">
                  <a:pos x="278" y="937"/>
                </a:cxn>
                <a:cxn ang="0">
                  <a:pos x="179" y="929"/>
                </a:cxn>
                <a:cxn ang="0">
                  <a:pos x="107" y="965"/>
                </a:cxn>
                <a:cxn ang="0">
                  <a:pos x="48" y="914"/>
                </a:cxn>
                <a:cxn ang="0">
                  <a:pos x="37" y="815"/>
                </a:cxn>
                <a:cxn ang="0">
                  <a:pos x="0" y="692"/>
                </a:cxn>
                <a:cxn ang="0">
                  <a:pos x="44" y="653"/>
                </a:cxn>
                <a:cxn ang="0">
                  <a:pos x="127" y="633"/>
                </a:cxn>
                <a:cxn ang="0">
                  <a:pos x="195" y="602"/>
                </a:cxn>
                <a:cxn ang="0">
                  <a:pos x="262" y="526"/>
                </a:cxn>
                <a:cxn ang="0">
                  <a:pos x="302" y="460"/>
                </a:cxn>
                <a:cxn ang="0">
                  <a:pos x="326" y="372"/>
                </a:cxn>
                <a:cxn ang="0">
                  <a:pos x="412" y="278"/>
                </a:cxn>
                <a:cxn ang="0">
                  <a:pos x="519" y="237"/>
                </a:cxn>
                <a:cxn ang="0">
                  <a:pos x="622" y="206"/>
                </a:cxn>
                <a:cxn ang="0">
                  <a:pos x="672" y="147"/>
                </a:cxn>
                <a:cxn ang="0">
                  <a:pos x="629" y="76"/>
                </a:cxn>
                <a:cxn ang="0">
                  <a:pos x="692" y="29"/>
                </a:cxn>
                <a:cxn ang="0">
                  <a:pos x="724" y="79"/>
                </a:cxn>
                <a:cxn ang="0">
                  <a:pos x="747" y="57"/>
                </a:cxn>
                <a:cxn ang="0">
                  <a:pos x="788" y="84"/>
                </a:cxn>
                <a:cxn ang="0">
                  <a:pos x="779" y="33"/>
                </a:cxn>
                <a:cxn ang="0">
                  <a:pos x="858" y="40"/>
                </a:cxn>
                <a:cxn ang="0">
                  <a:pos x="894" y="44"/>
                </a:cxn>
                <a:cxn ang="0">
                  <a:pos x="977" y="16"/>
                </a:cxn>
                <a:cxn ang="0">
                  <a:pos x="1020" y="84"/>
                </a:cxn>
                <a:cxn ang="0">
                  <a:pos x="1055" y="152"/>
                </a:cxn>
                <a:cxn ang="0">
                  <a:pos x="983" y="256"/>
                </a:cxn>
                <a:cxn ang="0">
                  <a:pos x="961" y="136"/>
                </a:cxn>
              </a:cxnLst>
              <a:rect l="0" t="0" r="r" b="b"/>
              <a:pathLst>
                <a:path w="1112" h="970">
                  <a:moveTo>
                    <a:pt x="933" y="210"/>
                  </a:moveTo>
                  <a:lnTo>
                    <a:pt x="961" y="136"/>
                  </a:lnTo>
                  <a:lnTo>
                    <a:pt x="926" y="103"/>
                  </a:lnTo>
                  <a:lnTo>
                    <a:pt x="891" y="96"/>
                  </a:lnTo>
                  <a:lnTo>
                    <a:pt x="863" y="119"/>
                  </a:lnTo>
                  <a:lnTo>
                    <a:pt x="835" y="155"/>
                  </a:lnTo>
                  <a:lnTo>
                    <a:pt x="815" y="202"/>
                  </a:lnTo>
                  <a:lnTo>
                    <a:pt x="751" y="210"/>
                  </a:lnTo>
                  <a:lnTo>
                    <a:pt x="709" y="202"/>
                  </a:lnTo>
                  <a:lnTo>
                    <a:pt x="677" y="195"/>
                  </a:lnTo>
                  <a:lnTo>
                    <a:pt x="650" y="219"/>
                  </a:lnTo>
                  <a:lnTo>
                    <a:pt x="626" y="246"/>
                  </a:lnTo>
                  <a:lnTo>
                    <a:pt x="582" y="246"/>
                  </a:lnTo>
                  <a:lnTo>
                    <a:pt x="550" y="250"/>
                  </a:lnTo>
                  <a:lnTo>
                    <a:pt x="526" y="274"/>
                  </a:lnTo>
                  <a:lnTo>
                    <a:pt x="503" y="285"/>
                  </a:lnTo>
                  <a:lnTo>
                    <a:pt x="475" y="278"/>
                  </a:lnTo>
                  <a:lnTo>
                    <a:pt x="471" y="317"/>
                  </a:lnTo>
                  <a:lnTo>
                    <a:pt x="447" y="333"/>
                  </a:lnTo>
                  <a:lnTo>
                    <a:pt x="440" y="372"/>
                  </a:lnTo>
                  <a:lnTo>
                    <a:pt x="408" y="377"/>
                  </a:lnTo>
                  <a:lnTo>
                    <a:pt x="396" y="412"/>
                  </a:lnTo>
                  <a:lnTo>
                    <a:pt x="372" y="423"/>
                  </a:lnTo>
                  <a:lnTo>
                    <a:pt x="365" y="482"/>
                  </a:lnTo>
                  <a:lnTo>
                    <a:pt x="344" y="523"/>
                  </a:lnTo>
                  <a:lnTo>
                    <a:pt x="372" y="546"/>
                  </a:lnTo>
                  <a:lnTo>
                    <a:pt x="353" y="561"/>
                  </a:lnTo>
                  <a:lnTo>
                    <a:pt x="309" y="554"/>
                  </a:lnTo>
                  <a:lnTo>
                    <a:pt x="298" y="585"/>
                  </a:lnTo>
                  <a:lnTo>
                    <a:pt x="309" y="668"/>
                  </a:lnTo>
                  <a:lnTo>
                    <a:pt x="317" y="720"/>
                  </a:lnTo>
                  <a:lnTo>
                    <a:pt x="341" y="771"/>
                  </a:lnTo>
                  <a:lnTo>
                    <a:pt x="353" y="826"/>
                  </a:lnTo>
                  <a:lnTo>
                    <a:pt x="309" y="850"/>
                  </a:lnTo>
                  <a:lnTo>
                    <a:pt x="293" y="906"/>
                  </a:lnTo>
                  <a:lnTo>
                    <a:pt x="278" y="937"/>
                  </a:lnTo>
                  <a:lnTo>
                    <a:pt x="247" y="918"/>
                  </a:lnTo>
                  <a:lnTo>
                    <a:pt x="179" y="929"/>
                  </a:lnTo>
                  <a:lnTo>
                    <a:pt x="144" y="953"/>
                  </a:lnTo>
                  <a:lnTo>
                    <a:pt x="107" y="965"/>
                  </a:lnTo>
                  <a:lnTo>
                    <a:pt x="52" y="970"/>
                  </a:lnTo>
                  <a:lnTo>
                    <a:pt x="48" y="914"/>
                  </a:lnTo>
                  <a:lnTo>
                    <a:pt x="24" y="898"/>
                  </a:lnTo>
                  <a:lnTo>
                    <a:pt x="37" y="815"/>
                  </a:lnTo>
                  <a:lnTo>
                    <a:pt x="5" y="811"/>
                  </a:lnTo>
                  <a:lnTo>
                    <a:pt x="0" y="692"/>
                  </a:lnTo>
                  <a:lnTo>
                    <a:pt x="37" y="681"/>
                  </a:lnTo>
                  <a:lnTo>
                    <a:pt x="44" y="653"/>
                  </a:lnTo>
                  <a:lnTo>
                    <a:pt x="88" y="637"/>
                  </a:lnTo>
                  <a:lnTo>
                    <a:pt x="127" y="633"/>
                  </a:lnTo>
                  <a:lnTo>
                    <a:pt x="147" y="605"/>
                  </a:lnTo>
                  <a:lnTo>
                    <a:pt x="195" y="602"/>
                  </a:lnTo>
                  <a:lnTo>
                    <a:pt x="199" y="546"/>
                  </a:lnTo>
                  <a:lnTo>
                    <a:pt x="262" y="526"/>
                  </a:lnTo>
                  <a:lnTo>
                    <a:pt x="269" y="482"/>
                  </a:lnTo>
                  <a:lnTo>
                    <a:pt x="302" y="460"/>
                  </a:lnTo>
                  <a:lnTo>
                    <a:pt x="313" y="416"/>
                  </a:lnTo>
                  <a:lnTo>
                    <a:pt x="326" y="372"/>
                  </a:lnTo>
                  <a:lnTo>
                    <a:pt x="372" y="325"/>
                  </a:lnTo>
                  <a:lnTo>
                    <a:pt x="412" y="278"/>
                  </a:lnTo>
                  <a:lnTo>
                    <a:pt x="455" y="246"/>
                  </a:lnTo>
                  <a:lnTo>
                    <a:pt x="519" y="237"/>
                  </a:lnTo>
                  <a:lnTo>
                    <a:pt x="554" y="219"/>
                  </a:lnTo>
                  <a:lnTo>
                    <a:pt x="622" y="206"/>
                  </a:lnTo>
                  <a:lnTo>
                    <a:pt x="633" y="167"/>
                  </a:lnTo>
                  <a:lnTo>
                    <a:pt x="672" y="147"/>
                  </a:lnTo>
                  <a:lnTo>
                    <a:pt x="661" y="99"/>
                  </a:lnTo>
                  <a:lnTo>
                    <a:pt x="629" y="76"/>
                  </a:lnTo>
                  <a:lnTo>
                    <a:pt x="677" y="60"/>
                  </a:lnTo>
                  <a:lnTo>
                    <a:pt x="692" y="29"/>
                  </a:lnTo>
                  <a:lnTo>
                    <a:pt x="701" y="72"/>
                  </a:lnTo>
                  <a:lnTo>
                    <a:pt x="724" y="79"/>
                  </a:lnTo>
                  <a:lnTo>
                    <a:pt x="724" y="57"/>
                  </a:lnTo>
                  <a:lnTo>
                    <a:pt x="747" y="57"/>
                  </a:lnTo>
                  <a:lnTo>
                    <a:pt x="756" y="76"/>
                  </a:lnTo>
                  <a:lnTo>
                    <a:pt x="788" y="84"/>
                  </a:lnTo>
                  <a:lnTo>
                    <a:pt x="803" y="48"/>
                  </a:lnTo>
                  <a:lnTo>
                    <a:pt x="779" y="33"/>
                  </a:lnTo>
                  <a:lnTo>
                    <a:pt x="819" y="9"/>
                  </a:lnTo>
                  <a:lnTo>
                    <a:pt x="858" y="40"/>
                  </a:lnTo>
                  <a:lnTo>
                    <a:pt x="882" y="0"/>
                  </a:lnTo>
                  <a:lnTo>
                    <a:pt x="894" y="44"/>
                  </a:lnTo>
                  <a:lnTo>
                    <a:pt x="933" y="48"/>
                  </a:lnTo>
                  <a:lnTo>
                    <a:pt x="977" y="16"/>
                  </a:lnTo>
                  <a:lnTo>
                    <a:pt x="1029" y="48"/>
                  </a:lnTo>
                  <a:lnTo>
                    <a:pt x="1020" y="84"/>
                  </a:lnTo>
                  <a:lnTo>
                    <a:pt x="1112" y="116"/>
                  </a:lnTo>
                  <a:lnTo>
                    <a:pt x="1055" y="152"/>
                  </a:lnTo>
                  <a:lnTo>
                    <a:pt x="1004" y="207"/>
                  </a:lnTo>
                  <a:lnTo>
                    <a:pt x="983" y="256"/>
                  </a:lnTo>
                  <a:lnTo>
                    <a:pt x="933" y="210"/>
                  </a:lnTo>
                  <a:lnTo>
                    <a:pt x="961" y="136"/>
                  </a:lnTo>
                  <a:lnTo>
                    <a:pt x="933" y="21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2" name="Freeform 251"/>
            <p:cNvSpPr>
              <a:spLocks noChangeAspect="1"/>
            </p:cNvSpPr>
            <p:nvPr/>
          </p:nvSpPr>
          <p:spPr bwMode="auto">
            <a:xfrm>
              <a:off x="850570" y="1891020"/>
              <a:ext cx="652305" cy="573314"/>
            </a:xfrm>
            <a:custGeom>
              <a:avLst/>
              <a:gdLst/>
              <a:ahLst/>
              <a:cxnLst>
                <a:cxn ang="0">
                  <a:pos x="961" y="136"/>
                </a:cxn>
                <a:cxn ang="0">
                  <a:pos x="891" y="96"/>
                </a:cxn>
                <a:cxn ang="0">
                  <a:pos x="835" y="155"/>
                </a:cxn>
                <a:cxn ang="0">
                  <a:pos x="751" y="210"/>
                </a:cxn>
                <a:cxn ang="0">
                  <a:pos x="677" y="195"/>
                </a:cxn>
                <a:cxn ang="0">
                  <a:pos x="626" y="246"/>
                </a:cxn>
                <a:cxn ang="0">
                  <a:pos x="550" y="250"/>
                </a:cxn>
                <a:cxn ang="0">
                  <a:pos x="503" y="285"/>
                </a:cxn>
                <a:cxn ang="0">
                  <a:pos x="471" y="317"/>
                </a:cxn>
                <a:cxn ang="0">
                  <a:pos x="440" y="372"/>
                </a:cxn>
                <a:cxn ang="0">
                  <a:pos x="396" y="412"/>
                </a:cxn>
                <a:cxn ang="0">
                  <a:pos x="365" y="482"/>
                </a:cxn>
                <a:cxn ang="0">
                  <a:pos x="372" y="546"/>
                </a:cxn>
                <a:cxn ang="0">
                  <a:pos x="309" y="554"/>
                </a:cxn>
                <a:cxn ang="0">
                  <a:pos x="309" y="668"/>
                </a:cxn>
                <a:cxn ang="0">
                  <a:pos x="341" y="771"/>
                </a:cxn>
                <a:cxn ang="0">
                  <a:pos x="309" y="850"/>
                </a:cxn>
                <a:cxn ang="0">
                  <a:pos x="278" y="937"/>
                </a:cxn>
                <a:cxn ang="0">
                  <a:pos x="179" y="929"/>
                </a:cxn>
                <a:cxn ang="0">
                  <a:pos x="107" y="965"/>
                </a:cxn>
                <a:cxn ang="0">
                  <a:pos x="48" y="914"/>
                </a:cxn>
                <a:cxn ang="0">
                  <a:pos x="37" y="815"/>
                </a:cxn>
                <a:cxn ang="0">
                  <a:pos x="0" y="692"/>
                </a:cxn>
                <a:cxn ang="0">
                  <a:pos x="44" y="653"/>
                </a:cxn>
                <a:cxn ang="0">
                  <a:pos x="127" y="633"/>
                </a:cxn>
                <a:cxn ang="0">
                  <a:pos x="195" y="602"/>
                </a:cxn>
                <a:cxn ang="0">
                  <a:pos x="262" y="526"/>
                </a:cxn>
                <a:cxn ang="0">
                  <a:pos x="302" y="460"/>
                </a:cxn>
                <a:cxn ang="0">
                  <a:pos x="326" y="372"/>
                </a:cxn>
                <a:cxn ang="0">
                  <a:pos x="412" y="278"/>
                </a:cxn>
                <a:cxn ang="0">
                  <a:pos x="519" y="237"/>
                </a:cxn>
                <a:cxn ang="0">
                  <a:pos x="622" y="206"/>
                </a:cxn>
                <a:cxn ang="0">
                  <a:pos x="672" y="147"/>
                </a:cxn>
                <a:cxn ang="0">
                  <a:pos x="629" y="76"/>
                </a:cxn>
                <a:cxn ang="0">
                  <a:pos x="692" y="29"/>
                </a:cxn>
                <a:cxn ang="0">
                  <a:pos x="724" y="79"/>
                </a:cxn>
                <a:cxn ang="0">
                  <a:pos x="747" y="57"/>
                </a:cxn>
                <a:cxn ang="0">
                  <a:pos x="788" y="84"/>
                </a:cxn>
                <a:cxn ang="0">
                  <a:pos x="779" y="33"/>
                </a:cxn>
                <a:cxn ang="0">
                  <a:pos x="858" y="40"/>
                </a:cxn>
                <a:cxn ang="0">
                  <a:pos x="894" y="44"/>
                </a:cxn>
                <a:cxn ang="0">
                  <a:pos x="977" y="16"/>
                </a:cxn>
                <a:cxn ang="0">
                  <a:pos x="1020" y="84"/>
                </a:cxn>
                <a:cxn ang="0">
                  <a:pos x="1055" y="152"/>
                </a:cxn>
                <a:cxn ang="0">
                  <a:pos x="983" y="256"/>
                </a:cxn>
                <a:cxn ang="0">
                  <a:pos x="961" y="136"/>
                </a:cxn>
              </a:cxnLst>
              <a:rect l="0" t="0" r="r" b="b"/>
              <a:pathLst>
                <a:path w="1112" h="970">
                  <a:moveTo>
                    <a:pt x="933" y="210"/>
                  </a:moveTo>
                  <a:lnTo>
                    <a:pt x="961" y="136"/>
                  </a:lnTo>
                  <a:lnTo>
                    <a:pt x="926" y="103"/>
                  </a:lnTo>
                  <a:lnTo>
                    <a:pt x="891" y="96"/>
                  </a:lnTo>
                  <a:lnTo>
                    <a:pt x="863" y="119"/>
                  </a:lnTo>
                  <a:lnTo>
                    <a:pt x="835" y="155"/>
                  </a:lnTo>
                  <a:lnTo>
                    <a:pt x="815" y="202"/>
                  </a:lnTo>
                  <a:lnTo>
                    <a:pt x="751" y="210"/>
                  </a:lnTo>
                  <a:lnTo>
                    <a:pt x="709" y="202"/>
                  </a:lnTo>
                  <a:lnTo>
                    <a:pt x="677" y="195"/>
                  </a:lnTo>
                  <a:lnTo>
                    <a:pt x="650" y="219"/>
                  </a:lnTo>
                  <a:lnTo>
                    <a:pt x="626" y="246"/>
                  </a:lnTo>
                  <a:lnTo>
                    <a:pt x="582" y="246"/>
                  </a:lnTo>
                  <a:lnTo>
                    <a:pt x="550" y="250"/>
                  </a:lnTo>
                  <a:lnTo>
                    <a:pt x="526" y="274"/>
                  </a:lnTo>
                  <a:lnTo>
                    <a:pt x="503" y="285"/>
                  </a:lnTo>
                  <a:lnTo>
                    <a:pt x="475" y="278"/>
                  </a:lnTo>
                  <a:lnTo>
                    <a:pt x="471" y="317"/>
                  </a:lnTo>
                  <a:lnTo>
                    <a:pt x="447" y="333"/>
                  </a:lnTo>
                  <a:lnTo>
                    <a:pt x="440" y="372"/>
                  </a:lnTo>
                  <a:lnTo>
                    <a:pt x="408" y="377"/>
                  </a:lnTo>
                  <a:lnTo>
                    <a:pt x="396" y="412"/>
                  </a:lnTo>
                  <a:lnTo>
                    <a:pt x="372" y="423"/>
                  </a:lnTo>
                  <a:lnTo>
                    <a:pt x="365" y="482"/>
                  </a:lnTo>
                  <a:lnTo>
                    <a:pt x="344" y="523"/>
                  </a:lnTo>
                  <a:lnTo>
                    <a:pt x="372" y="546"/>
                  </a:lnTo>
                  <a:lnTo>
                    <a:pt x="353" y="561"/>
                  </a:lnTo>
                  <a:lnTo>
                    <a:pt x="309" y="554"/>
                  </a:lnTo>
                  <a:lnTo>
                    <a:pt x="298" y="585"/>
                  </a:lnTo>
                  <a:lnTo>
                    <a:pt x="309" y="668"/>
                  </a:lnTo>
                  <a:lnTo>
                    <a:pt x="317" y="720"/>
                  </a:lnTo>
                  <a:lnTo>
                    <a:pt x="341" y="771"/>
                  </a:lnTo>
                  <a:lnTo>
                    <a:pt x="353" y="826"/>
                  </a:lnTo>
                  <a:lnTo>
                    <a:pt x="309" y="850"/>
                  </a:lnTo>
                  <a:lnTo>
                    <a:pt x="293" y="906"/>
                  </a:lnTo>
                  <a:lnTo>
                    <a:pt x="278" y="937"/>
                  </a:lnTo>
                  <a:lnTo>
                    <a:pt x="247" y="918"/>
                  </a:lnTo>
                  <a:lnTo>
                    <a:pt x="179" y="929"/>
                  </a:lnTo>
                  <a:lnTo>
                    <a:pt x="144" y="953"/>
                  </a:lnTo>
                  <a:lnTo>
                    <a:pt x="107" y="965"/>
                  </a:lnTo>
                  <a:lnTo>
                    <a:pt x="52" y="970"/>
                  </a:lnTo>
                  <a:lnTo>
                    <a:pt x="48" y="914"/>
                  </a:lnTo>
                  <a:lnTo>
                    <a:pt x="24" y="898"/>
                  </a:lnTo>
                  <a:lnTo>
                    <a:pt x="37" y="815"/>
                  </a:lnTo>
                  <a:lnTo>
                    <a:pt x="5" y="811"/>
                  </a:lnTo>
                  <a:lnTo>
                    <a:pt x="0" y="692"/>
                  </a:lnTo>
                  <a:lnTo>
                    <a:pt x="37" y="681"/>
                  </a:lnTo>
                  <a:lnTo>
                    <a:pt x="44" y="653"/>
                  </a:lnTo>
                  <a:lnTo>
                    <a:pt x="88" y="637"/>
                  </a:lnTo>
                  <a:lnTo>
                    <a:pt x="127" y="633"/>
                  </a:lnTo>
                  <a:lnTo>
                    <a:pt x="147" y="605"/>
                  </a:lnTo>
                  <a:lnTo>
                    <a:pt x="195" y="602"/>
                  </a:lnTo>
                  <a:lnTo>
                    <a:pt x="199" y="546"/>
                  </a:lnTo>
                  <a:lnTo>
                    <a:pt x="262" y="526"/>
                  </a:lnTo>
                  <a:lnTo>
                    <a:pt x="269" y="482"/>
                  </a:lnTo>
                  <a:lnTo>
                    <a:pt x="302" y="460"/>
                  </a:lnTo>
                  <a:lnTo>
                    <a:pt x="313" y="416"/>
                  </a:lnTo>
                  <a:lnTo>
                    <a:pt x="326" y="372"/>
                  </a:lnTo>
                  <a:lnTo>
                    <a:pt x="372" y="325"/>
                  </a:lnTo>
                  <a:lnTo>
                    <a:pt x="412" y="278"/>
                  </a:lnTo>
                  <a:lnTo>
                    <a:pt x="455" y="246"/>
                  </a:lnTo>
                  <a:lnTo>
                    <a:pt x="519" y="237"/>
                  </a:lnTo>
                  <a:lnTo>
                    <a:pt x="554" y="219"/>
                  </a:lnTo>
                  <a:lnTo>
                    <a:pt x="622" y="206"/>
                  </a:lnTo>
                  <a:lnTo>
                    <a:pt x="633" y="167"/>
                  </a:lnTo>
                  <a:lnTo>
                    <a:pt x="672" y="147"/>
                  </a:lnTo>
                  <a:lnTo>
                    <a:pt x="661" y="99"/>
                  </a:lnTo>
                  <a:lnTo>
                    <a:pt x="629" y="76"/>
                  </a:lnTo>
                  <a:lnTo>
                    <a:pt x="677" y="60"/>
                  </a:lnTo>
                  <a:lnTo>
                    <a:pt x="692" y="29"/>
                  </a:lnTo>
                  <a:lnTo>
                    <a:pt x="701" y="72"/>
                  </a:lnTo>
                  <a:lnTo>
                    <a:pt x="724" y="79"/>
                  </a:lnTo>
                  <a:lnTo>
                    <a:pt x="724" y="57"/>
                  </a:lnTo>
                  <a:lnTo>
                    <a:pt x="747" y="57"/>
                  </a:lnTo>
                  <a:lnTo>
                    <a:pt x="756" y="76"/>
                  </a:lnTo>
                  <a:lnTo>
                    <a:pt x="788" y="84"/>
                  </a:lnTo>
                  <a:lnTo>
                    <a:pt x="803" y="48"/>
                  </a:lnTo>
                  <a:lnTo>
                    <a:pt x="779" y="33"/>
                  </a:lnTo>
                  <a:lnTo>
                    <a:pt x="819" y="9"/>
                  </a:lnTo>
                  <a:lnTo>
                    <a:pt x="858" y="40"/>
                  </a:lnTo>
                  <a:lnTo>
                    <a:pt x="882" y="0"/>
                  </a:lnTo>
                  <a:lnTo>
                    <a:pt x="894" y="44"/>
                  </a:lnTo>
                  <a:lnTo>
                    <a:pt x="933" y="48"/>
                  </a:lnTo>
                  <a:lnTo>
                    <a:pt x="977" y="16"/>
                  </a:lnTo>
                  <a:lnTo>
                    <a:pt x="1029" y="48"/>
                  </a:lnTo>
                  <a:lnTo>
                    <a:pt x="1020" y="84"/>
                  </a:lnTo>
                  <a:lnTo>
                    <a:pt x="1112" y="116"/>
                  </a:lnTo>
                  <a:lnTo>
                    <a:pt x="1055" y="152"/>
                  </a:lnTo>
                  <a:lnTo>
                    <a:pt x="1004" y="207"/>
                  </a:lnTo>
                  <a:lnTo>
                    <a:pt x="983" y="256"/>
                  </a:lnTo>
                  <a:lnTo>
                    <a:pt x="933" y="210"/>
                  </a:lnTo>
                  <a:lnTo>
                    <a:pt x="961" y="136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3" name="Freeform 252"/>
            <p:cNvSpPr>
              <a:spLocks noChangeAspect="1"/>
            </p:cNvSpPr>
            <p:nvPr/>
          </p:nvSpPr>
          <p:spPr bwMode="auto">
            <a:xfrm>
              <a:off x="620242" y="2727028"/>
              <a:ext cx="312965" cy="331919"/>
            </a:xfrm>
            <a:custGeom>
              <a:avLst/>
              <a:gdLst/>
              <a:ahLst/>
              <a:cxnLst>
                <a:cxn ang="0">
                  <a:pos x="280" y="10"/>
                </a:cxn>
                <a:cxn ang="0">
                  <a:pos x="269" y="49"/>
                </a:cxn>
                <a:cxn ang="0">
                  <a:pos x="245" y="69"/>
                </a:cxn>
                <a:cxn ang="0">
                  <a:pos x="237" y="93"/>
                </a:cxn>
                <a:cxn ang="0">
                  <a:pos x="201" y="89"/>
                </a:cxn>
                <a:cxn ang="0">
                  <a:pos x="194" y="117"/>
                </a:cxn>
                <a:cxn ang="0">
                  <a:pos x="158" y="121"/>
                </a:cxn>
                <a:cxn ang="0">
                  <a:pos x="135" y="92"/>
                </a:cxn>
                <a:cxn ang="0">
                  <a:pos x="111" y="101"/>
                </a:cxn>
                <a:cxn ang="0">
                  <a:pos x="122" y="123"/>
                </a:cxn>
                <a:cxn ang="0">
                  <a:pos x="114" y="152"/>
                </a:cxn>
                <a:cxn ang="0">
                  <a:pos x="74" y="156"/>
                </a:cxn>
                <a:cxn ang="0">
                  <a:pos x="55" y="168"/>
                </a:cxn>
                <a:cxn ang="0">
                  <a:pos x="47" y="172"/>
                </a:cxn>
                <a:cxn ang="0">
                  <a:pos x="3" y="180"/>
                </a:cxn>
                <a:cxn ang="0">
                  <a:pos x="3" y="191"/>
                </a:cxn>
                <a:cxn ang="0">
                  <a:pos x="0" y="211"/>
                </a:cxn>
                <a:cxn ang="0">
                  <a:pos x="58" y="239"/>
                </a:cxn>
                <a:cxn ang="0">
                  <a:pos x="83" y="251"/>
                </a:cxn>
                <a:cxn ang="0">
                  <a:pos x="111" y="283"/>
                </a:cxn>
                <a:cxn ang="0">
                  <a:pos x="126" y="325"/>
                </a:cxn>
                <a:cxn ang="0">
                  <a:pos x="153" y="353"/>
                </a:cxn>
                <a:cxn ang="0">
                  <a:pos x="131" y="365"/>
                </a:cxn>
                <a:cxn ang="0">
                  <a:pos x="114" y="480"/>
                </a:cxn>
                <a:cxn ang="0">
                  <a:pos x="98" y="507"/>
                </a:cxn>
                <a:cxn ang="0">
                  <a:pos x="158" y="527"/>
                </a:cxn>
                <a:cxn ang="0">
                  <a:pos x="221" y="531"/>
                </a:cxn>
                <a:cxn ang="0">
                  <a:pos x="253" y="559"/>
                </a:cxn>
                <a:cxn ang="0">
                  <a:pos x="339" y="555"/>
                </a:cxn>
                <a:cxn ang="0">
                  <a:pos x="332" y="524"/>
                </a:cxn>
                <a:cxn ang="0">
                  <a:pos x="348" y="487"/>
                </a:cxn>
                <a:cxn ang="0">
                  <a:pos x="383" y="483"/>
                </a:cxn>
                <a:cxn ang="0">
                  <a:pos x="422" y="483"/>
                </a:cxn>
                <a:cxn ang="0">
                  <a:pos x="450" y="505"/>
                </a:cxn>
                <a:cxn ang="0">
                  <a:pos x="486" y="515"/>
                </a:cxn>
                <a:cxn ang="0">
                  <a:pos x="511" y="470"/>
                </a:cxn>
                <a:cxn ang="0">
                  <a:pos x="511" y="438"/>
                </a:cxn>
                <a:cxn ang="0">
                  <a:pos x="476" y="423"/>
                </a:cxn>
                <a:cxn ang="0">
                  <a:pos x="472" y="379"/>
                </a:cxn>
                <a:cxn ang="0">
                  <a:pos x="492" y="352"/>
                </a:cxn>
                <a:cxn ang="0">
                  <a:pos x="491" y="318"/>
                </a:cxn>
                <a:cxn ang="0">
                  <a:pos x="467" y="298"/>
                </a:cxn>
                <a:cxn ang="0">
                  <a:pos x="475" y="266"/>
                </a:cxn>
                <a:cxn ang="0">
                  <a:pos x="495" y="239"/>
                </a:cxn>
                <a:cxn ang="0">
                  <a:pos x="524" y="230"/>
                </a:cxn>
                <a:cxn ang="0">
                  <a:pos x="515" y="162"/>
                </a:cxn>
                <a:cxn ang="0">
                  <a:pos x="535" y="138"/>
                </a:cxn>
                <a:cxn ang="0">
                  <a:pos x="492" y="103"/>
                </a:cxn>
                <a:cxn ang="0">
                  <a:pos x="430" y="107"/>
                </a:cxn>
                <a:cxn ang="0">
                  <a:pos x="377" y="87"/>
                </a:cxn>
                <a:cxn ang="0">
                  <a:pos x="358" y="48"/>
                </a:cxn>
                <a:cxn ang="0">
                  <a:pos x="322" y="28"/>
                </a:cxn>
                <a:cxn ang="0">
                  <a:pos x="325" y="0"/>
                </a:cxn>
                <a:cxn ang="0">
                  <a:pos x="280" y="10"/>
                </a:cxn>
              </a:cxnLst>
              <a:rect l="0" t="0" r="r" b="b"/>
              <a:pathLst>
                <a:path w="535" h="559">
                  <a:moveTo>
                    <a:pt x="280" y="10"/>
                  </a:moveTo>
                  <a:lnTo>
                    <a:pt x="269" y="49"/>
                  </a:lnTo>
                  <a:lnTo>
                    <a:pt x="245" y="69"/>
                  </a:lnTo>
                  <a:lnTo>
                    <a:pt x="237" y="93"/>
                  </a:lnTo>
                  <a:lnTo>
                    <a:pt x="201" y="89"/>
                  </a:lnTo>
                  <a:lnTo>
                    <a:pt x="194" y="117"/>
                  </a:lnTo>
                  <a:lnTo>
                    <a:pt x="158" y="121"/>
                  </a:lnTo>
                  <a:lnTo>
                    <a:pt x="135" y="92"/>
                  </a:lnTo>
                  <a:lnTo>
                    <a:pt x="111" y="101"/>
                  </a:lnTo>
                  <a:lnTo>
                    <a:pt x="122" y="123"/>
                  </a:lnTo>
                  <a:lnTo>
                    <a:pt x="114" y="152"/>
                  </a:lnTo>
                  <a:lnTo>
                    <a:pt x="74" y="156"/>
                  </a:lnTo>
                  <a:lnTo>
                    <a:pt x="55" y="168"/>
                  </a:lnTo>
                  <a:lnTo>
                    <a:pt x="47" y="172"/>
                  </a:lnTo>
                  <a:lnTo>
                    <a:pt x="3" y="180"/>
                  </a:lnTo>
                  <a:lnTo>
                    <a:pt x="3" y="191"/>
                  </a:lnTo>
                  <a:lnTo>
                    <a:pt x="0" y="211"/>
                  </a:lnTo>
                  <a:lnTo>
                    <a:pt x="58" y="239"/>
                  </a:lnTo>
                  <a:lnTo>
                    <a:pt x="83" y="251"/>
                  </a:lnTo>
                  <a:lnTo>
                    <a:pt x="111" y="283"/>
                  </a:lnTo>
                  <a:lnTo>
                    <a:pt x="126" y="325"/>
                  </a:lnTo>
                  <a:lnTo>
                    <a:pt x="153" y="353"/>
                  </a:lnTo>
                  <a:lnTo>
                    <a:pt x="131" y="365"/>
                  </a:lnTo>
                  <a:lnTo>
                    <a:pt x="114" y="480"/>
                  </a:lnTo>
                  <a:lnTo>
                    <a:pt x="98" y="507"/>
                  </a:lnTo>
                  <a:lnTo>
                    <a:pt x="158" y="527"/>
                  </a:lnTo>
                  <a:lnTo>
                    <a:pt x="221" y="531"/>
                  </a:lnTo>
                  <a:lnTo>
                    <a:pt x="253" y="559"/>
                  </a:lnTo>
                  <a:lnTo>
                    <a:pt x="339" y="555"/>
                  </a:lnTo>
                  <a:lnTo>
                    <a:pt x="332" y="524"/>
                  </a:lnTo>
                  <a:lnTo>
                    <a:pt x="348" y="487"/>
                  </a:lnTo>
                  <a:lnTo>
                    <a:pt x="383" y="483"/>
                  </a:lnTo>
                  <a:lnTo>
                    <a:pt x="422" y="483"/>
                  </a:lnTo>
                  <a:lnTo>
                    <a:pt x="450" y="505"/>
                  </a:lnTo>
                  <a:lnTo>
                    <a:pt x="486" y="515"/>
                  </a:lnTo>
                  <a:lnTo>
                    <a:pt x="511" y="470"/>
                  </a:lnTo>
                  <a:lnTo>
                    <a:pt x="511" y="438"/>
                  </a:lnTo>
                  <a:lnTo>
                    <a:pt x="476" y="423"/>
                  </a:lnTo>
                  <a:lnTo>
                    <a:pt x="472" y="379"/>
                  </a:lnTo>
                  <a:lnTo>
                    <a:pt x="492" y="352"/>
                  </a:lnTo>
                  <a:lnTo>
                    <a:pt x="491" y="318"/>
                  </a:lnTo>
                  <a:lnTo>
                    <a:pt x="467" y="298"/>
                  </a:lnTo>
                  <a:lnTo>
                    <a:pt x="475" y="266"/>
                  </a:lnTo>
                  <a:lnTo>
                    <a:pt x="495" y="239"/>
                  </a:lnTo>
                  <a:lnTo>
                    <a:pt x="524" y="230"/>
                  </a:lnTo>
                  <a:lnTo>
                    <a:pt x="515" y="162"/>
                  </a:lnTo>
                  <a:lnTo>
                    <a:pt x="535" y="138"/>
                  </a:lnTo>
                  <a:lnTo>
                    <a:pt x="492" y="103"/>
                  </a:lnTo>
                  <a:lnTo>
                    <a:pt x="430" y="107"/>
                  </a:lnTo>
                  <a:lnTo>
                    <a:pt x="377" y="87"/>
                  </a:lnTo>
                  <a:lnTo>
                    <a:pt x="358" y="48"/>
                  </a:lnTo>
                  <a:lnTo>
                    <a:pt x="322" y="28"/>
                  </a:lnTo>
                  <a:lnTo>
                    <a:pt x="325" y="0"/>
                  </a:lnTo>
                  <a:lnTo>
                    <a:pt x="280" y="1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4" name="Freeform 253"/>
            <p:cNvSpPr>
              <a:spLocks noChangeAspect="1"/>
            </p:cNvSpPr>
            <p:nvPr/>
          </p:nvSpPr>
          <p:spPr bwMode="auto">
            <a:xfrm>
              <a:off x="896284" y="2885000"/>
              <a:ext cx="319998" cy="317719"/>
            </a:xfrm>
            <a:custGeom>
              <a:avLst/>
              <a:gdLst/>
              <a:ahLst/>
              <a:cxnLst>
                <a:cxn ang="0">
                  <a:pos x="39" y="205"/>
                </a:cxn>
                <a:cxn ang="0">
                  <a:pos x="39" y="173"/>
                </a:cxn>
                <a:cxn ang="0">
                  <a:pos x="4" y="158"/>
                </a:cxn>
                <a:cxn ang="0">
                  <a:pos x="0" y="114"/>
                </a:cxn>
                <a:cxn ang="0">
                  <a:pos x="20" y="87"/>
                </a:cxn>
                <a:cxn ang="0">
                  <a:pos x="19" y="53"/>
                </a:cxn>
                <a:cxn ang="0">
                  <a:pos x="64" y="50"/>
                </a:cxn>
                <a:cxn ang="0">
                  <a:pos x="82" y="33"/>
                </a:cxn>
                <a:cxn ang="0">
                  <a:pos x="98" y="54"/>
                </a:cxn>
                <a:cxn ang="0">
                  <a:pos x="112" y="36"/>
                </a:cxn>
                <a:cxn ang="0">
                  <a:pos x="130" y="44"/>
                </a:cxn>
                <a:cxn ang="0">
                  <a:pos x="146" y="8"/>
                </a:cxn>
                <a:cxn ang="0">
                  <a:pos x="166" y="19"/>
                </a:cxn>
                <a:cxn ang="0">
                  <a:pos x="214" y="19"/>
                </a:cxn>
                <a:cxn ang="0">
                  <a:pos x="253" y="0"/>
                </a:cxn>
                <a:cxn ang="0">
                  <a:pos x="280" y="30"/>
                </a:cxn>
                <a:cxn ang="0">
                  <a:pos x="292" y="65"/>
                </a:cxn>
                <a:cxn ang="0">
                  <a:pos x="266" y="87"/>
                </a:cxn>
                <a:cxn ang="0">
                  <a:pos x="253" y="128"/>
                </a:cxn>
                <a:cxn ang="0">
                  <a:pos x="256" y="159"/>
                </a:cxn>
                <a:cxn ang="0">
                  <a:pos x="276" y="172"/>
                </a:cxn>
                <a:cxn ang="0">
                  <a:pos x="303" y="218"/>
                </a:cxn>
                <a:cxn ang="0">
                  <a:pos x="335" y="266"/>
                </a:cxn>
                <a:cxn ang="0">
                  <a:pos x="391" y="320"/>
                </a:cxn>
                <a:cxn ang="0">
                  <a:pos x="421" y="321"/>
                </a:cxn>
                <a:cxn ang="0">
                  <a:pos x="442" y="314"/>
                </a:cxn>
                <a:cxn ang="0">
                  <a:pos x="446" y="334"/>
                </a:cxn>
                <a:cxn ang="0">
                  <a:pos x="462" y="352"/>
                </a:cxn>
                <a:cxn ang="0">
                  <a:pos x="475" y="374"/>
                </a:cxn>
                <a:cxn ang="0">
                  <a:pos x="496" y="391"/>
                </a:cxn>
                <a:cxn ang="0">
                  <a:pos x="519" y="411"/>
                </a:cxn>
                <a:cxn ang="0">
                  <a:pos x="544" y="441"/>
                </a:cxn>
                <a:cxn ang="0">
                  <a:pos x="525" y="452"/>
                </a:cxn>
                <a:cxn ang="0">
                  <a:pos x="489" y="426"/>
                </a:cxn>
                <a:cxn ang="0">
                  <a:pos x="459" y="437"/>
                </a:cxn>
                <a:cxn ang="0">
                  <a:pos x="454" y="458"/>
                </a:cxn>
                <a:cxn ang="0">
                  <a:pos x="469" y="493"/>
                </a:cxn>
                <a:cxn ang="0">
                  <a:pos x="454" y="511"/>
                </a:cxn>
                <a:cxn ang="0">
                  <a:pos x="438" y="537"/>
                </a:cxn>
                <a:cxn ang="0">
                  <a:pos x="413" y="535"/>
                </a:cxn>
                <a:cxn ang="0">
                  <a:pos x="417" y="483"/>
                </a:cxn>
                <a:cxn ang="0">
                  <a:pos x="417" y="455"/>
                </a:cxn>
                <a:cxn ang="0">
                  <a:pos x="386" y="434"/>
                </a:cxn>
                <a:cxn ang="0">
                  <a:pos x="369" y="404"/>
                </a:cxn>
                <a:cxn ang="0">
                  <a:pos x="342" y="401"/>
                </a:cxn>
                <a:cxn ang="0">
                  <a:pos x="344" y="373"/>
                </a:cxn>
                <a:cxn ang="0">
                  <a:pos x="279" y="352"/>
                </a:cxn>
                <a:cxn ang="0">
                  <a:pos x="235" y="314"/>
                </a:cxn>
                <a:cxn ang="0">
                  <a:pos x="211" y="296"/>
                </a:cxn>
                <a:cxn ang="0">
                  <a:pos x="184" y="274"/>
                </a:cxn>
                <a:cxn ang="0">
                  <a:pos x="170" y="218"/>
                </a:cxn>
                <a:cxn ang="0">
                  <a:pos x="156" y="187"/>
                </a:cxn>
                <a:cxn ang="0">
                  <a:pos x="104" y="177"/>
                </a:cxn>
                <a:cxn ang="0">
                  <a:pos x="93" y="203"/>
                </a:cxn>
                <a:cxn ang="0">
                  <a:pos x="39" y="205"/>
                </a:cxn>
              </a:cxnLst>
              <a:rect l="0" t="0" r="r" b="b"/>
              <a:pathLst>
                <a:path w="544" h="537">
                  <a:moveTo>
                    <a:pt x="39" y="205"/>
                  </a:moveTo>
                  <a:lnTo>
                    <a:pt x="39" y="173"/>
                  </a:lnTo>
                  <a:lnTo>
                    <a:pt x="4" y="158"/>
                  </a:lnTo>
                  <a:lnTo>
                    <a:pt x="0" y="114"/>
                  </a:lnTo>
                  <a:lnTo>
                    <a:pt x="20" y="87"/>
                  </a:lnTo>
                  <a:lnTo>
                    <a:pt x="19" y="53"/>
                  </a:lnTo>
                  <a:lnTo>
                    <a:pt x="64" y="50"/>
                  </a:lnTo>
                  <a:lnTo>
                    <a:pt x="82" y="33"/>
                  </a:lnTo>
                  <a:lnTo>
                    <a:pt x="98" y="54"/>
                  </a:lnTo>
                  <a:lnTo>
                    <a:pt x="112" y="36"/>
                  </a:lnTo>
                  <a:lnTo>
                    <a:pt x="130" y="44"/>
                  </a:lnTo>
                  <a:lnTo>
                    <a:pt x="146" y="8"/>
                  </a:lnTo>
                  <a:lnTo>
                    <a:pt x="166" y="19"/>
                  </a:lnTo>
                  <a:lnTo>
                    <a:pt x="214" y="19"/>
                  </a:lnTo>
                  <a:lnTo>
                    <a:pt x="253" y="0"/>
                  </a:lnTo>
                  <a:lnTo>
                    <a:pt x="280" y="30"/>
                  </a:lnTo>
                  <a:lnTo>
                    <a:pt x="292" y="65"/>
                  </a:lnTo>
                  <a:lnTo>
                    <a:pt x="266" y="87"/>
                  </a:lnTo>
                  <a:lnTo>
                    <a:pt x="253" y="128"/>
                  </a:lnTo>
                  <a:lnTo>
                    <a:pt x="256" y="159"/>
                  </a:lnTo>
                  <a:lnTo>
                    <a:pt x="276" y="172"/>
                  </a:lnTo>
                  <a:lnTo>
                    <a:pt x="303" y="218"/>
                  </a:lnTo>
                  <a:lnTo>
                    <a:pt x="335" y="266"/>
                  </a:lnTo>
                  <a:lnTo>
                    <a:pt x="391" y="320"/>
                  </a:lnTo>
                  <a:lnTo>
                    <a:pt x="421" y="321"/>
                  </a:lnTo>
                  <a:lnTo>
                    <a:pt x="442" y="314"/>
                  </a:lnTo>
                  <a:lnTo>
                    <a:pt x="446" y="334"/>
                  </a:lnTo>
                  <a:lnTo>
                    <a:pt x="462" y="352"/>
                  </a:lnTo>
                  <a:lnTo>
                    <a:pt x="475" y="374"/>
                  </a:lnTo>
                  <a:lnTo>
                    <a:pt x="496" y="391"/>
                  </a:lnTo>
                  <a:lnTo>
                    <a:pt x="519" y="411"/>
                  </a:lnTo>
                  <a:lnTo>
                    <a:pt x="544" y="441"/>
                  </a:lnTo>
                  <a:lnTo>
                    <a:pt x="525" y="452"/>
                  </a:lnTo>
                  <a:lnTo>
                    <a:pt x="489" y="426"/>
                  </a:lnTo>
                  <a:lnTo>
                    <a:pt x="459" y="437"/>
                  </a:lnTo>
                  <a:lnTo>
                    <a:pt x="454" y="458"/>
                  </a:lnTo>
                  <a:lnTo>
                    <a:pt x="469" y="493"/>
                  </a:lnTo>
                  <a:lnTo>
                    <a:pt x="454" y="511"/>
                  </a:lnTo>
                  <a:lnTo>
                    <a:pt x="438" y="537"/>
                  </a:lnTo>
                  <a:lnTo>
                    <a:pt x="413" y="535"/>
                  </a:lnTo>
                  <a:lnTo>
                    <a:pt x="417" y="483"/>
                  </a:lnTo>
                  <a:lnTo>
                    <a:pt x="417" y="455"/>
                  </a:lnTo>
                  <a:lnTo>
                    <a:pt x="386" y="434"/>
                  </a:lnTo>
                  <a:lnTo>
                    <a:pt x="369" y="404"/>
                  </a:lnTo>
                  <a:lnTo>
                    <a:pt x="342" y="401"/>
                  </a:lnTo>
                  <a:lnTo>
                    <a:pt x="344" y="373"/>
                  </a:lnTo>
                  <a:lnTo>
                    <a:pt x="279" y="352"/>
                  </a:lnTo>
                  <a:lnTo>
                    <a:pt x="235" y="314"/>
                  </a:lnTo>
                  <a:lnTo>
                    <a:pt x="211" y="296"/>
                  </a:lnTo>
                  <a:lnTo>
                    <a:pt x="184" y="274"/>
                  </a:lnTo>
                  <a:lnTo>
                    <a:pt x="170" y="218"/>
                  </a:lnTo>
                  <a:lnTo>
                    <a:pt x="156" y="187"/>
                  </a:lnTo>
                  <a:lnTo>
                    <a:pt x="104" y="177"/>
                  </a:lnTo>
                  <a:lnTo>
                    <a:pt x="93" y="203"/>
                  </a:lnTo>
                  <a:lnTo>
                    <a:pt x="39" y="20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5" name="Freeform 254"/>
            <p:cNvSpPr>
              <a:spLocks noChangeAspect="1"/>
            </p:cNvSpPr>
            <p:nvPr/>
          </p:nvSpPr>
          <p:spPr bwMode="auto">
            <a:xfrm>
              <a:off x="497165" y="3009247"/>
              <a:ext cx="321758" cy="259145"/>
            </a:xfrm>
            <a:custGeom>
              <a:avLst/>
              <a:gdLst/>
              <a:ahLst/>
              <a:cxnLst>
                <a:cxn ang="0">
                  <a:pos x="548" y="79"/>
                </a:cxn>
                <a:cxn ang="0">
                  <a:pos x="462" y="83"/>
                </a:cxn>
                <a:cxn ang="0">
                  <a:pos x="430" y="55"/>
                </a:cxn>
                <a:cxn ang="0">
                  <a:pos x="367" y="51"/>
                </a:cxn>
                <a:cxn ang="0">
                  <a:pos x="307" y="31"/>
                </a:cxn>
                <a:cxn ang="0">
                  <a:pos x="241" y="7"/>
                </a:cxn>
                <a:cxn ang="0">
                  <a:pos x="200" y="20"/>
                </a:cxn>
                <a:cxn ang="0">
                  <a:pos x="169" y="0"/>
                </a:cxn>
                <a:cxn ang="0">
                  <a:pos x="15" y="4"/>
                </a:cxn>
                <a:cxn ang="0">
                  <a:pos x="23" y="28"/>
                </a:cxn>
                <a:cxn ang="0">
                  <a:pos x="0" y="35"/>
                </a:cxn>
                <a:cxn ang="0">
                  <a:pos x="3" y="72"/>
                </a:cxn>
                <a:cxn ang="0">
                  <a:pos x="27" y="95"/>
                </a:cxn>
                <a:cxn ang="0">
                  <a:pos x="35" y="127"/>
                </a:cxn>
                <a:cxn ang="0">
                  <a:pos x="79" y="123"/>
                </a:cxn>
                <a:cxn ang="0">
                  <a:pos x="110" y="110"/>
                </a:cxn>
                <a:cxn ang="0">
                  <a:pos x="121" y="127"/>
                </a:cxn>
                <a:cxn ang="0">
                  <a:pos x="114" y="142"/>
                </a:cxn>
                <a:cxn ang="0">
                  <a:pos x="102" y="158"/>
                </a:cxn>
                <a:cxn ang="0">
                  <a:pos x="86" y="245"/>
                </a:cxn>
                <a:cxn ang="0">
                  <a:pos x="66" y="265"/>
                </a:cxn>
                <a:cxn ang="0">
                  <a:pos x="90" y="285"/>
                </a:cxn>
                <a:cxn ang="0">
                  <a:pos x="94" y="352"/>
                </a:cxn>
                <a:cxn ang="0">
                  <a:pos x="99" y="383"/>
                </a:cxn>
                <a:cxn ang="0">
                  <a:pos x="126" y="387"/>
                </a:cxn>
                <a:cxn ang="0">
                  <a:pos x="126" y="419"/>
                </a:cxn>
                <a:cxn ang="0">
                  <a:pos x="158" y="438"/>
                </a:cxn>
                <a:cxn ang="0">
                  <a:pos x="189" y="431"/>
                </a:cxn>
                <a:cxn ang="0">
                  <a:pos x="209" y="416"/>
                </a:cxn>
                <a:cxn ang="0">
                  <a:pos x="320" y="419"/>
                </a:cxn>
                <a:cxn ang="0">
                  <a:pos x="344" y="399"/>
                </a:cxn>
                <a:cxn ang="0">
                  <a:pos x="344" y="372"/>
                </a:cxn>
                <a:cxn ang="0">
                  <a:pos x="375" y="352"/>
                </a:cxn>
                <a:cxn ang="0">
                  <a:pos x="399" y="324"/>
                </a:cxn>
                <a:cxn ang="0">
                  <a:pos x="406" y="293"/>
                </a:cxn>
                <a:cxn ang="0">
                  <a:pos x="375" y="252"/>
                </a:cxn>
                <a:cxn ang="0">
                  <a:pos x="399" y="225"/>
                </a:cxn>
                <a:cxn ang="0">
                  <a:pos x="418" y="193"/>
                </a:cxn>
                <a:cxn ang="0">
                  <a:pos x="454" y="186"/>
                </a:cxn>
                <a:cxn ang="0">
                  <a:pos x="489" y="138"/>
                </a:cxn>
                <a:cxn ang="0">
                  <a:pos x="513" y="114"/>
                </a:cxn>
                <a:cxn ang="0">
                  <a:pos x="548" y="79"/>
                </a:cxn>
              </a:cxnLst>
              <a:rect l="0" t="0" r="r" b="b"/>
              <a:pathLst>
                <a:path w="548" h="438">
                  <a:moveTo>
                    <a:pt x="548" y="79"/>
                  </a:moveTo>
                  <a:lnTo>
                    <a:pt x="462" y="83"/>
                  </a:lnTo>
                  <a:lnTo>
                    <a:pt x="430" y="55"/>
                  </a:lnTo>
                  <a:lnTo>
                    <a:pt x="367" y="51"/>
                  </a:lnTo>
                  <a:lnTo>
                    <a:pt x="307" y="31"/>
                  </a:lnTo>
                  <a:lnTo>
                    <a:pt x="241" y="7"/>
                  </a:lnTo>
                  <a:lnTo>
                    <a:pt x="200" y="20"/>
                  </a:lnTo>
                  <a:lnTo>
                    <a:pt x="169" y="0"/>
                  </a:lnTo>
                  <a:lnTo>
                    <a:pt x="15" y="4"/>
                  </a:lnTo>
                  <a:lnTo>
                    <a:pt x="23" y="28"/>
                  </a:lnTo>
                  <a:lnTo>
                    <a:pt x="0" y="35"/>
                  </a:lnTo>
                  <a:lnTo>
                    <a:pt x="3" y="72"/>
                  </a:lnTo>
                  <a:lnTo>
                    <a:pt x="27" y="95"/>
                  </a:lnTo>
                  <a:lnTo>
                    <a:pt x="35" y="127"/>
                  </a:lnTo>
                  <a:lnTo>
                    <a:pt x="79" y="123"/>
                  </a:lnTo>
                  <a:lnTo>
                    <a:pt x="110" y="110"/>
                  </a:lnTo>
                  <a:lnTo>
                    <a:pt x="121" y="127"/>
                  </a:lnTo>
                  <a:lnTo>
                    <a:pt x="114" y="142"/>
                  </a:lnTo>
                  <a:lnTo>
                    <a:pt x="102" y="158"/>
                  </a:lnTo>
                  <a:lnTo>
                    <a:pt x="86" y="245"/>
                  </a:lnTo>
                  <a:lnTo>
                    <a:pt x="66" y="265"/>
                  </a:lnTo>
                  <a:lnTo>
                    <a:pt x="90" y="285"/>
                  </a:lnTo>
                  <a:lnTo>
                    <a:pt x="94" y="352"/>
                  </a:lnTo>
                  <a:lnTo>
                    <a:pt x="99" y="383"/>
                  </a:lnTo>
                  <a:lnTo>
                    <a:pt x="126" y="387"/>
                  </a:lnTo>
                  <a:lnTo>
                    <a:pt x="126" y="419"/>
                  </a:lnTo>
                  <a:lnTo>
                    <a:pt x="158" y="438"/>
                  </a:lnTo>
                  <a:lnTo>
                    <a:pt x="189" y="431"/>
                  </a:lnTo>
                  <a:lnTo>
                    <a:pt x="209" y="416"/>
                  </a:lnTo>
                  <a:lnTo>
                    <a:pt x="320" y="419"/>
                  </a:lnTo>
                  <a:lnTo>
                    <a:pt x="344" y="399"/>
                  </a:lnTo>
                  <a:lnTo>
                    <a:pt x="344" y="372"/>
                  </a:lnTo>
                  <a:lnTo>
                    <a:pt x="375" y="352"/>
                  </a:lnTo>
                  <a:lnTo>
                    <a:pt x="399" y="324"/>
                  </a:lnTo>
                  <a:lnTo>
                    <a:pt x="406" y="293"/>
                  </a:lnTo>
                  <a:lnTo>
                    <a:pt x="375" y="252"/>
                  </a:lnTo>
                  <a:lnTo>
                    <a:pt x="399" y="225"/>
                  </a:lnTo>
                  <a:lnTo>
                    <a:pt x="418" y="193"/>
                  </a:lnTo>
                  <a:lnTo>
                    <a:pt x="454" y="186"/>
                  </a:lnTo>
                  <a:lnTo>
                    <a:pt x="489" y="138"/>
                  </a:lnTo>
                  <a:lnTo>
                    <a:pt x="513" y="114"/>
                  </a:lnTo>
                  <a:lnTo>
                    <a:pt x="548" y="7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6" name="Freeform 255"/>
            <p:cNvSpPr>
              <a:spLocks noChangeAspect="1"/>
            </p:cNvSpPr>
            <p:nvPr/>
          </p:nvSpPr>
          <p:spPr bwMode="auto">
            <a:xfrm>
              <a:off x="476067" y="3066046"/>
              <a:ext cx="93186" cy="175722"/>
            </a:xfrm>
            <a:custGeom>
              <a:avLst/>
              <a:gdLst/>
              <a:ahLst/>
              <a:cxnLst>
                <a:cxn ang="0">
                  <a:pos x="130" y="257"/>
                </a:cxn>
                <a:cxn ang="0">
                  <a:pos x="126" y="190"/>
                </a:cxn>
                <a:cxn ang="0">
                  <a:pos x="102" y="170"/>
                </a:cxn>
                <a:cxn ang="0">
                  <a:pos x="122" y="150"/>
                </a:cxn>
                <a:cxn ang="0">
                  <a:pos x="138" y="63"/>
                </a:cxn>
                <a:cxn ang="0">
                  <a:pos x="150" y="47"/>
                </a:cxn>
                <a:cxn ang="0">
                  <a:pos x="157" y="32"/>
                </a:cxn>
                <a:cxn ang="0">
                  <a:pos x="146" y="15"/>
                </a:cxn>
                <a:cxn ang="0">
                  <a:pos x="115" y="28"/>
                </a:cxn>
                <a:cxn ang="0">
                  <a:pos x="71" y="32"/>
                </a:cxn>
                <a:cxn ang="0">
                  <a:pos x="63" y="0"/>
                </a:cxn>
                <a:cxn ang="0">
                  <a:pos x="43" y="39"/>
                </a:cxn>
                <a:cxn ang="0">
                  <a:pos x="43" y="87"/>
                </a:cxn>
                <a:cxn ang="0">
                  <a:pos x="51" y="107"/>
                </a:cxn>
                <a:cxn ang="0">
                  <a:pos x="32" y="139"/>
                </a:cxn>
                <a:cxn ang="0">
                  <a:pos x="4" y="157"/>
                </a:cxn>
                <a:cxn ang="0">
                  <a:pos x="0" y="205"/>
                </a:cxn>
                <a:cxn ang="0">
                  <a:pos x="32" y="221"/>
                </a:cxn>
                <a:cxn ang="0">
                  <a:pos x="36" y="253"/>
                </a:cxn>
                <a:cxn ang="0">
                  <a:pos x="39" y="284"/>
                </a:cxn>
                <a:cxn ang="0">
                  <a:pos x="71" y="297"/>
                </a:cxn>
                <a:cxn ang="0">
                  <a:pos x="107" y="297"/>
                </a:cxn>
                <a:cxn ang="0">
                  <a:pos x="130" y="257"/>
                </a:cxn>
              </a:cxnLst>
              <a:rect l="0" t="0" r="r" b="b"/>
              <a:pathLst>
                <a:path w="157" h="297">
                  <a:moveTo>
                    <a:pt x="130" y="257"/>
                  </a:moveTo>
                  <a:lnTo>
                    <a:pt x="126" y="190"/>
                  </a:lnTo>
                  <a:lnTo>
                    <a:pt x="102" y="170"/>
                  </a:lnTo>
                  <a:lnTo>
                    <a:pt x="122" y="150"/>
                  </a:lnTo>
                  <a:lnTo>
                    <a:pt x="138" y="63"/>
                  </a:lnTo>
                  <a:lnTo>
                    <a:pt x="150" y="47"/>
                  </a:lnTo>
                  <a:lnTo>
                    <a:pt x="157" y="32"/>
                  </a:lnTo>
                  <a:lnTo>
                    <a:pt x="146" y="15"/>
                  </a:lnTo>
                  <a:lnTo>
                    <a:pt x="115" y="28"/>
                  </a:lnTo>
                  <a:lnTo>
                    <a:pt x="71" y="32"/>
                  </a:lnTo>
                  <a:lnTo>
                    <a:pt x="63" y="0"/>
                  </a:lnTo>
                  <a:lnTo>
                    <a:pt x="43" y="39"/>
                  </a:lnTo>
                  <a:lnTo>
                    <a:pt x="43" y="87"/>
                  </a:lnTo>
                  <a:lnTo>
                    <a:pt x="51" y="107"/>
                  </a:lnTo>
                  <a:lnTo>
                    <a:pt x="32" y="139"/>
                  </a:lnTo>
                  <a:lnTo>
                    <a:pt x="4" y="157"/>
                  </a:lnTo>
                  <a:lnTo>
                    <a:pt x="0" y="205"/>
                  </a:lnTo>
                  <a:lnTo>
                    <a:pt x="32" y="221"/>
                  </a:lnTo>
                  <a:lnTo>
                    <a:pt x="36" y="253"/>
                  </a:lnTo>
                  <a:lnTo>
                    <a:pt x="39" y="284"/>
                  </a:lnTo>
                  <a:lnTo>
                    <a:pt x="71" y="297"/>
                  </a:lnTo>
                  <a:lnTo>
                    <a:pt x="107" y="297"/>
                  </a:lnTo>
                  <a:lnTo>
                    <a:pt x="130" y="257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7" name="Freeform 256"/>
            <p:cNvSpPr>
              <a:spLocks noChangeAspect="1"/>
            </p:cNvSpPr>
            <p:nvPr/>
          </p:nvSpPr>
          <p:spPr bwMode="auto">
            <a:xfrm>
              <a:off x="959581" y="3041196"/>
              <a:ext cx="22856" cy="51474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25" y="17"/>
                </a:cxn>
                <a:cxn ang="0">
                  <a:pos x="0" y="34"/>
                </a:cxn>
                <a:cxn ang="0">
                  <a:pos x="5" y="66"/>
                </a:cxn>
                <a:cxn ang="0">
                  <a:pos x="29" y="86"/>
                </a:cxn>
                <a:cxn ang="0">
                  <a:pos x="38" y="0"/>
                </a:cxn>
              </a:cxnLst>
              <a:rect l="0" t="0" r="r" b="b"/>
              <a:pathLst>
                <a:path w="38" h="86">
                  <a:moveTo>
                    <a:pt x="38" y="0"/>
                  </a:moveTo>
                  <a:lnTo>
                    <a:pt x="25" y="17"/>
                  </a:lnTo>
                  <a:lnTo>
                    <a:pt x="0" y="34"/>
                  </a:lnTo>
                  <a:lnTo>
                    <a:pt x="5" y="66"/>
                  </a:lnTo>
                  <a:lnTo>
                    <a:pt x="29" y="86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8" name="Freeform 257"/>
            <p:cNvSpPr>
              <a:spLocks noChangeAspect="1"/>
            </p:cNvSpPr>
            <p:nvPr/>
          </p:nvSpPr>
          <p:spPr bwMode="auto">
            <a:xfrm>
              <a:off x="950790" y="3108646"/>
              <a:ext cx="31648" cy="63898"/>
            </a:xfrm>
            <a:custGeom>
              <a:avLst/>
              <a:gdLst/>
              <a:ahLst/>
              <a:cxnLst>
                <a:cxn ang="0">
                  <a:pos x="3" y="12"/>
                </a:cxn>
                <a:cxn ang="0">
                  <a:pos x="13" y="10"/>
                </a:cxn>
                <a:cxn ang="0">
                  <a:pos x="36" y="4"/>
                </a:cxn>
                <a:cxn ang="0">
                  <a:pos x="49" y="0"/>
                </a:cxn>
                <a:cxn ang="0">
                  <a:pos x="55" y="17"/>
                </a:cxn>
                <a:cxn ang="0">
                  <a:pos x="56" y="43"/>
                </a:cxn>
                <a:cxn ang="0">
                  <a:pos x="54" y="68"/>
                </a:cxn>
                <a:cxn ang="0">
                  <a:pos x="47" y="101"/>
                </a:cxn>
                <a:cxn ang="0">
                  <a:pos x="25" y="107"/>
                </a:cxn>
                <a:cxn ang="0">
                  <a:pos x="8" y="99"/>
                </a:cxn>
                <a:cxn ang="0">
                  <a:pos x="7" y="73"/>
                </a:cxn>
                <a:cxn ang="0">
                  <a:pos x="6" y="47"/>
                </a:cxn>
                <a:cxn ang="0">
                  <a:pos x="0" y="25"/>
                </a:cxn>
                <a:cxn ang="0">
                  <a:pos x="3" y="12"/>
                </a:cxn>
              </a:cxnLst>
              <a:rect l="0" t="0" r="r" b="b"/>
              <a:pathLst>
                <a:path w="56" h="107">
                  <a:moveTo>
                    <a:pt x="3" y="12"/>
                  </a:moveTo>
                  <a:lnTo>
                    <a:pt x="13" y="10"/>
                  </a:lnTo>
                  <a:lnTo>
                    <a:pt x="36" y="4"/>
                  </a:lnTo>
                  <a:lnTo>
                    <a:pt x="49" y="0"/>
                  </a:lnTo>
                  <a:lnTo>
                    <a:pt x="55" y="17"/>
                  </a:lnTo>
                  <a:lnTo>
                    <a:pt x="56" y="43"/>
                  </a:lnTo>
                  <a:lnTo>
                    <a:pt x="54" y="68"/>
                  </a:lnTo>
                  <a:lnTo>
                    <a:pt x="47" y="101"/>
                  </a:lnTo>
                  <a:lnTo>
                    <a:pt x="25" y="107"/>
                  </a:lnTo>
                  <a:lnTo>
                    <a:pt x="8" y="99"/>
                  </a:lnTo>
                  <a:lnTo>
                    <a:pt x="7" y="73"/>
                  </a:lnTo>
                  <a:lnTo>
                    <a:pt x="6" y="47"/>
                  </a:lnTo>
                  <a:lnTo>
                    <a:pt x="0" y="25"/>
                  </a:lnTo>
                  <a:lnTo>
                    <a:pt x="3" y="1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29" name="Freeform 258"/>
            <p:cNvSpPr>
              <a:spLocks noChangeAspect="1"/>
            </p:cNvSpPr>
            <p:nvPr/>
          </p:nvSpPr>
          <p:spPr bwMode="auto">
            <a:xfrm>
              <a:off x="1239141" y="3080246"/>
              <a:ext cx="138900" cy="147322"/>
            </a:xfrm>
            <a:custGeom>
              <a:avLst/>
              <a:gdLst/>
              <a:ahLst/>
              <a:cxnLst>
                <a:cxn ang="0">
                  <a:pos x="107" y="181"/>
                </a:cxn>
                <a:cxn ang="0">
                  <a:pos x="52" y="171"/>
                </a:cxn>
                <a:cxn ang="0">
                  <a:pos x="46" y="142"/>
                </a:cxn>
                <a:cxn ang="0">
                  <a:pos x="4" y="102"/>
                </a:cxn>
                <a:cxn ang="0">
                  <a:pos x="0" y="69"/>
                </a:cxn>
                <a:cxn ang="0">
                  <a:pos x="42" y="33"/>
                </a:cxn>
                <a:cxn ang="0">
                  <a:pos x="42" y="33"/>
                </a:cxn>
                <a:cxn ang="0">
                  <a:pos x="76" y="44"/>
                </a:cxn>
                <a:cxn ang="0">
                  <a:pos x="118" y="9"/>
                </a:cxn>
                <a:cxn ang="0">
                  <a:pos x="143" y="9"/>
                </a:cxn>
                <a:cxn ang="0">
                  <a:pos x="182" y="20"/>
                </a:cxn>
                <a:cxn ang="0">
                  <a:pos x="213" y="0"/>
                </a:cxn>
                <a:cxn ang="0">
                  <a:pos x="235" y="2"/>
                </a:cxn>
                <a:cxn ang="0">
                  <a:pos x="235" y="38"/>
                </a:cxn>
                <a:cxn ang="0">
                  <a:pos x="209" y="45"/>
                </a:cxn>
                <a:cxn ang="0">
                  <a:pos x="194" y="59"/>
                </a:cxn>
                <a:cxn ang="0">
                  <a:pos x="177" y="74"/>
                </a:cxn>
                <a:cxn ang="0">
                  <a:pos x="187" y="97"/>
                </a:cxn>
                <a:cxn ang="0">
                  <a:pos x="159" y="104"/>
                </a:cxn>
                <a:cxn ang="0">
                  <a:pos x="142" y="94"/>
                </a:cxn>
                <a:cxn ang="0">
                  <a:pos x="126" y="97"/>
                </a:cxn>
                <a:cxn ang="0">
                  <a:pos x="145" y="116"/>
                </a:cxn>
                <a:cxn ang="0">
                  <a:pos x="121" y="142"/>
                </a:cxn>
                <a:cxn ang="0">
                  <a:pos x="150" y="156"/>
                </a:cxn>
                <a:cxn ang="0">
                  <a:pos x="194" y="184"/>
                </a:cxn>
                <a:cxn ang="0">
                  <a:pos x="204" y="205"/>
                </a:cxn>
                <a:cxn ang="0">
                  <a:pos x="186" y="201"/>
                </a:cxn>
                <a:cxn ang="0">
                  <a:pos x="145" y="217"/>
                </a:cxn>
                <a:cxn ang="0">
                  <a:pos x="160" y="245"/>
                </a:cxn>
                <a:cxn ang="0">
                  <a:pos x="81" y="249"/>
                </a:cxn>
                <a:cxn ang="0">
                  <a:pos x="81" y="217"/>
                </a:cxn>
                <a:cxn ang="0">
                  <a:pos x="53" y="205"/>
                </a:cxn>
                <a:cxn ang="0">
                  <a:pos x="81" y="191"/>
                </a:cxn>
                <a:cxn ang="0">
                  <a:pos x="101" y="190"/>
                </a:cxn>
                <a:cxn ang="0">
                  <a:pos x="107" y="181"/>
                </a:cxn>
              </a:cxnLst>
              <a:rect l="0" t="0" r="r" b="b"/>
              <a:pathLst>
                <a:path w="235" h="249">
                  <a:moveTo>
                    <a:pt x="107" y="181"/>
                  </a:moveTo>
                  <a:lnTo>
                    <a:pt x="52" y="171"/>
                  </a:lnTo>
                  <a:lnTo>
                    <a:pt x="46" y="142"/>
                  </a:lnTo>
                  <a:lnTo>
                    <a:pt x="4" y="102"/>
                  </a:lnTo>
                  <a:lnTo>
                    <a:pt x="0" y="69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76" y="44"/>
                  </a:lnTo>
                  <a:lnTo>
                    <a:pt x="118" y="9"/>
                  </a:lnTo>
                  <a:lnTo>
                    <a:pt x="143" y="9"/>
                  </a:lnTo>
                  <a:lnTo>
                    <a:pt x="182" y="20"/>
                  </a:lnTo>
                  <a:lnTo>
                    <a:pt x="213" y="0"/>
                  </a:lnTo>
                  <a:lnTo>
                    <a:pt x="235" y="2"/>
                  </a:lnTo>
                  <a:lnTo>
                    <a:pt x="235" y="38"/>
                  </a:lnTo>
                  <a:lnTo>
                    <a:pt x="209" y="45"/>
                  </a:lnTo>
                  <a:lnTo>
                    <a:pt x="194" y="59"/>
                  </a:lnTo>
                  <a:lnTo>
                    <a:pt x="177" y="74"/>
                  </a:lnTo>
                  <a:lnTo>
                    <a:pt x="187" y="97"/>
                  </a:lnTo>
                  <a:lnTo>
                    <a:pt x="159" y="104"/>
                  </a:lnTo>
                  <a:lnTo>
                    <a:pt x="142" y="94"/>
                  </a:lnTo>
                  <a:lnTo>
                    <a:pt x="126" y="97"/>
                  </a:lnTo>
                  <a:lnTo>
                    <a:pt x="145" y="116"/>
                  </a:lnTo>
                  <a:lnTo>
                    <a:pt x="121" y="142"/>
                  </a:lnTo>
                  <a:lnTo>
                    <a:pt x="150" y="156"/>
                  </a:lnTo>
                  <a:lnTo>
                    <a:pt x="194" y="184"/>
                  </a:lnTo>
                  <a:lnTo>
                    <a:pt x="204" y="205"/>
                  </a:lnTo>
                  <a:lnTo>
                    <a:pt x="186" y="201"/>
                  </a:lnTo>
                  <a:lnTo>
                    <a:pt x="145" y="217"/>
                  </a:lnTo>
                  <a:lnTo>
                    <a:pt x="160" y="245"/>
                  </a:lnTo>
                  <a:lnTo>
                    <a:pt x="81" y="249"/>
                  </a:lnTo>
                  <a:lnTo>
                    <a:pt x="81" y="217"/>
                  </a:lnTo>
                  <a:lnTo>
                    <a:pt x="53" y="205"/>
                  </a:lnTo>
                  <a:lnTo>
                    <a:pt x="81" y="191"/>
                  </a:lnTo>
                  <a:lnTo>
                    <a:pt x="101" y="190"/>
                  </a:lnTo>
                  <a:lnTo>
                    <a:pt x="107" y="18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0" name="Freeform 259"/>
            <p:cNvSpPr>
              <a:spLocks noChangeAspect="1"/>
            </p:cNvSpPr>
            <p:nvPr/>
          </p:nvSpPr>
          <p:spPr bwMode="auto">
            <a:xfrm>
              <a:off x="871669" y="2593906"/>
              <a:ext cx="225054" cy="280444"/>
            </a:xfrm>
            <a:custGeom>
              <a:avLst/>
              <a:gdLst/>
              <a:ahLst/>
              <a:cxnLst>
                <a:cxn ang="0">
                  <a:pos x="386" y="231"/>
                </a:cxn>
                <a:cxn ang="0">
                  <a:pos x="259" y="281"/>
                </a:cxn>
                <a:cxn ang="0">
                  <a:pos x="259" y="281"/>
                </a:cxn>
                <a:cxn ang="0">
                  <a:pos x="386" y="231"/>
                </a:cxn>
                <a:cxn ang="0">
                  <a:pos x="357" y="148"/>
                </a:cxn>
                <a:cxn ang="0">
                  <a:pos x="366" y="58"/>
                </a:cxn>
                <a:cxn ang="0">
                  <a:pos x="351" y="41"/>
                </a:cxn>
                <a:cxn ang="0">
                  <a:pos x="241" y="64"/>
                </a:cxn>
                <a:cxn ang="0">
                  <a:pos x="220" y="36"/>
                </a:cxn>
                <a:cxn ang="0">
                  <a:pos x="199" y="0"/>
                </a:cxn>
                <a:cxn ang="0">
                  <a:pos x="148" y="13"/>
                </a:cxn>
                <a:cxn ang="0">
                  <a:pos x="145" y="58"/>
                </a:cxn>
                <a:cxn ang="0">
                  <a:pos x="148" y="75"/>
                </a:cxn>
                <a:cxn ang="0">
                  <a:pos x="131" y="75"/>
                </a:cxn>
                <a:cxn ang="0">
                  <a:pos x="76" y="95"/>
                </a:cxn>
                <a:cxn ang="0">
                  <a:pos x="76" y="143"/>
                </a:cxn>
                <a:cxn ang="0">
                  <a:pos x="48" y="186"/>
                </a:cxn>
                <a:cxn ang="0">
                  <a:pos x="0" y="222"/>
                </a:cxn>
                <a:cxn ang="0">
                  <a:pos x="8" y="261"/>
                </a:cxn>
                <a:cxn ang="0">
                  <a:pos x="38" y="278"/>
                </a:cxn>
                <a:cxn ang="0">
                  <a:pos x="4" y="324"/>
                </a:cxn>
                <a:cxn ang="0">
                  <a:pos x="64" y="329"/>
                </a:cxn>
                <a:cxn ang="0">
                  <a:pos x="107" y="364"/>
                </a:cxn>
                <a:cxn ang="0">
                  <a:pos x="87" y="388"/>
                </a:cxn>
                <a:cxn ang="0">
                  <a:pos x="96" y="456"/>
                </a:cxn>
                <a:cxn ang="0">
                  <a:pos x="123" y="460"/>
                </a:cxn>
                <a:cxn ang="0">
                  <a:pos x="156" y="452"/>
                </a:cxn>
                <a:cxn ang="0">
                  <a:pos x="181" y="467"/>
                </a:cxn>
                <a:cxn ang="0">
                  <a:pos x="199" y="472"/>
                </a:cxn>
                <a:cxn ang="0">
                  <a:pos x="216" y="475"/>
                </a:cxn>
                <a:cxn ang="0">
                  <a:pos x="272" y="452"/>
                </a:cxn>
                <a:cxn ang="0">
                  <a:pos x="314" y="424"/>
                </a:cxn>
                <a:cxn ang="0">
                  <a:pos x="328" y="409"/>
                </a:cxn>
                <a:cxn ang="0">
                  <a:pos x="331" y="362"/>
                </a:cxn>
                <a:cxn ang="0">
                  <a:pos x="259" y="281"/>
                </a:cxn>
                <a:cxn ang="0">
                  <a:pos x="386" y="231"/>
                </a:cxn>
              </a:cxnLst>
              <a:rect l="0" t="0" r="r" b="b"/>
              <a:pathLst>
                <a:path w="386" h="475">
                  <a:moveTo>
                    <a:pt x="386" y="231"/>
                  </a:moveTo>
                  <a:lnTo>
                    <a:pt x="259" y="281"/>
                  </a:lnTo>
                  <a:lnTo>
                    <a:pt x="259" y="281"/>
                  </a:lnTo>
                  <a:lnTo>
                    <a:pt x="386" y="231"/>
                  </a:lnTo>
                  <a:lnTo>
                    <a:pt x="357" y="148"/>
                  </a:lnTo>
                  <a:lnTo>
                    <a:pt x="366" y="58"/>
                  </a:lnTo>
                  <a:lnTo>
                    <a:pt x="351" y="41"/>
                  </a:lnTo>
                  <a:lnTo>
                    <a:pt x="241" y="64"/>
                  </a:lnTo>
                  <a:lnTo>
                    <a:pt x="220" y="36"/>
                  </a:lnTo>
                  <a:lnTo>
                    <a:pt x="199" y="0"/>
                  </a:lnTo>
                  <a:lnTo>
                    <a:pt x="148" y="13"/>
                  </a:lnTo>
                  <a:lnTo>
                    <a:pt x="145" y="58"/>
                  </a:lnTo>
                  <a:lnTo>
                    <a:pt x="148" y="75"/>
                  </a:lnTo>
                  <a:lnTo>
                    <a:pt x="131" y="75"/>
                  </a:lnTo>
                  <a:lnTo>
                    <a:pt x="76" y="95"/>
                  </a:lnTo>
                  <a:lnTo>
                    <a:pt x="76" y="143"/>
                  </a:lnTo>
                  <a:lnTo>
                    <a:pt x="48" y="186"/>
                  </a:lnTo>
                  <a:lnTo>
                    <a:pt x="0" y="222"/>
                  </a:lnTo>
                  <a:lnTo>
                    <a:pt x="8" y="261"/>
                  </a:lnTo>
                  <a:lnTo>
                    <a:pt x="38" y="278"/>
                  </a:lnTo>
                  <a:lnTo>
                    <a:pt x="4" y="324"/>
                  </a:lnTo>
                  <a:lnTo>
                    <a:pt x="64" y="329"/>
                  </a:lnTo>
                  <a:lnTo>
                    <a:pt x="107" y="364"/>
                  </a:lnTo>
                  <a:lnTo>
                    <a:pt x="87" y="388"/>
                  </a:lnTo>
                  <a:lnTo>
                    <a:pt x="96" y="456"/>
                  </a:lnTo>
                  <a:lnTo>
                    <a:pt x="123" y="460"/>
                  </a:lnTo>
                  <a:lnTo>
                    <a:pt x="156" y="452"/>
                  </a:lnTo>
                  <a:lnTo>
                    <a:pt x="181" y="467"/>
                  </a:lnTo>
                  <a:lnTo>
                    <a:pt x="199" y="472"/>
                  </a:lnTo>
                  <a:lnTo>
                    <a:pt x="216" y="475"/>
                  </a:lnTo>
                  <a:lnTo>
                    <a:pt x="272" y="452"/>
                  </a:lnTo>
                  <a:lnTo>
                    <a:pt x="314" y="424"/>
                  </a:lnTo>
                  <a:lnTo>
                    <a:pt x="328" y="409"/>
                  </a:lnTo>
                  <a:lnTo>
                    <a:pt x="331" y="362"/>
                  </a:lnTo>
                  <a:lnTo>
                    <a:pt x="259" y="281"/>
                  </a:lnTo>
                  <a:lnTo>
                    <a:pt x="386" y="23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1" name="Freeform 260"/>
            <p:cNvSpPr>
              <a:spLocks noChangeAspect="1"/>
            </p:cNvSpPr>
            <p:nvPr/>
          </p:nvSpPr>
          <p:spPr bwMode="auto">
            <a:xfrm>
              <a:off x="1080900" y="2593906"/>
              <a:ext cx="242636" cy="191696"/>
            </a:xfrm>
            <a:custGeom>
              <a:avLst/>
              <a:gdLst/>
              <a:ahLst/>
              <a:cxnLst>
                <a:cxn ang="0">
                  <a:pos x="29" y="232"/>
                </a:cxn>
                <a:cxn ang="0">
                  <a:pos x="0" y="149"/>
                </a:cxn>
                <a:cxn ang="0">
                  <a:pos x="9" y="59"/>
                </a:cxn>
                <a:cxn ang="0">
                  <a:pos x="135" y="0"/>
                </a:cxn>
                <a:cxn ang="0">
                  <a:pos x="181" y="17"/>
                </a:cxn>
                <a:cxn ang="0">
                  <a:pos x="243" y="10"/>
                </a:cxn>
                <a:cxn ang="0">
                  <a:pos x="319" y="37"/>
                </a:cxn>
                <a:cxn ang="0">
                  <a:pos x="382" y="93"/>
                </a:cxn>
                <a:cxn ang="0">
                  <a:pos x="382" y="155"/>
                </a:cxn>
                <a:cxn ang="0">
                  <a:pos x="409" y="155"/>
                </a:cxn>
                <a:cxn ang="0">
                  <a:pos x="412" y="208"/>
                </a:cxn>
                <a:cxn ang="0">
                  <a:pos x="414" y="290"/>
                </a:cxn>
                <a:cxn ang="0">
                  <a:pos x="379" y="317"/>
                </a:cxn>
                <a:cxn ang="0">
                  <a:pos x="379" y="317"/>
                </a:cxn>
                <a:cxn ang="0">
                  <a:pos x="305" y="320"/>
                </a:cxn>
                <a:cxn ang="0">
                  <a:pos x="231" y="325"/>
                </a:cxn>
                <a:cxn ang="0">
                  <a:pos x="181" y="297"/>
                </a:cxn>
                <a:cxn ang="0">
                  <a:pos x="73" y="260"/>
                </a:cxn>
                <a:cxn ang="0">
                  <a:pos x="29" y="232"/>
                </a:cxn>
              </a:cxnLst>
              <a:rect l="0" t="0" r="r" b="b"/>
              <a:pathLst>
                <a:path w="414" h="325">
                  <a:moveTo>
                    <a:pt x="29" y="232"/>
                  </a:moveTo>
                  <a:lnTo>
                    <a:pt x="0" y="149"/>
                  </a:lnTo>
                  <a:lnTo>
                    <a:pt x="9" y="59"/>
                  </a:lnTo>
                  <a:lnTo>
                    <a:pt x="135" y="0"/>
                  </a:lnTo>
                  <a:lnTo>
                    <a:pt x="181" y="17"/>
                  </a:lnTo>
                  <a:lnTo>
                    <a:pt x="243" y="10"/>
                  </a:lnTo>
                  <a:lnTo>
                    <a:pt x="319" y="37"/>
                  </a:lnTo>
                  <a:lnTo>
                    <a:pt x="382" y="93"/>
                  </a:lnTo>
                  <a:lnTo>
                    <a:pt x="382" y="155"/>
                  </a:lnTo>
                  <a:lnTo>
                    <a:pt x="409" y="155"/>
                  </a:lnTo>
                  <a:lnTo>
                    <a:pt x="412" y="208"/>
                  </a:lnTo>
                  <a:lnTo>
                    <a:pt x="414" y="290"/>
                  </a:lnTo>
                  <a:lnTo>
                    <a:pt x="379" y="317"/>
                  </a:lnTo>
                  <a:lnTo>
                    <a:pt x="379" y="317"/>
                  </a:lnTo>
                  <a:lnTo>
                    <a:pt x="305" y="320"/>
                  </a:lnTo>
                  <a:lnTo>
                    <a:pt x="231" y="325"/>
                  </a:lnTo>
                  <a:lnTo>
                    <a:pt x="181" y="297"/>
                  </a:lnTo>
                  <a:lnTo>
                    <a:pt x="73" y="260"/>
                  </a:lnTo>
                  <a:lnTo>
                    <a:pt x="29" y="23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2" name="Freeform 261"/>
            <p:cNvSpPr>
              <a:spLocks noChangeAspect="1"/>
            </p:cNvSpPr>
            <p:nvPr/>
          </p:nvSpPr>
          <p:spPr bwMode="auto">
            <a:xfrm>
              <a:off x="1080900" y="2593906"/>
              <a:ext cx="242636" cy="191696"/>
            </a:xfrm>
            <a:custGeom>
              <a:avLst/>
              <a:gdLst/>
              <a:ahLst/>
              <a:cxnLst>
                <a:cxn ang="0">
                  <a:pos x="29" y="232"/>
                </a:cxn>
                <a:cxn ang="0">
                  <a:pos x="0" y="149"/>
                </a:cxn>
                <a:cxn ang="0">
                  <a:pos x="9" y="59"/>
                </a:cxn>
                <a:cxn ang="0">
                  <a:pos x="135" y="0"/>
                </a:cxn>
                <a:cxn ang="0">
                  <a:pos x="181" y="17"/>
                </a:cxn>
                <a:cxn ang="0">
                  <a:pos x="243" y="10"/>
                </a:cxn>
                <a:cxn ang="0">
                  <a:pos x="319" y="37"/>
                </a:cxn>
                <a:cxn ang="0">
                  <a:pos x="382" y="93"/>
                </a:cxn>
                <a:cxn ang="0">
                  <a:pos x="382" y="155"/>
                </a:cxn>
                <a:cxn ang="0">
                  <a:pos x="409" y="155"/>
                </a:cxn>
                <a:cxn ang="0">
                  <a:pos x="412" y="208"/>
                </a:cxn>
                <a:cxn ang="0">
                  <a:pos x="414" y="290"/>
                </a:cxn>
                <a:cxn ang="0">
                  <a:pos x="379" y="317"/>
                </a:cxn>
                <a:cxn ang="0">
                  <a:pos x="379" y="317"/>
                </a:cxn>
                <a:cxn ang="0">
                  <a:pos x="305" y="320"/>
                </a:cxn>
                <a:cxn ang="0">
                  <a:pos x="231" y="325"/>
                </a:cxn>
                <a:cxn ang="0">
                  <a:pos x="181" y="297"/>
                </a:cxn>
                <a:cxn ang="0">
                  <a:pos x="73" y="260"/>
                </a:cxn>
                <a:cxn ang="0">
                  <a:pos x="29" y="232"/>
                </a:cxn>
              </a:cxnLst>
              <a:rect l="0" t="0" r="r" b="b"/>
              <a:pathLst>
                <a:path w="414" h="325">
                  <a:moveTo>
                    <a:pt x="29" y="232"/>
                  </a:moveTo>
                  <a:lnTo>
                    <a:pt x="0" y="149"/>
                  </a:lnTo>
                  <a:lnTo>
                    <a:pt x="9" y="59"/>
                  </a:lnTo>
                  <a:lnTo>
                    <a:pt x="135" y="0"/>
                  </a:lnTo>
                  <a:lnTo>
                    <a:pt x="181" y="17"/>
                  </a:lnTo>
                  <a:lnTo>
                    <a:pt x="243" y="10"/>
                  </a:lnTo>
                  <a:lnTo>
                    <a:pt x="319" y="37"/>
                  </a:lnTo>
                  <a:lnTo>
                    <a:pt x="382" y="93"/>
                  </a:lnTo>
                  <a:lnTo>
                    <a:pt x="382" y="155"/>
                  </a:lnTo>
                  <a:lnTo>
                    <a:pt x="409" y="155"/>
                  </a:lnTo>
                  <a:lnTo>
                    <a:pt x="412" y="208"/>
                  </a:lnTo>
                  <a:lnTo>
                    <a:pt x="414" y="290"/>
                  </a:lnTo>
                  <a:lnTo>
                    <a:pt x="379" y="317"/>
                  </a:lnTo>
                  <a:lnTo>
                    <a:pt x="379" y="317"/>
                  </a:lnTo>
                  <a:lnTo>
                    <a:pt x="305" y="320"/>
                  </a:lnTo>
                  <a:lnTo>
                    <a:pt x="231" y="325"/>
                  </a:lnTo>
                  <a:lnTo>
                    <a:pt x="181" y="297"/>
                  </a:lnTo>
                  <a:lnTo>
                    <a:pt x="73" y="260"/>
                  </a:lnTo>
                  <a:lnTo>
                    <a:pt x="29" y="232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3" name="Freeform 262"/>
            <p:cNvSpPr>
              <a:spLocks noChangeAspect="1"/>
            </p:cNvSpPr>
            <p:nvPr/>
          </p:nvSpPr>
          <p:spPr bwMode="auto">
            <a:xfrm>
              <a:off x="1014085" y="2006392"/>
              <a:ext cx="279559" cy="562664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15" y="711"/>
                </a:cxn>
                <a:cxn ang="0">
                  <a:pos x="31" y="655"/>
                </a:cxn>
                <a:cxn ang="0">
                  <a:pos x="75" y="631"/>
                </a:cxn>
                <a:cxn ang="0">
                  <a:pos x="63" y="576"/>
                </a:cxn>
                <a:cxn ang="0">
                  <a:pos x="39" y="525"/>
                </a:cxn>
                <a:cxn ang="0">
                  <a:pos x="31" y="473"/>
                </a:cxn>
                <a:cxn ang="0">
                  <a:pos x="20" y="390"/>
                </a:cxn>
                <a:cxn ang="0">
                  <a:pos x="31" y="359"/>
                </a:cxn>
                <a:cxn ang="0">
                  <a:pos x="75" y="366"/>
                </a:cxn>
                <a:cxn ang="0">
                  <a:pos x="94" y="351"/>
                </a:cxn>
                <a:cxn ang="0">
                  <a:pos x="66" y="328"/>
                </a:cxn>
                <a:cxn ang="0">
                  <a:pos x="87" y="287"/>
                </a:cxn>
                <a:cxn ang="0">
                  <a:pos x="94" y="228"/>
                </a:cxn>
                <a:cxn ang="0">
                  <a:pos x="118" y="217"/>
                </a:cxn>
                <a:cxn ang="0">
                  <a:pos x="130" y="182"/>
                </a:cxn>
                <a:cxn ang="0">
                  <a:pos x="162" y="177"/>
                </a:cxn>
                <a:cxn ang="0">
                  <a:pos x="169" y="138"/>
                </a:cxn>
                <a:cxn ang="0">
                  <a:pos x="193" y="122"/>
                </a:cxn>
                <a:cxn ang="0">
                  <a:pos x="197" y="83"/>
                </a:cxn>
                <a:cxn ang="0">
                  <a:pos x="225" y="90"/>
                </a:cxn>
                <a:cxn ang="0">
                  <a:pos x="248" y="79"/>
                </a:cxn>
                <a:cxn ang="0">
                  <a:pos x="272" y="55"/>
                </a:cxn>
                <a:cxn ang="0">
                  <a:pos x="304" y="51"/>
                </a:cxn>
                <a:cxn ang="0">
                  <a:pos x="348" y="51"/>
                </a:cxn>
                <a:cxn ang="0">
                  <a:pos x="372" y="24"/>
                </a:cxn>
                <a:cxn ang="0">
                  <a:pos x="399" y="0"/>
                </a:cxn>
                <a:cxn ang="0">
                  <a:pos x="434" y="39"/>
                </a:cxn>
                <a:cxn ang="0">
                  <a:pos x="469" y="70"/>
                </a:cxn>
                <a:cxn ang="0">
                  <a:pos x="473" y="103"/>
                </a:cxn>
                <a:cxn ang="0">
                  <a:pos x="478" y="201"/>
                </a:cxn>
                <a:cxn ang="0">
                  <a:pos x="446" y="221"/>
                </a:cxn>
                <a:cxn ang="0">
                  <a:pos x="410" y="248"/>
                </a:cxn>
                <a:cxn ang="0">
                  <a:pos x="399" y="304"/>
                </a:cxn>
                <a:cxn ang="0">
                  <a:pos x="403" y="339"/>
                </a:cxn>
                <a:cxn ang="0">
                  <a:pos x="355" y="371"/>
                </a:cxn>
                <a:cxn ang="0">
                  <a:pos x="328" y="407"/>
                </a:cxn>
                <a:cxn ang="0">
                  <a:pos x="265" y="418"/>
                </a:cxn>
                <a:cxn ang="0">
                  <a:pos x="241" y="469"/>
                </a:cxn>
                <a:cxn ang="0">
                  <a:pos x="241" y="557"/>
                </a:cxn>
                <a:cxn ang="0">
                  <a:pos x="276" y="600"/>
                </a:cxn>
                <a:cxn ang="0">
                  <a:pos x="292" y="635"/>
                </a:cxn>
                <a:cxn ang="0">
                  <a:pos x="217" y="672"/>
                </a:cxn>
                <a:cxn ang="0">
                  <a:pos x="252" y="672"/>
                </a:cxn>
                <a:cxn ang="0">
                  <a:pos x="272" y="692"/>
                </a:cxn>
                <a:cxn ang="0">
                  <a:pos x="284" y="723"/>
                </a:cxn>
                <a:cxn ang="0">
                  <a:pos x="256" y="742"/>
                </a:cxn>
                <a:cxn ang="0">
                  <a:pos x="225" y="778"/>
                </a:cxn>
                <a:cxn ang="0">
                  <a:pos x="225" y="837"/>
                </a:cxn>
                <a:cxn ang="0">
                  <a:pos x="189" y="865"/>
                </a:cxn>
                <a:cxn ang="0">
                  <a:pos x="177" y="896"/>
                </a:cxn>
                <a:cxn ang="0">
                  <a:pos x="142" y="920"/>
                </a:cxn>
                <a:cxn ang="0">
                  <a:pos x="122" y="952"/>
                </a:cxn>
                <a:cxn ang="0">
                  <a:pos x="70" y="933"/>
                </a:cxn>
                <a:cxn ang="0">
                  <a:pos x="75" y="872"/>
                </a:cxn>
                <a:cxn ang="0">
                  <a:pos x="48" y="865"/>
                </a:cxn>
                <a:cxn ang="0">
                  <a:pos x="39" y="830"/>
                </a:cxn>
                <a:cxn ang="0">
                  <a:pos x="20" y="782"/>
                </a:cxn>
                <a:cxn ang="0">
                  <a:pos x="0" y="742"/>
                </a:cxn>
              </a:cxnLst>
              <a:rect l="0" t="0" r="r" b="b"/>
              <a:pathLst>
                <a:path w="478" h="952">
                  <a:moveTo>
                    <a:pt x="0" y="742"/>
                  </a:moveTo>
                  <a:lnTo>
                    <a:pt x="15" y="711"/>
                  </a:lnTo>
                  <a:lnTo>
                    <a:pt x="31" y="655"/>
                  </a:lnTo>
                  <a:lnTo>
                    <a:pt x="75" y="631"/>
                  </a:lnTo>
                  <a:lnTo>
                    <a:pt x="63" y="576"/>
                  </a:lnTo>
                  <a:lnTo>
                    <a:pt x="39" y="525"/>
                  </a:lnTo>
                  <a:lnTo>
                    <a:pt x="31" y="473"/>
                  </a:lnTo>
                  <a:lnTo>
                    <a:pt x="20" y="390"/>
                  </a:lnTo>
                  <a:lnTo>
                    <a:pt x="31" y="359"/>
                  </a:lnTo>
                  <a:lnTo>
                    <a:pt x="75" y="366"/>
                  </a:lnTo>
                  <a:lnTo>
                    <a:pt x="94" y="351"/>
                  </a:lnTo>
                  <a:lnTo>
                    <a:pt x="66" y="328"/>
                  </a:lnTo>
                  <a:lnTo>
                    <a:pt x="87" y="287"/>
                  </a:lnTo>
                  <a:lnTo>
                    <a:pt x="94" y="228"/>
                  </a:lnTo>
                  <a:lnTo>
                    <a:pt x="118" y="217"/>
                  </a:lnTo>
                  <a:lnTo>
                    <a:pt x="130" y="182"/>
                  </a:lnTo>
                  <a:lnTo>
                    <a:pt x="162" y="177"/>
                  </a:lnTo>
                  <a:lnTo>
                    <a:pt x="169" y="138"/>
                  </a:lnTo>
                  <a:lnTo>
                    <a:pt x="193" y="122"/>
                  </a:lnTo>
                  <a:lnTo>
                    <a:pt x="197" y="83"/>
                  </a:lnTo>
                  <a:lnTo>
                    <a:pt x="225" y="90"/>
                  </a:lnTo>
                  <a:lnTo>
                    <a:pt x="248" y="79"/>
                  </a:lnTo>
                  <a:lnTo>
                    <a:pt x="272" y="55"/>
                  </a:lnTo>
                  <a:lnTo>
                    <a:pt x="304" y="51"/>
                  </a:lnTo>
                  <a:lnTo>
                    <a:pt x="348" y="51"/>
                  </a:lnTo>
                  <a:lnTo>
                    <a:pt x="372" y="24"/>
                  </a:lnTo>
                  <a:lnTo>
                    <a:pt x="399" y="0"/>
                  </a:lnTo>
                  <a:lnTo>
                    <a:pt x="434" y="39"/>
                  </a:lnTo>
                  <a:lnTo>
                    <a:pt x="469" y="70"/>
                  </a:lnTo>
                  <a:lnTo>
                    <a:pt x="473" y="103"/>
                  </a:lnTo>
                  <a:lnTo>
                    <a:pt x="478" y="201"/>
                  </a:lnTo>
                  <a:lnTo>
                    <a:pt x="446" y="221"/>
                  </a:lnTo>
                  <a:lnTo>
                    <a:pt x="410" y="248"/>
                  </a:lnTo>
                  <a:lnTo>
                    <a:pt x="399" y="304"/>
                  </a:lnTo>
                  <a:lnTo>
                    <a:pt x="403" y="339"/>
                  </a:lnTo>
                  <a:lnTo>
                    <a:pt x="355" y="371"/>
                  </a:lnTo>
                  <a:lnTo>
                    <a:pt x="328" y="407"/>
                  </a:lnTo>
                  <a:lnTo>
                    <a:pt x="265" y="418"/>
                  </a:lnTo>
                  <a:lnTo>
                    <a:pt x="241" y="469"/>
                  </a:lnTo>
                  <a:lnTo>
                    <a:pt x="241" y="557"/>
                  </a:lnTo>
                  <a:lnTo>
                    <a:pt x="276" y="600"/>
                  </a:lnTo>
                  <a:lnTo>
                    <a:pt x="292" y="635"/>
                  </a:lnTo>
                  <a:lnTo>
                    <a:pt x="217" y="672"/>
                  </a:lnTo>
                  <a:lnTo>
                    <a:pt x="252" y="672"/>
                  </a:lnTo>
                  <a:lnTo>
                    <a:pt x="272" y="692"/>
                  </a:lnTo>
                  <a:lnTo>
                    <a:pt x="284" y="723"/>
                  </a:lnTo>
                  <a:lnTo>
                    <a:pt x="256" y="742"/>
                  </a:lnTo>
                  <a:lnTo>
                    <a:pt x="225" y="778"/>
                  </a:lnTo>
                  <a:lnTo>
                    <a:pt x="225" y="837"/>
                  </a:lnTo>
                  <a:lnTo>
                    <a:pt x="189" y="865"/>
                  </a:lnTo>
                  <a:lnTo>
                    <a:pt x="177" y="896"/>
                  </a:lnTo>
                  <a:lnTo>
                    <a:pt x="142" y="920"/>
                  </a:lnTo>
                  <a:lnTo>
                    <a:pt x="122" y="952"/>
                  </a:lnTo>
                  <a:lnTo>
                    <a:pt x="70" y="933"/>
                  </a:lnTo>
                  <a:lnTo>
                    <a:pt x="75" y="872"/>
                  </a:lnTo>
                  <a:lnTo>
                    <a:pt x="48" y="865"/>
                  </a:lnTo>
                  <a:lnTo>
                    <a:pt x="39" y="830"/>
                  </a:lnTo>
                  <a:lnTo>
                    <a:pt x="20" y="782"/>
                  </a:lnTo>
                  <a:lnTo>
                    <a:pt x="0" y="74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4" name="Freeform 263"/>
            <p:cNvSpPr>
              <a:spLocks noChangeAspect="1"/>
            </p:cNvSpPr>
            <p:nvPr/>
          </p:nvSpPr>
          <p:spPr bwMode="auto">
            <a:xfrm>
              <a:off x="1237381" y="2856600"/>
              <a:ext cx="216263" cy="156197"/>
            </a:xfrm>
            <a:custGeom>
              <a:avLst/>
              <a:gdLst/>
              <a:ahLst/>
              <a:cxnLst>
                <a:cxn ang="0">
                  <a:pos x="130" y="211"/>
                </a:cxn>
                <a:cxn ang="0">
                  <a:pos x="103" y="190"/>
                </a:cxn>
                <a:cxn ang="0">
                  <a:pos x="59" y="168"/>
                </a:cxn>
                <a:cxn ang="0">
                  <a:pos x="12" y="140"/>
                </a:cxn>
                <a:cxn ang="0">
                  <a:pos x="0" y="96"/>
                </a:cxn>
                <a:cxn ang="0">
                  <a:pos x="44" y="84"/>
                </a:cxn>
                <a:cxn ang="0">
                  <a:pos x="75" y="33"/>
                </a:cxn>
                <a:cxn ang="0">
                  <a:pos x="95" y="1"/>
                </a:cxn>
                <a:cxn ang="0">
                  <a:pos x="162" y="0"/>
                </a:cxn>
                <a:cxn ang="0">
                  <a:pos x="184" y="18"/>
                </a:cxn>
                <a:cxn ang="0">
                  <a:pos x="252" y="23"/>
                </a:cxn>
                <a:cxn ang="0">
                  <a:pos x="278" y="13"/>
                </a:cxn>
                <a:cxn ang="0">
                  <a:pos x="340" y="76"/>
                </a:cxn>
                <a:cxn ang="0">
                  <a:pos x="345" y="128"/>
                </a:cxn>
                <a:cxn ang="0">
                  <a:pos x="369" y="185"/>
                </a:cxn>
                <a:cxn ang="0">
                  <a:pos x="362" y="218"/>
                </a:cxn>
                <a:cxn ang="0">
                  <a:pos x="327" y="248"/>
                </a:cxn>
                <a:cxn ang="0">
                  <a:pos x="286" y="254"/>
                </a:cxn>
                <a:cxn ang="0">
                  <a:pos x="221" y="262"/>
                </a:cxn>
                <a:cxn ang="0">
                  <a:pos x="207" y="223"/>
                </a:cxn>
                <a:cxn ang="0">
                  <a:pos x="155" y="204"/>
                </a:cxn>
                <a:cxn ang="0">
                  <a:pos x="141" y="223"/>
                </a:cxn>
                <a:cxn ang="0">
                  <a:pos x="130" y="211"/>
                </a:cxn>
              </a:cxnLst>
              <a:rect l="0" t="0" r="r" b="b"/>
              <a:pathLst>
                <a:path w="369" h="262">
                  <a:moveTo>
                    <a:pt x="130" y="211"/>
                  </a:moveTo>
                  <a:lnTo>
                    <a:pt x="103" y="190"/>
                  </a:lnTo>
                  <a:lnTo>
                    <a:pt x="59" y="168"/>
                  </a:lnTo>
                  <a:lnTo>
                    <a:pt x="12" y="140"/>
                  </a:lnTo>
                  <a:lnTo>
                    <a:pt x="0" y="96"/>
                  </a:lnTo>
                  <a:lnTo>
                    <a:pt x="44" y="84"/>
                  </a:lnTo>
                  <a:lnTo>
                    <a:pt x="75" y="33"/>
                  </a:lnTo>
                  <a:lnTo>
                    <a:pt x="95" y="1"/>
                  </a:lnTo>
                  <a:lnTo>
                    <a:pt x="162" y="0"/>
                  </a:lnTo>
                  <a:lnTo>
                    <a:pt x="184" y="18"/>
                  </a:lnTo>
                  <a:lnTo>
                    <a:pt x="252" y="23"/>
                  </a:lnTo>
                  <a:lnTo>
                    <a:pt x="278" y="13"/>
                  </a:lnTo>
                  <a:lnTo>
                    <a:pt x="340" y="76"/>
                  </a:lnTo>
                  <a:lnTo>
                    <a:pt x="345" y="128"/>
                  </a:lnTo>
                  <a:lnTo>
                    <a:pt x="369" y="185"/>
                  </a:lnTo>
                  <a:lnTo>
                    <a:pt x="362" y="218"/>
                  </a:lnTo>
                  <a:lnTo>
                    <a:pt x="327" y="248"/>
                  </a:lnTo>
                  <a:lnTo>
                    <a:pt x="286" y="254"/>
                  </a:lnTo>
                  <a:lnTo>
                    <a:pt x="221" y="262"/>
                  </a:lnTo>
                  <a:lnTo>
                    <a:pt x="207" y="223"/>
                  </a:lnTo>
                  <a:lnTo>
                    <a:pt x="155" y="204"/>
                  </a:lnTo>
                  <a:lnTo>
                    <a:pt x="141" y="223"/>
                  </a:lnTo>
                  <a:lnTo>
                    <a:pt x="130" y="211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5" name="Freeform 264"/>
            <p:cNvSpPr>
              <a:spLocks noChangeAspect="1"/>
            </p:cNvSpPr>
            <p:nvPr/>
          </p:nvSpPr>
          <p:spPr bwMode="auto">
            <a:xfrm>
              <a:off x="1378041" y="3076696"/>
              <a:ext cx="56264" cy="37274"/>
            </a:xfrm>
            <a:custGeom>
              <a:avLst/>
              <a:gdLst/>
              <a:ahLst/>
              <a:cxnLst>
                <a:cxn ang="0">
                  <a:pos x="20" y="63"/>
                </a:cxn>
                <a:cxn ang="0">
                  <a:pos x="62" y="64"/>
                </a:cxn>
                <a:cxn ang="0">
                  <a:pos x="97" y="31"/>
                </a:cxn>
                <a:cxn ang="0">
                  <a:pos x="43" y="0"/>
                </a:cxn>
                <a:cxn ang="0">
                  <a:pos x="0" y="8"/>
                </a:cxn>
                <a:cxn ang="0">
                  <a:pos x="0" y="44"/>
                </a:cxn>
                <a:cxn ang="0">
                  <a:pos x="20" y="63"/>
                </a:cxn>
              </a:cxnLst>
              <a:rect l="0" t="0" r="r" b="b"/>
              <a:pathLst>
                <a:path w="97" h="64">
                  <a:moveTo>
                    <a:pt x="20" y="63"/>
                  </a:moveTo>
                  <a:lnTo>
                    <a:pt x="62" y="64"/>
                  </a:lnTo>
                  <a:lnTo>
                    <a:pt x="97" y="31"/>
                  </a:lnTo>
                  <a:lnTo>
                    <a:pt x="43" y="0"/>
                  </a:lnTo>
                  <a:lnTo>
                    <a:pt x="0" y="8"/>
                  </a:lnTo>
                  <a:lnTo>
                    <a:pt x="0" y="44"/>
                  </a:lnTo>
                  <a:lnTo>
                    <a:pt x="20" y="63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6" name="Freeform 265"/>
            <p:cNvSpPr>
              <a:spLocks noChangeAspect="1"/>
            </p:cNvSpPr>
            <p:nvPr/>
          </p:nvSpPr>
          <p:spPr bwMode="auto">
            <a:xfrm>
              <a:off x="1407930" y="3055396"/>
              <a:ext cx="490547" cy="218321"/>
            </a:xfrm>
            <a:custGeom>
              <a:avLst/>
              <a:gdLst/>
              <a:ahLst/>
              <a:cxnLst>
                <a:cxn ang="0">
                  <a:pos x="420" y="349"/>
                </a:cxn>
                <a:cxn ang="0">
                  <a:pos x="460" y="342"/>
                </a:cxn>
                <a:cxn ang="0">
                  <a:pos x="532" y="333"/>
                </a:cxn>
                <a:cxn ang="0">
                  <a:pos x="583" y="333"/>
                </a:cxn>
                <a:cxn ang="0">
                  <a:pos x="642" y="322"/>
                </a:cxn>
                <a:cxn ang="0">
                  <a:pos x="657" y="369"/>
                </a:cxn>
                <a:cxn ang="0">
                  <a:pos x="690" y="342"/>
                </a:cxn>
                <a:cxn ang="0">
                  <a:pos x="718" y="314"/>
                </a:cxn>
                <a:cxn ang="0">
                  <a:pos x="760" y="301"/>
                </a:cxn>
                <a:cxn ang="0">
                  <a:pos x="780" y="333"/>
                </a:cxn>
                <a:cxn ang="0">
                  <a:pos x="836" y="338"/>
                </a:cxn>
                <a:cxn ang="0">
                  <a:pos x="824" y="278"/>
                </a:cxn>
                <a:cxn ang="0">
                  <a:pos x="801" y="219"/>
                </a:cxn>
                <a:cxn ang="0">
                  <a:pos x="780" y="160"/>
                </a:cxn>
                <a:cxn ang="0">
                  <a:pos x="796" y="139"/>
                </a:cxn>
                <a:cxn ang="0">
                  <a:pos x="760" y="104"/>
                </a:cxn>
                <a:cxn ang="0">
                  <a:pos x="721" y="40"/>
                </a:cxn>
                <a:cxn ang="0">
                  <a:pos x="662" y="45"/>
                </a:cxn>
                <a:cxn ang="0">
                  <a:pos x="640" y="75"/>
                </a:cxn>
                <a:cxn ang="0">
                  <a:pos x="544" y="79"/>
                </a:cxn>
                <a:cxn ang="0">
                  <a:pos x="506" y="83"/>
                </a:cxn>
                <a:cxn ang="0">
                  <a:pos x="462" y="59"/>
                </a:cxn>
                <a:cxn ang="0">
                  <a:pos x="426" y="59"/>
                </a:cxn>
                <a:cxn ang="0">
                  <a:pos x="395" y="24"/>
                </a:cxn>
                <a:cxn ang="0">
                  <a:pos x="351" y="0"/>
                </a:cxn>
                <a:cxn ang="0">
                  <a:pos x="307" y="24"/>
                </a:cxn>
                <a:cxn ang="0">
                  <a:pos x="244" y="31"/>
                </a:cxn>
                <a:cxn ang="0">
                  <a:pos x="200" y="44"/>
                </a:cxn>
                <a:cxn ang="0">
                  <a:pos x="141" y="52"/>
                </a:cxn>
                <a:cxn ang="0">
                  <a:pos x="105" y="47"/>
                </a:cxn>
                <a:cxn ang="0">
                  <a:pos x="59" y="69"/>
                </a:cxn>
                <a:cxn ang="0">
                  <a:pos x="87" y="84"/>
                </a:cxn>
                <a:cxn ang="0">
                  <a:pos x="56" y="101"/>
                </a:cxn>
                <a:cxn ang="0">
                  <a:pos x="45" y="126"/>
                </a:cxn>
                <a:cxn ang="0">
                  <a:pos x="13" y="152"/>
                </a:cxn>
                <a:cxn ang="0">
                  <a:pos x="6" y="177"/>
                </a:cxn>
                <a:cxn ang="0">
                  <a:pos x="0" y="200"/>
                </a:cxn>
                <a:cxn ang="0">
                  <a:pos x="20" y="206"/>
                </a:cxn>
                <a:cxn ang="0">
                  <a:pos x="16" y="236"/>
                </a:cxn>
                <a:cxn ang="0">
                  <a:pos x="32" y="247"/>
                </a:cxn>
                <a:cxn ang="0">
                  <a:pos x="31" y="276"/>
                </a:cxn>
                <a:cxn ang="0">
                  <a:pos x="50" y="300"/>
                </a:cxn>
                <a:cxn ang="0">
                  <a:pos x="69" y="298"/>
                </a:cxn>
                <a:cxn ang="0">
                  <a:pos x="72" y="319"/>
                </a:cxn>
                <a:cxn ang="0">
                  <a:pos x="114" y="332"/>
                </a:cxn>
                <a:cxn ang="0">
                  <a:pos x="136" y="362"/>
                </a:cxn>
                <a:cxn ang="0">
                  <a:pos x="168" y="348"/>
                </a:cxn>
                <a:cxn ang="0">
                  <a:pos x="187" y="335"/>
                </a:cxn>
                <a:cxn ang="0">
                  <a:pos x="212" y="318"/>
                </a:cxn>
                <a:cxn ang="0">
                  <a:pos x="264" y="352"/>
                </a:cxn>
                <a:cxn ang="0">
                  <a:pos x="320" y="355"/>
                </a:cxn>
                <a:cxn ang="0">
                  <a:pos x="383" y="348"/>
                </a:cxn>
                <a:cxn ang="0">
                  <a:pos x="406" y="348"/>
                </a:cxn>
                <a:cxn ang="0">
                  <a:pos x="420" y="349"/>
                </a:cxn>
              </a:cxnLst>
              <a:rect l="0" t="0" r="r" b="b"/>
              <a:pathLst>
                <a:path w="836" h="369">
                  <a:moveTo>
                    <a:pt x="420" y="349"/>
                  </a:moveTo>
                  <a:lnTo>
                    <a:pt x="460" y="342"/>
                  </a:lnTo>
                  <a:lnTo>
                    <a:pt x="532" y="333"/>
                  </a:lnTo>
                  <a:lnTo>
                    <a:pt x="583" y="333"/>
                  </a:lnTo>
                  <a:lnTo>
                    <a:pt x="642" y="322"/>
                  </a:lnTo>
                  <a:lnTo>
                    <a:pt x="657" y="369"/>
                  </a:lnTo>
                  <a:lnTo>
                    <a:pt x="690" y="342"/>
                  </a:lnTo>
                  <a:lnTo>
                    <a:pt x="718" y="314"/>
                  </a:lnTo>
                  <a:lnTo>
                    <a:pt x="760" y="301"/>
                  </a:lnTo>
                  <a:lnTo>
                    <a:pt x="780" y="333"/>
                  </a:lnTo>
                  <a:lnTo>
                    <a:pt x="836" y="338"/>
                  </a:lnTo>
                  <a:lnTo>
                    <a:pt x="824" y="278"/>
                  </a:lnTo>
                  <a:lnTo>
                    <a:pt x="801" y="219"/>
                  </a:lnTo>
                  <a:lnTo>
                    <a:pt x="780" y="160"/>
                  </a:lnTo>
                  <a:lnTo>
                    <a:pt x="796" y="139"/>
                  </a:lnTo>
                  <a:lnTo>
                    <a:pt x="760" y="104"/>
                  </a:lnTo>
                  <a:lnTo>
                    <a:pt x="721" y="40"/>
                  </a:lnTo>
                  <a:lnTo>
                    <a:pt x="662" y="45"/>
                  </a:lnTo>
                  <a:lnTo>
                    <a:pt x="640" y="75"/>
                  </a:lnTo>
                  <a:lnTo>
                    <a:pt x="544" y="79"/>
                  </a:lnTo>
                  <a:lnTo>
                    <a:pt x="506" y="83"/>
                  </a:lnTo>
                  <a:lnTo>
                    <a:pt x="462" y="59"/>
                  </a:lnTo>
                  <a:lnTo>
                    <a:pt x="426" y="59"/>
                  </a:lnTo>
                  <a:lnTo>
                    <a:pt x="395" y="24"/>
                  </a:lnTo>
                  <a:lnTo>
                    <a:pt x="351" y="0"/>
                  </a:lnTo>
                  <a:lnTo>
                    <a:pt x="307" y="24"/>
                  </a:lnTo>
                  <a:lnTo>
                    <a:pt x="244" y="31"/>
                  </a:lnTo>
                  <a:lnTo>
                    <a:pt x="200" y="44"/>
                  </a:lnTo>
                  <a:lnTo>
                    <a:pt x="141" y="52"/>
                  </a:lnTo>
                  <a:lnTo>
                    <a:pt x="105" y="47"/>
                  </a:lnTo>
                  <a:lnTo>
                    <a:pt x="59" y="69"/>
                  </a:lnTo>
                  <a:lnTo>
                    <a:pt x="87" y="84"/>
                  </a:lnTo>
                  <a:lnTo>
                    <a:pt x="56" y="101"/>
                  </a:lnTo>
                  <a:lnTo>
                    <a:pt x="45" y="126"/>
                  </a:lnTo>
                  <a:lnTo>
                    <a:pt x="13" y="152"/>
                  </a:lnTo>
                  <a:lnTo>
                    <a:pt x="6" y="177"/>
                  </a:lnTo>
                  <a:lnTo>
                    <a:pt x="0" y="200"/>
                  </a:lnTo>
                  <a:lnTo>
                    <a:pt x="20" y="206"/>
                  </a:lnTo>
                  <a:lnTo>
                    <a:pt x="16" y="236"/>
                  </a:lnTo>
                  <a:lnTo>
                    <a:pt x="32" y="247"/>
                  </a:lnTo>
                  <a:lnTo>
                    <a:pt x="31" y="276"/>
                  </a:lnTo>
                  <a:lnTo>
                    <a:pt x="50" y="300"/>
                  </a:lnTo>
                  <a:lnTo>
                    <a:pt x="69" y="298"/>
                  </a:lnTo>
                  <a:lnTo>
                    <a:pt x="72" y="319"/>
                  </a:lnTo>
                  <a:lnTo>
                    <a:pt x="114" y="332"/>
                  </a:lnTo>
                  <a:lnTo>
                    <a:pt x="136" y="362"/>
                  </a:lnTo>
                  <a:lnTo>
                    <a:pt x="168" y="348"/>
                  </a:lnTo>
                  <a:lnTo>
                    <a:pt x="187" y="335"/>
                  </a:lnTo>
                  <a:lnTo>
                    <a:pt x="212" y="318"/>
                  </a:lnTo>
                  <a:lnTo>
                    <a:pt x="264" y="352"/>
                  </a:lnTo>
                  <a:lnTo>
                    <a:pt x="320" y="355"/>
                  </a:lnTo>
                  <a:lnTo>
                    <a:pt x="383" y="348"/>
                  </a:lnTo>
                  <a:lnTo>
                    <a:pt x="406" y="348"/>
                  </a:lnTo>
                  <a:lnTo>
                    <a:pt x="420" y="34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7" name="Freeform 266"/>
            <p:cNvSpPr>
              <a:spLocks noChangeAspect="1"/>
            </p:cNvSpPr>
            <p:nvPr/>
          </p:nvSpPr>
          <p:spPr bwMode="auto">
            <a:xfrm>
              <a:off x="1061559" y="2900975"/>
              <a:ext cx="253186" cy="204121"/>
            </a:xfrm>
            <a:custGeom>
              <a:avLst/>
              <a:gdLst/>
              <a:ahLst/>
              <a:cxnLst>
                <a:cxn ang="0">
                  <a:pos x="38" y="55"/>
                </a:cxn>
                <a:cxn ang="0">
                  <a:pos x="12" y="36"/>
                </a:cxn>
                <a:cxn ang="0">
                  <a:pos x="0" y="1"/>
                </a:cxn>
                <a:cxn ang="0">
                  <a:pos x="74" y="17"/>
                </a:cxn>
                <a:cxn ang="0">
                  <a:pos x="117" y="0"/>
                </a:cxn>
                <a:cxn ang="0">
                  <a:pos x="137" y="5"/>
                </a:cxn>
                <a:cxn ang="0">
                  <a:pos x="137" y="5"/>
                </a:cxn>
                <a:cxn ang="0">
                  <a:pos x="186" y="30"/>
                </a:cxn>
                <a:cxn ang="0">
                  <a:pos x="238" y="43"/>
                </a:cxn>
                <a:cxn ang="0">
                  <a:pos x="265" y="19"/>
                </a:cxn>
                <a:cxn ang="0">
                  <a:pos x="302" y="21"/>
                </a:cxn>
                <a:cxn ang="0">
                  <a:pos x="314" y="65"/>
                </a:cxn>
                <a:cxn ang="0">
                  <a:pos x="361" y="93"/>
                </a:cxn>
                <a:cxn ang="0">
                  <a:pos x="405" y="115"/>
                </a:cxn>
                <a:cxn ang="0">
                  <a:pos x="432" y="136"/>
                </a:cxn>
                <a:cxn ang="0">
                  <a:pos x="392" y="168"/>
                </a:cxn>
                <a:cxn ang="0">
                  <a:pos x="396" y="196"/>
                </a:cxn>
                <a:cxn ang="0">
                  <a:pos x="420" y="240"/>
                </a:cxn>
                <a:cxn ang="0">
                  <a:pos x="423" y="310"/>
                </a:cxn>
                <a:cxn ang="0">
                  <a:pos x="381" y="345"/>
                </a:cxn>
                <a:cxn ang="0">
                  <a:pos x="347" y="334"/>
                </a:cxn>
                <a:cxn ang="0">
                  <a:pos x="335" y="287"/>
                </a:cxn>
                <a:cxn ang="0">
                  <a:pos x="313" y="243"/>
                </a:cxn>
                <a:cxn ang="0">
                  <a:pos x="285" y="256"/>
                </a:cxn>
                <a:cxn ang="0">
                  <a:pos x="293" y="291"/>
                </a:cxn>
                <a:cxn ang="0">
                  <a:pos x="249" y="279"/>
                </a:cxn>
                <a:cxn ang="0">
                  <a:pos x="214" y="256"/>
                </a:cxn>
                <a:cxn ang="0">
                  <a:pos x="186" y="216"/>
                </a:cxn>
                <a:cxn ang="0">
                  <a:pos x="155" y="196"/>
                </a:cxn>
                <a:cxn ang="0">
                  <a:pos x="107" y="177"/>
                </a:cxn>
                <a:cxn ang="0">
                  <a:pos x="107" y="144"/>
                </a:cxn>
                <a:cxn ang="0">
                  <a:pos x="67" y="122"/>
                </a:cxn>
                <a:cxn ang="0">
                  <a:pos x="55" y="65"/>
                </a:cxn>
                <a:cxn ang="0">
                  <a:pos x="38" y="55"/>
                </a:cxn>
              </a:cxnLst>
              <a:rect l="0" t="0" r="r" b="b"/>
              <a:pathLst>
                <a:path w="432" h="345">
                  <a:moveTo>
                    <a:pt x="38" y="55"/>
                  </a:moveTo>
                  <a:lnTo>
                    <a:pt x="12" y="36"/>
                  </a:lnTo>
                  <a:lnTo>
                    <a:pt x="0" y="1"/>
                  </a:lnTo>
                  <a:lnTo>
                    <a:pt x="74" y="17"/>
                  </a:lnTo>
                  <a:lnTo>
                    <a:pt x="117" y="0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86" y="30"/>
                  </a:lnTo>
                  <a:lnTo>
                    <a:pt x="238" y="43"/>
                  </a:lnTo>
                  <a:lnTo>
                    <a:pt x="265" y="19"/>
                  </a:lnTo>
                  <a:lnTo>
                    <a:pt x="302" y="21"/>
                  </a:lnTo>
                  <a:lnTo>
                    <a:pt x="314" y="65"/>
                  </a:lnTo>
                  <a:lnTo>
                    <a:pt x="361" y="93"/>
                  </a:lnTo>
                  <a:lnTo>
                    <a:pt x="405" y="115"/>
                  </a:lnTo>
                  <a:lnTo>
                    <a:pt x="432" y="136"/>
                  </a:lnTo>
                  <a:lnTo>
                    <a:pt x="392" y="168"/>
                  </a:lnTo>
                  <a:lnTo>
                    <a:pt x="396" y="196"/>
                  </a:lnTo>
                  <a:lnTo>
                    <a:pt x="420" y="240"/>
                  </a:lnTo>
                  <a:lnTo>
                    <a:pt x="423" y="310"/>
                  </a:lnTo>
                  <a:lnTo>
                    <a:pt x="381" y="345"/>
                  </a:lnTo>
                  <a:lnTo>
                    <a:pt x="347" y="334"/>
                  </a:lnTo>
                  <a:lnTo>
                    <a:pt x="335" y="287"/>
                  </a:lnTo>
                  <a:lnTo>
                    <a:pt x="313" y="243"/>
                  </a:lnTo>
                  <a:lnTo>
                    <a:pt x="285" y="256"/>
                  </a:lnTo>
                  <a:lnTo>
                    <a:pt x="293" y="291"/>
                  </a:lnTo>
                  <a:lnTo>
                    <a:pt x="249" y="279"/>
                  </a:lnTo>
                  <a:lnTo>
                    <a:pt x="214" y="256"/>
                  </a:lnTo>
                  <a:lnTo>
                    <a:pt x="186" y="216"/>
                  </a:lnTo>
                  <a:lnTo>
                    <a:pt x="155" y="196"/>
                  </a:lnTo>
                  <a:lnTo>
                    <a:pt x="107" y="177"/>
                  </a:lnTo>
                  <a:lnTo>
                    <a:pt x="107" y="144"/>
                  </a:lnTo>
                  <a:lnTo>
                    <a:pt x="67" y="122"/>
                  </a:lnTo>
                  <a:lnTo>
                    <a:pt x="55" y="65"/>
                  </a:lnTo>
                  <a:lnTo>
                    <a:pt x="38" y="5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8" name="Freeform 267"/>
            <p:cNvSpPr>
              <a:spLocks noChangeAspect="1"/>
            </p:cNvSpPr>
            <p:nvPr/>
          </p:nvSpPr>
          <p:spPr bwMode="auto">
            <a:xfrm>
              <a:off x="1223316" y="2489183"/>
              <a:ext cx="191648" cy="159747"/>
            </a:xfrm>
            <a:custGeom>
              <a:avLst/>
              <a:gdLst/>
              <a:ahLst/>
              <a:cxnLst>
                <a:cxn ang="0">
                  <a:pos x="41" y="115"/>
                </a:cxn>
                <a:cxn ang="0">
                  <a:pos x="0" y="187"/>
                </a:cxn>
                <a:cxn ang="0">
                  <a:pos x="76" y="214"/>
                </a:cxn>
                <a:cxn ang="0">
                  <a:pos x="139" y="270"/>
                </a:cxn>
                <a:cxn ang="0">
                  <a:pos x="132" y="227"/>
                </a:cxn>
                <a:cxn ang="0">
                  <a:pos x="181" y="208"/>
                </a:cxn>
                <a:cxn ang="0">
                  <a:pos x="239" y="216"/>
                </a:cxn>
                <a:cxn ang="0">
                  <a:pos x="250" y="178"/>
                </a:cxn>
                <a:cxn ang="0">
                  <a:pos x="311" y="155"/>
                </a:cxn>
                <a:cxn ang="0">
                  <a:pos x="288" y="122"/>
                </a:cxn>
                <a:cxn ang="0">
                  <a:pos x="318" y="60"/>
                </a:cxn>
                <a:cxn ang="0">
                  <a:pos x="329" y="68"/>
                </a:cxn>
                <a:cxn ang="0">
                  <a:pos x="326" y="37"/>
                </a:cxn>
                <a:cxn ang="0">
                  <a:pos x="235" y="0"/>
                </a:cxn>
                <a:cxn ang="0">
                  <a:pos x="140" y="56"/>
                </a:cxn>
                <a:cxn ang="0">
                  <a:pos x="64" y="60"/>
                </a:cxn>
                <a:cxn ang="0">
                  <a:pos x="41" y="115"/>
                </a:cxn>
              </a:cxnLst>
              <a:rect l="0" t="0" r="r" b="b"/>
              <a:pathLst>
                <a:path w="329" h="270">
                  <a:moveTo>
                    <a:pt x="41" y="115"/>
                  </a:moveTo>
                  <a:lnTo>
                    <a:pt x="0" y="187"/>
                  </a:lnTo>
                  <a:lnTo>
                    <a:pt x="76" y="214"/>
                  </a:lnTo>
                  <a:lnTo>
                    <a:pt x="139" y="270"/>
                  </a:lnTo>
                  <a:lnTo>
                    <a:pt x="132" y="227"/>
                  </a:lnTo>
                  <a:lnTo>
                    <a:pt x="181" y="208"/>
                  </a:lnTo>
                  <a:lnTo>
                    <a:pt x="239" y="216"/>
                  </a:lnTo>
                  <a:lnTo>
                    <a:pt x="250" y="178"/>
                  </a:lnTo>
                  <a:lnTo>
                    <a:pt x="311" y="155"/>
                  </a:lnTo>
                  <a:lnTo>
                    <a:pt x="288" y="122"/>
                  </a:lnTo>
                  <a:lnTo>
                    <a:pt x="318" y="60"/>
                  </a:lnTo>
                  <a:lnTo>
                    <a:pt x="329" y="68"/>
                  </a:lnTo>
                  <a:lnTo>
                    <a:pt x="326" y="37"/>
                  </a:lnTo>
                  <a:lnTo>
                    <a:pt x="235" y="0"/>
                  </a:lnTo>
                  <a:lnTo>
                    <a:pt x="140" y="56"/>
                  </a:lnTo>
                  <a:lnTo>
                    <a:pt x="64" y="60"/>
                  </a:lnTo>
                  <a:lnTo>
                    <a:pt x="41" y="11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39" name="Freeform 268"/>
            <p:cNvSpPr>
              <a:spLocks noChangeAspect="1"/>
            </p:cNvSpPr>
            <p:nvPr/>
          </p:nvSpPr>
          <p:spPr bwMode="auto">
            <a:xfrm>
              <a:off x="1223316" y="2489183"/>
              <a:ext cx="191648" cy="159747"/>
            </a:xfrm>
            <a:custGeom>
              <a:avLst/>
              <a:gdLst/>
              <a:ahLst/>
              <a:cxnLst>
                <a:cxn ang="0">
                  <a:pos x="41" y="115"/>
                </a:cxn>
                <a:cxn ang="0">
                  <a:pos x="0" y="187"/>
                </a:cxn>
                <a:cxn ang="0">
                  <a:pos x="76" y="214"/>
                </a:cxn>
                <a:cxn ang="0">
                  <a:pos x="139" y="270"/>
                </a:cxn>
                <a:cxn ang="0">
                  <a:pos x="132" y="227"/>
                </a:cxn>
                <a:cxn ang="0">
                  <a:pos x="181" y="208"/>
                </a:cxn>
                <a:cxn ang="0">
                  <a:pos x="239" y="216"/>
                </a:cxn>
                <a:cxn ang="0">
                  <a:pos x="250" y="178"/>
                </a:cxn>
                <a:cxn ang="0">
                  <a:pos x="311" y="155"/>
                </a:cxn>
                <a:cxn ang="0">
                  <a:pos x="288" y="122"/>
                </a:cxn>
                <a:cxn ang="0">
                  <a:pos x="318" y="60"/>
                </a:cxn>
                <a:cxn ang="0">
                  <a:pos x="329" y="68"/>
                </a:cxn>
                <a:cxn ang="0">
                  <a:pos x="326" y="37"/>
                </a:cxn>
                <a:cxn ang="0">
                  <a:pos x="235" y="0"/>
                </a:cxn>
                <a:cxn ang="0">
                  <a:pos x="140" y="56"/>
                </a:cxn>
                <a:cxn ang="0">
                  <a:pos x="64" y="60"/>
                </a:cxn>
                <a:cxn ang="0">
                  <a:pos x="41" y="115"/>
                </a:cxn>
              </a:cxnLst>
              <a:rect l="0" t="0" r="r" b="b"/>
              <a:pathLst>
                <a:path w="329" h="270">
                  <a:moveTo>
                    <a:pt x="41" y="115"/>
                  </a:moveTo>
                  <a:lnTo>
                    <a:pt x="0" y="187"/>
                  </a:lnTo>
                  <a:lnTo>
                    <a:pt x="76" y="214"/>
                  </a:lnTo>
                  <a:lnTo>
                    <a:pt x="139" y="270"/>
                  </a:lnTo>
                  <a:lnTo>
                    <a:pt x="132" y="227"/>
                  </a:lnTo>
                  <a:lnTo>
                    <a:pt x="181" y="208"/>
                  </a:lnTo>
                  <a:lnTo>
                    <a:pt x="239" y="216"/>
                  </a:lnTo>
                  <a:lnTo>
                    <a:pt x="250" y="178"/>
                  </a:lnTo>
                  <a:lnTo>
                    <a:pt x="311" y="155"/>
                  </a:lnTo>
                  <a:lnTo>
                    <a:pt x="288" y="122"/>
                  </a:lnTo>
                  <a:lnTo>
                    <a:pt x="318" y="60"/>
                  </a:lnTo>
                  <a:lnTo>
                    <a:pt x="329" y="68"/>
                  </a:lnTo>
                  <a:lnTo>
                    <a:pt x="326" y="37"/>
                  </a:lnTo>
                  <a:lnTo>
                    <a:pt x="235" y="0"/>
                  </a:lnTo>
                  <a:lnTo>
                    <a:pt x="140" y="56"/>
                  </a:lnTo>
                  <a:lnTo>
                    <a:pt x="64" y="60"/>
                  </a:lnTo>
                  <a:lnTo>
                    <a:pt x="41" y="115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0" name="Freeform 269"/>
            <p:cNvSpPr>
              <a:spLocks noChangeAspect="1"/>
            </p:cNvSpPr>
            <p:nvPr/>
          </p:nvSpPr>
          <p:spPr bwMode="auto">
            <a:xfrm>
              <a:off x="1293645" y="2661354"/>
              <a:ext cx="425492" cy="308844"/>
            </a:xfrm>
            <a:custGeom>
              <a:avLst/>
              <a:gdLst/>
              <a:ahLst/>
              <a:cxnLst>
                <a:cxn ang="0">
                  <a:pos x="183" y="345"/>
                </a:cxn>
                <a:cxn ang="0">
                  <a:pos x="237" y="340"/>
                </a:cxn>
                <a:cxn ang="0">
                  <a:pos x="280" y="363"/>
                </a:cxn>
                <a:cxn ang="0">
                  <a:pos x="334" y="451"/>
                </a:cxn>
                <a:cxn ang="0">
                  <a:pos x="325" y="485"/>
                </a:cxn>
                <a:cxn ang="0">
                  <a:pos x="306" y="524"/>
                </a:cxn>
                <a:cxn ang="0">
                  <a:pos x="346" y="489"/>
                </a:cxn>
                <a:cxn ang="0">
                  <a:pos x="370" y="386"/>
                </a:cxn>
                <a:cxn ang="0">
                  <a:pos x="417" y="378"/>
                </a:cxn>
                <a:cxn ang="0">
                  <a:pos x="433" y="437"/>
                </a:cxn>
                <a:cxn ang="0">
                  <a:pos x="551" y="429"/>
                </a:cxn>
                <a:cxn ang="0">
                  <a:pos x="575" y="393"/>
                </a:cxn>
                <a:cxn ang="0">
                  <a:pos x="611" y="398"/>
                </a:cxn>
                <a:cxn ang="0">
                  <a:pos x="698" y="358"/>
                </a:cxn>
                <a:cxn ang="0">
                  <a:pos x="726" y="219"/>
                </a:cxn>
                <a:cxn ang="0">
                  <a:pos x="546" y="68"/>
                </a:cxn>
                <a:cxn ang="0">
                  <a:pos x="520" y="0"/>
                </a:cxn>
                <a:cxn ang="0">
                  <a:pos x="402" y="8"/>
                </a:cxn>
                <a:cxn ang="0">
                  <a:pos x="369" y="59"/>
                </a:cxn>
                <a:cxn ang="0">
                  <a:pos x="48" y="94"/>
                </a:cxn>
                <a:cxn ang="0">
                  <a:pos x="50" y="176"/>
                </a:cxn>
                <a:cxn ang="0">
                  <a:pos x="15" y="203"/>
                </a:cxn>
                <a:cxn ang="0">
                  <a:pos x="0" y="333"/>
                </a:cxn>
                <a:cxn ang="0">
                  <a:pos x="67" y="332"/>
                </a:cxn>
                <a:cxn ang="0">
                  <a:pos x="89" y="350"/>
                </a:cxn>
                <a:cxn ang="0">
                  <a:pos x="157" y="355"/>
                </a:cxn>
                <a:cxn ang="0">
                  <a:pos x="183" y="345"/>
                </a:cxn>
                <a:cxn ang="0">
                  <a:pos x="183" y="345"/>
                </a:cxn>
              </a:cxnLst>
              <a:rect l="0" t="0" r="r" b="b"/>
              <a:pathLst>
                <a:path w="726" h="524">
                  <a:moveTo>
                    <a:pt x="183" y="345"/>
                  </a:moveTo>
                  <a:lnTo>
                    <a:pt x="237" y="340"/>
                  </a:lnTo>
                  <a:lnTo>
                    <a:pt x="280" y="363"/>
                  </a:lnTo>
                  <a:lnTo>
                    <a:pt x="334" y="451"/>
                  </a:lnTo>
                  <a:lnTo>
                    <a:pt x="325" y="485"/>
                  </a:lnTo>
                  <a:lnTo>
                    <a:pt x="306" y="524"/>
                  </a:lnTo>
                  <a:lnTo>
                    <a:pt x="346" y="489"/>
                  </a:lnTo>
                  <a:lnTo>
                    <a:pt x="370" y="386"/>
                  </a:lnTo>
                  <a:lnTo>
                    <a:pt x="417" y="378"/>
                  </a:lnTo>
                  <a:lnTo>
                    <a:pt x="433" y="437"/>
                  </a:lnTo>
                  <a:lnTo>
                    <a:pt x="551" y="429"/>
                  </a:lnTo>
                  <a:lnTo>
                    <a:pt x="575" y="393"/>
                  </a:lnTo>
                  <a:lnTo>
                    <a:pt x="611" y="398"/>
                  </a:lnTo>
                  <a:lnTo>
                    <a:pt x="698" y="358"/>
                  </a:lnTo>
                  <a:lnTo>
                    <a:pt x="726" y="219"/>
                  </a:lnTo>
                  <a:lnTo>
                    <a:pt x="546" y="68"/>
                  </a:lnTo>
                  <a:lnTo>
                    <a:pt x="520" y="0"/>
                  </a:lnTo>
                  <a:lnTo>
                    <a:pt x="402" y="8"/>
                  </a:lnTo>
                  <a:lnTo>
                    <a:pt x="369" y="59"/>
                  </a:lnTo>
                  <a:lnTo>
                    <a:pt x="48" y="94"/>
                  </a:lnTo>
                  <a:lnTo>
                    <a:pt x="50" y="176"/>
                  </a:lnTo>
                  <a:lnTo>
                    <a:pt x="15" y="203"/>
                  </a:lnTo>
                  <a:lnTo>
                    <a:pt x="0" y="333"/>
                  </a:lnTo>
                  <a:lnTo>
                    <a:pt x="67" y="332"/>
                  </a:lnTo>
                  <a:lnTo>
                    <a:pt x="89" y="350"/>
                  </a:lnTo>
                  <a:lnTo>
                    <a:pt x="157" y="355"/>
                  </a:lnTo>
                  <a:lnTo>
                    <a:pt x="183" y="345"/>
                  </a:lnTo>
                  <a:lnTo>
                    <a:pt x="183" y="34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1" name="Freeform 270"/>
            <p:cNvSpPr>
              <a:spLocks noChangeAspect="1"/>
            </p:cNvSpPr>
            <p:nvPr/>
          </p:nvSpPr>
          <p:spPr bwMode="auto">
            <a:xfrm>
              <a:off x="1300679" y="2489183"/>
              <a:ext cx="251428" cy="227195"/>
            </a:xfrm>
            <a:custGeom>
              <a:avLst/>
              <a:gdLst/>
              <a:ahLst/>
              <a:cxnLst>
                <a:cxn ang="0">
                  <a:pos x="37" y="385"/>
                </a:cxn>
                <a:cxn ang="0">
                  <a:pos x="358" y="350"/>
                </a:cxn>
                <a:cxn ang="0">
                  <a:pos x="391" y="299"/>
                </a:cxn>
                <a:cxn ang="0">
                  <a:pos x="411" y="232"/>
                </a:cxn>
                <a:cxn ang="0">
                  <a:pos x="430" y="213"/>
                </a:cxn>
                <a:cxn ang="0">
                  <a:pos x="421" y="49"/>
                </a:cxn>
                <a:cxn ang="0">
                  <a:pos x="295" y="0"/>
                </a:cxn>
                <a:cxn ang="0">
                  <a:pos x="261" y="22"/>
                </a:cxn>
                <a:cxn ang="0">
                  <a:pos x="216" y="7"/>
                </a:cxn>
                <a:cxn ang="0">
                  <a:pos x="197" y="68"/>
                </a:cxn>
                <a:cxn ang="0">
                  <a:pos x="186" y="60"/>
                </a:cxn>
                <a:cxn ang="0">
                  <a:pos x="156" y="122"/>
                </a:cxn>
                <a:cxn ang="0">
                  <a:pos x="179" y="155"/>
                </a:cxn>
                <a:cxn ang="0">
                  <a:pos x="118" y="178"/>
                </a:cxn>
                <a:cxn ang="0">
                  <a:pos x="107" y="216"/>
                </a:cxn>
                <a:cxn ang="0">
                  <a:pos x="49" y="208"/>
                </a:cxn>
                <a:cxn ang="0">
                  <a:pos x="0" y="227"/>
                </a:cxn>
                <a:cxn ang="0">
                  <a:pos x="7" y="270"/>
                </a:cxn>
                <a:cxn ang="0">
                  <a:pos x="7" y="332"/>
                </a:cxn>
                <a:cxn ang="0">
                  <a:pos x="34" y="332"/>
                </a:cxn>
                <a:cxn ang="0">
                  <a:pos x="37" y="385"/>
                </a:cxn>
              </a:cxnLst>
              <a:rect l="0" t="0" r="r" b="b"/>
              <a:pathLst>
                <a:path w="430" h="385">
                  <a:moveTo>
                    <a:pt x="37" y="385"/>
                  </a:moveTo>
                  <a:lnTo>
                    <a:pt x="358" y="350"/>
                  </a:lnTo>
                  <a:lnTo>
                    <a:pt x="391" y="299"/>
                  </a:lnTo>
                  <a:lnTo>
                    <a:pt x="411" y="232"/>
                  </a:lnTo>
                  <a:lnTo>
                    <a:pt x="430" y="213"/>
                  </a:lnTo>
                  <a:lnTo>
                    <a:pt x="421" y="49"/>
                  </a:lnTo>
                  <a:lnTo>
                    <a:pt x="295" y="0"/>
                  </a:lnTo>
                  <a:lnTo>
                    <a:pt x="261" y="22"/>
                  </a:lnTo>
                  <a:lnTo>
                    <a:pt x="216" y="7"/>
                  </a:lnTo>
                  <a:lnTo>
                    <a:pt x="197" y="68"/>
                  </a:lnTo>
                  <a:lnTo>
                    <a:pt x="186" y="60"/>
                  </a:lnTo>
                  <a:lnTo>
                    <a:pt x="156" y="122"/>
                  </a:lnTo>
                  <a:lnTo>
                    <a:pt x="179" y="155"/>
                  </a:lnTo>
                  <a:lnTo>
                    <a:pt x="118" y="178"/>
                  </a:lnTo>
                  <a:lnTo>
                    <a:pt x="107" y="216"/>
                  </a:lnTo>
                  <a:lnTo>
                    <a:pt x="49" y="208"/>
                  </a:lnTo>
                  <a:lnTo>
                    <a:pt x="0" y="227"/>
                  </a:lnTo>
                  <a:lnTo>
                    <a:pt x="7" y="270"/>
                  </a:lnTo>
                  <a:lnTo>
                    <a:pt x="7" y="332"/>
                  </a:lnTo>
                  <a:lnTo>
                    <a:pt x="34" y="332"/>
                  </a:lnTo>
                  <a:lnTo>
                    <a:pt x="37" y="38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2" name="Freeform 271"/>
            <p:cNvSpPr>
              <a:spLocks noChangeAspect="1"/>
            </p:cNvSpPr>
            <p:nvPr/>
          </p:nvSpPr>
          <p:spPr bwMode="auto">
            <a:xfrm>
              <a:off x="6108814" y="2746225"/>
              <a:ext cx="65055" cy="67448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27" y="0"/>
                </a:cxn>
                <a:cxn ang="0">
                  <a:pos x="86" y="60"/>
                </a:cxn>
                <a:cxn ang="0">
                  <a:pos x="109" y="100"/>
                </a:cxn>
                <a:cxn ang="0">
                  <a:pos x="65" y="113"/>
                </a:cxn>
                <a:cxn ang="0">
                  <a:pos x="18" y="67"/>
                </a:cxn>
                <a:cxn ang="0">
                  <a:pos x="0" y="28"/>
                </a:cxn>
              </a:cxnLst>
              <a:rect l="0" t="0" r="r" b="b"/>
              <a:pathLst>
                <a:path w="109" h="113">
                  <a:moveTo>
                    <a:pt x="0" y="28"/>
                  </a:moveTo>
                  <a:lnTo>
                    <a:pt x="27" y="0"/>
                  </a:lnTo>
                  <a:lnTo>
                    <a:pt x="86" y="60"/>
                  </a:lnTo>
                  <a:lnTo>
                    <a:pt x="109" y="100"/>
                  </a:lnTo>
                  <a:lnTo>
                    <a:pt x="65" y="113"/>
                  </a:lnTo>
                  <a:lnTo>
                    <a:pt x="18" y="67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3" name="Freeform 272"/>
            <p:cNvSpPr>
              <a:spLocks noChangeAspect="1"/>
            </p:cNvSpPr>
            <p:nvPr/>
          </p:nvSpPr>
          <p:spPr bwMode="auto">
            <a:xfrm>
              <a:off x="1335843" y="3236443"/>
              <a:ext cx="66813" cy="19525"/>
            </a:xfrm>
            <a:custGeom>
              <a:avLst/>
              <a:gdLst/>
              <a:ahLst/>
              <a:cxnLst>
                <a:cxn ang="0">
                  <a:pos x="54" y="35"/>
                </a:cxn>
                <a:cxn ang="0">
                  <a:pos x="54" y="35"/>
                </a:cxn>
                <a:cxn ang="0">
                  <a:pos x="42" y="33"/>
                </a:cxn>
                <a:cxn ang="0">
                  <a:pos x="29" y="28"/>
                </a:cxn>
                <a:cxn ang="0">
                  <a:pos x="14" y="23"/>
                </a:cxn>
                <a:cxn ang="0">
                  <a:pos x="5" y="20"/>
                </a:cxn>
                <a:cxn ang="0">
                  <a:pos x="5" y="20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4" y="19"/>
                </a:cxn>
                <a:cxn ang="0">
                  <a:pos x="5" y="18"/>
                </a:cxn>
                <a:cxn ang="0">
                  <a:pos x="6" y="16"/>
                </a:cxn>
                <a:cxn ang="0">
                  <a:pos x="6" y="16"/>
                </a:cxn>
                <a:cxn ang="0">
                  <a:pos x="6" y="14"/>
                </a:cxn>
                <a:cxn ang="0">
                  <a:pos x="9" y="13"/>
                </a:cxn>
                <a:cxn ang="0">
                  <a:pos x="16" y="11"/>
                </a:cxn>
                <a:cxn ang="0">
                  <a:pos x="29" y="11"/>
                </a:cxn>
                <a:cxn ang="0">
                  <a:pos x="46" y="11"/>
                </a:cxn>
                <a:cxn ang="0">
                  <a:pos x="46" y="11"/>
                </a:cxn>
                <a:cxn ang="0">
                  <a:pos x="51" y="10"/>
                </a:cxn>
                <a:cxn ang="0">
                  <a:pos x="59" y="9"/>
                </a:cxn>
                <a:cxn ang="0">
                  <a:pos x="73" y="5"/>
                </a:cxn>
                <a:cxn ang="0">
                  <a:pos x="86" y="1"/>
                </a:cxn>
                <a:cxn ang="0">
                  <a:pos x="93" y="0"/>
                </a:cxn>
                <a:cxn ang="0">
                  <a:pos x="98" y="0"/>
                </a:cxn>
                <a:cxn ang="0">
                  <a:pos x="98" y="0"/>
                </a:cxn>
                <a:cxn ang="0">
                  <a:pos x="100" y="1"/>
                </a:cxn>
                <a:cxn ang="0">
                  <a:pos x="103" y="4"/>
                </a:cxn>
                <a:cxn ang="0">
                  <a:pos x="108" y="10"/>
                </a:cxn>
                <a:cxn ang="0">
                  <a:pos x="112" y="18"/>
                </a:cxn>
                <a:cxn ang="0">
                  <a:pos x="112" y="23"/>
                </a:cxn>
                <a:cxn ang="0">
                  <a:pos x="112" y="23"/>
                </a:cxn>
                <a:cxn ang="0">
                  <a:pos x="110" y="24"/>
                </a:cxn>
                <a:cxn ang="0">
                  <a:pos x="107" y="26"/>
                </a:cxn>
                <a:cxn ang="0">
                  <a:pos x="93" y="31"/>
                </a:cxn>
                <a:cxn ang="0">
                  <a:pos x="74" y="34"/>
                </a:cxn>
                <a:cxn ang="0">
                  <a:pos x="54" y="35"/>
                </a:cxn>
                <a:cxn ang="0">
                  <a:pos x="54" y="35"/>
                </a:cxn>
              </a:cxnLst>
              <a:rect l="0" t="0" r="r" b="b"/>
              <a:pathLst>
                <a:path w="112" h="35">
                  <a:moveTo>
                    <a:pt x="54" y="35"/>
                  </a:moveTo>
                  <a:lnTo>
                    <a:pt x="54" y="35"/>
                  </a:lnTo>
                  <a:lnTo>
                    <a:pt x="42" y="33"/>
                  </a:lnTo>
                  <a:lnTo>
                    <a:pt x="29" y="28"/>
                  </a:lnTo>
                  <a:lnTo>
                    <a:pt x="14" y="23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5" y="18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9" y="13"/>
                  </a:lnTo>
                  <a:lnTo>
                    <a:pt x="16" y="11"/>
                  </a:lnTo>
                  <a:lnTo>
                    <a:pt x="29" y="11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51" y="10"/>
                  </a:lnTo>
                  <a:lnTo>
                    <a:pt x="59" y="9"/>
                  </a:lnTo>
                  <a:lnTo>
                    <a:pt x="73" y="5"/>
                  </a:lnTo>
                  <a:lnTo>
                    <a:pt x="86" y="1"/>
                  </a:lnTo>
                  <a:lnTo>
                    <a:pt x="93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100" y="1"/>
                  </a:lnTo>
                  <a:lnTo>
                    <a:pt x="103" y="4"/>
                  </a:lnTo>
                  <a:lnTo>
                    <a:pt x="108" y="10"/>
                  </a:lnTo>
                  <a:lnTo>
                    <a:pt x="112" y="18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0" y="24"/>
                  </a:lnTo>
                  <a:lnTo>
                    <a:pt x="107" y="26"/>
                  </a:lnTo>
                  <a:lnTo>
                    <a:pt x="93" y="31"/>
                  </a:lnTo>
                  <a:lnTo>
                    <a:pt x="74" y="34"/>
                  </a:lnTo>
                  <a:lnTo>
                    <a:pt x="54" y="35"/>
                  </a:lnTo>
                  <a:lnTo>
                    <a:pt x="54" y="3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4" name="Freeform 273"/>
            <p:cNvSpPr>
              <a:spLocks noChangeAspect="1"/>
            </p:cNvSpPr>
            <p:nvPr/>
          </p:nvSpPr>
          <p:spPr bwMode="auto">
            <a:xfrm>
              <a:off x="1402656" y="1569751"/>
              <a:ext cx="3862843" cy="1464346"/>
            </a:xfrm>
            <a:custGeom>
              <a:avLst/>
              <a:gdLst/>
              <a:ahLst/>
              <a:cxnLst>
                <a:cxn ang="0">
                  <a:pos x="1119" y="1805"/>
                </a:cxn>
                <a:cxn ang="0">
                  <a:pos x="1540" y="1941"/>
                </a:cxn>
                <a:cxn ang="0">
                  <a:pos x="1820" y="1798"/>
                </a:cxn>
                <a:cxn ang="0">
                  <a:pos x="2269" y="1862"/>
                </a:cxn>
                <a:cxn ang="0">
                  <a:pos x="2683" y="2119"/>
                </a:cxn>
                <a:cxn ang="0">
                  <a:pos x="3014" y="2053"/>
                </a:cxn>
                <a:cxn ang="0">
                  <a:pos x="3318" y="2004"/>
                </a:cxn>
                <a:cxn ang="0">
                  <a:pos x="3761" y="2019"/>
                </a:cxn>
                <a:cxn ang="0">
                  <a:pos x="3978" y="1829"/>
                </a:cxn>
                <a:cxn ang="0">
                  <a:pos x="4457" y="2111"/>
                </a:cxn>
                <a:cxn ang="0">
                  <a:pos x="4626" y="2355"/>
                </a:cxn>
                <a:cxn ang="0">
                  <a:pos x="4843" y="2217"/>
                </a:cxn>
                <a:cxn ang="0">
                  <a:pos x="4686" y="1814"/>
                </a:cxn>
                <a:cxn ang="0">
                  <a:pos x="4860" y="1431"/>
                </a:cxn>
                <a:cxn ang="0">
                  <a:pos x="5322" y="1292"/>
                </a:cxn>
                <a:cxn ang="0">
                  <a:pos x="5607" y="1332"/>
                </a:cxn>
                <a:cxn ang="0">
                  <a:pos x="5535" y="1912"/>
                </a:cxn>
                <a:cxn ang="0">
                  <a:pos x="5737" y="1612"/>
                </a:cxn>
                <a:cxn ang="0">
                  <a:pos x="5639" y="1504"/>
                </a:cxn>
                <a:cxn ang="0">
                  <a:pos x="5756" y="1356"/>
                </a:cxn>
                <a:cxn ang="0">
                  <a:pos x="6002" y="1237"/>
                </a:cxn>
                <a:cxn ang="0">
                  <a:pos x="6133" y="1023"/>
                </a:cxn>
                <a:cxn ang="0">
                  <a:pos x="6377" y="1027"/>
                </a:cxn>
                <a:cxn ang="0">
                  <a:pos x="6578" y="953"/>
                </a:cxn>
                <a:cxn ang="0">
                  <a:pos x="6247" y="806"/>
                </a:cxn>
                <a:cxn ang="0">
                  <a:pos x="5835" y="616"/>
                </a:cxn>
                <a:cxn ang="0">
                  <a:pos x="5334" y="644"/>
                </a:cxn>
                <a:cxn ang="0">
                  <a:pos x="4898" y="561"/>
                </a:cxn>
                <a:cxn ang="0">
                  <a:pos x="4425" y="391"/>
                </a:cxn>
                <a:cxn ang="0">
                  <a:pos x="4097" y="498"/>
                </a:cxn>
                <a:cxn ang="0">
                  <a:pos x="3868" y="368"/>
                </a:cxn>
                <a:cxn ang="0">
                  <a:pos x="3161" y="340"/>
                </a:cxn>
                <a:cxn ang="0">
                  <a:pos x="3172" y="134"/>
                </a:cxn>
                <a:cxn ang="0">
                  <a:pos x="2745" y="31"/>
                </a:cxn>
                <a:cxn ang="0">
                  <a:pos x="2517" y="130"/>
                </a:cxn>
                <a:cxn ang="0">
                  <a:pos x="2180" y="276"/>
                </a:cxn>
                <a:cxn ang="0">
                  <a:pos x="2070" y="454"/>
                </a:cxn>
                <a:cxn ang="0">
                  <a:pos x="1900" y="510"/>
                </a:cxn>
                <a:cxn ang="0">
                  <a:pos x="1761" y="482"/>
                </a:cxn>
                <a:cxn ang="0">
                  <a:pos x="1912" y="684"/>
                </a:cxn>
                <a:cxn ang="0">
                  <a:pos x="1951" y="774"/>
                </a:cxn>
                <a:cxn ang="0">
                  <a:pos x="1659" y="898"/>
                </a:cxn>
                <a:cxn ang="0">
                  <a:pos x="1777" y="778"/>
                </a:cxn>
                <a:cxn ang="0">
                  <a:pos x="1722" y="585"/>
                </a:cxn>
                <a:cxn ang="0">
                  <a:pos x="1481" y="537"/>
                </a:cxn>
                <a:cxn ang="0">
                  <a:pos x="1430" y="671"/>
                </a:cxn>
                <a:cxn ang="0">
                  <a:pos x="1181" y="708"/>
                </a:cxn>
                <a:cxn ang="0">
                  <a:pos x="793" y="846"/>
                </a:cxn>
                <a:cxn ang="0">
                  <a:pos x="644" y="889"/>
                </a:cxn>
                <a:cxn ang="0">
                  <a:pos x="482" y="1071"/>
                </a:cxn>
                <a:cxn ang="0">
                  <a:pos x="370" y="1115"/>
                </a:cxn>
                <a:cxn ang="0">
                  <a:pos x="438" y="909"/>
                </a:cxn>
                <a:cxn ang="0">
                  <a:pos x="64" y="749"/>
                </a:cxn>
                <a:cxn ang="0">
                  <a:pos x="163" y="1176"/>
                </a:cxn>
                <a:cxn ang="0">
                  <a:pos x="0" y="1416"/>
                </a:cxn>
                <a:cxn ang="0">
                  <a:pos x="361" y="1911"/>
                </a:cxn>
                <a:cxn ang="0">
                  <a:pos x="531" y="2407"/>
                </a:cxn>
                <a:cxn ang="0">
                  <a:pos x="900" y="2339"/>
                </a:cxn>
              </a:cxnLst>
              <a:rect l="0" t="0" r="r" b="b"/>
              <a:pathLst>
                <a:path w="6591" h="2473">
                  <a:moveTo>
                    <a:pt x="964" y="2280"/>
                  </a:moveTo>
                  <a:lnTo>
                    <a:pt x="999" y="2245"/>
                  </a:lnTo>
                  <a:lnTo>
                    <a:pt x="1018" y="2161"/>
                  </a:lnTo>
                  <a:lnTo>
                    <a:pt x="1059" y="2116"/>
                  </a:lnTo>
                  <a:lnTo>
                    <a:pt x="1055" y="2055"/>
                  </a:lnTo>
                  <a:lnTo>
                    <a:pt x="1003" y="2021"/>
                  </a:lnTo>
                  <a:lnTo>
                    <a:pt x="980" y="1969"/>
                  </a:lnTo>
                  <a:lnTo>
                    <a:pt x="1119" y="1805"/>
                  </a:lnTo>
                  <a:lnTo>
                    <a:pt x="1168" y="1862"/>
                  </a:lnTo>
                  <a:lnTo>
                    <a:pt x="1188" y="1824"/>
                  </a:lnTo>
                  <a:lnTo>
                    <a:pt x="1249" y="1809"/>
                  </a:lnTo>
                  <a:lnTo>
                    <a:pt x="1300" y="1819"/>
                  </a:lnTo>
                  <a:lnTo>
                    <a:pt x="1388" y="1824"/>
                  </a:lnTo>
                  <a:lnTo>
                    <a:pt x="1502" y="1896"/>
                  </a:lnTo>
                  <a:lnTo>
                    <a:pt x="1499" y="1926"/>
                  </a:lnTo>
                  <a:lnTo>
                    <a:pt x="1540" y="1941"/>
                  </a:lnTo>
                  <a:lnTo>
                    <a:pt x="1600" y="1933"/>
                  </a:lnTo>
                  <a:lnTo>
                    <a:pt x="1683" y="1984"/>
                  </a:lnTo>
                  <a:lnTo>
                    <a:pt x="1725" y="1999"/>
                  </a:lnTo>
                  <a:lnTo>
                    <a:pt x="1751" y="1972"/>
                  </a:lnTo>
                  <a:lnTo>
                    <a:pt x="1726" y="1915"/>
                  </a:lnTo>
                  <a:lnTo>
                    <a:pt x="1777" y="1888"/>
                  </a:lnTo>
                  <a:lnTo>
                    <a:pt x="1831" y="1862"/>
                  </a:lnTo>
                  <a:lnTo>
                    <a:pt x="1820" y="1798"/>
                  </a:lnTo>
                  <a:lnTo>
                    <a:pt x="1850" y="1790"/>
                  </a:lnTo>
                  <a:lnTo>
                    <a:pt x="1910" y="1805"/>
                  </a:lnTo>
                  <a:lnTo>
                    <a:pt x="2023" y="1817"/>
                  </a:lnTo>
                  <a:lnTo>
                    <a:pt x="2091" y="1802"/>
                  </a:lnTo>
                  <a:lnTo>
                    <a:pt x="2179" y="1787"/>
                  </a:lnTo>
                  <a:lnTo>
                    <a:pt x="2217" y="1820"/>
                  </a:lnTo>
                  <a:lnTo>
                    <a:pt x="2220" y="1858"/>
                  </a:lnTo>
                  <a:lnTo>
                    <a:pt x="2269" y="1862"/>
                  </a:lnTo>
                  <a:lnTo>
                    <a:pt x="2341" y="1836"/>
                  </a:lnTo>
                  <a:lnTo>
                    <a:pt x="2401" y="1836"/>
                  </a:lnTo>
                  <a:lnTo>
                    <a:pt x="2470" y="1965"/>
                  </a:lnTo>
                  <a:lnTo>
                    <a:pt x="2516" y="1969"/>
                  </a:lnTo>
                  <a:lnTo>
                    <a:pt x="2542" y="2003"/>
                  </a:lnTo>
                  <a:lnTo>
                    <a:pt x="2613" y="2033"/>
                  </a:lnTo>
                  <a:lnTo>
                    <a:pt x="2655" y="2143"/>
                  </a:lnTo>
                  <a:lnTo>
                    <a:pt x="2683" y="2119"/>
                  </a:lnTo>
                  <a:lnTo>
                    <a:pt x="2742" y="2104"/>
                  </a:lnTo>
                  <a:lnTo>
                    <a:pt x="2876" y="2092"/>
                  </a:lnTo>
                  <a:lnTo>
                    <a:pt x="2892" y="2112"/>
                  </a:lnTo>
                  <a:lnTo>
                    <a:pt x="2939" y="2119"/>
                  </a:lnTo>
                  <a:lnTo>
                    <a:pt x="2959" y="2139"/>
                  </a:lnTo>
                  <a:lnTo>
                    <a:pt x="3054" y="2128"/>
                  </a:lnTo>
                  <a:lnTo>
                    <a:pt x="3030" y="2077"/>
                  </a:lnTo>
                  <a:lnTo>
                    <a:pt x="3014" y="2053"/>
                  </a:lnTo>
                  <a:lnTo>
                    <a:pt x="3054" y="2049"/>
                  </a:lnTo>
                  <a:lnTo>
                    <a:pt x="3054" y="1970"/>
                  </a:lnTo>
                  <a:lnTo>
                    <a:pt x="3054" y="1890"/>
                  </a:lnTo>
                  <a:lnTo>
                    <a:pt x="3137" y="1921"/>
                  </a:lnTo>
                  <a:lnTo>
                    <a:pt x="3192" y="1925"/>
                  </a:lnTo>
                  <a:lnTo>
                    <a:pt x="3231" y="1964"/>
                  </a:lnTo>
                  <a:lnTo>
                    <a:pt x="3251" y="2004"/>
                  </a:lnTo>
                  <a:lnTo>
                    <a:pt x="3318" y="2004"/>
                  </a:lnTo>
                  <a:lnTo>
                    <a:pt x="3417" y="2011"/>
                  </a:lnTo>
                  <a:lnTo>
                    <a:pt x="3472" y="2043"/>
                  </a:lnTo>
                  <a:lnTo>
                    <a:pt x="3516" y="2055"/>
                  </a:lnTo>
                  <a:lnTo>
                    <a:pt x="3527" y="2090"/>
                  </a:lnTo>
                  <a:lnTo>
                    <a:pt x="3647" y="2075"/>
                  </a:lnTo>
                  <a:lnTo>
                    <a:pt x="3666" y="2043"/>
                  </a:lnTo>
                  <a:lnTo>
                    <a:pt x="3706" y="2067"/>
                  </a:lnTo>
                  <a:lnTo>
                    <a:pt x="3761" y="2019"/>
                  </a:lnTo>
                  <a:lnTo>
                    <a:pt x="3805" y="2015"/>
                  </a:lnTo>
                  <a:lnTo>
                    <a:pt x="3844" y="2039"/>
                  </a:lnTo>
                  <a:lnTo>
                    <a:pt x="3879" y="2075"/>
                  </a:lnTo>
                  <a:lnTo>
                    <a:pt x="3939" y="2075"/>
                  </a:lnTo>
                  <a:lnTo>
                    <a:pt x="3951" y="1987"/>
                  </a:lnTo>
                  <a:lnTo>
                    <a:pt x="3986" y="1956"/>
                  </a:lnTo>
                  <a:lnTo>
                    <a:pt x="3954" y="1877"/>
                  </a:lnTo>
                  <a:lnTo>
                    <a:pt x="3978" y="1829"/>
                  </a:lnTo>
                  <a:lnTo>
                    <a:pt x="4172" y="1834"/>
                  </a:lnTo>
                  <a:lnTo>
                    <a:pt x="4219" y="1884"/>
                  </a:lnTo>
                  <a:lnTo>
                    <a:pt x="4263" y="1925"/>
                  </a:lnTo>
                  <a:lnTo>
                    <a:pt x="4295" y="1964"/>
                  </a:lnTo>
                  <a:lnTo>
                    <a:pt x="4306" y="2019"/>
                  </a:lnTo>
                  <a:lnTo>
                    <a:pt x="4342" y="2063"/>
                  </a:lnTo>
                  <a:lnTo>
                    <a:pt x="4421" y="2079"/>
                  </a:lnTo>
                  <a:lnTo>
                    <a:pt x="4457" y="2111"/>
                  </a:lnTo>
                  <a:lnTo>
                    <a:pt x="4495" y="2138"/>
                  </a:lnTo>
                  <a:lnTo>
                    <a:pt x="4512" y="2166"/>
                  </a:lnTo>
                  <a:lnTo>
                    <a:pt x="4559" y="2170"/>
                  </a:lnTo>
                  <a:lnTo>
                    <a:pt x="4639" y="2154"/>
                  </a:lnTo>
                  <a:lnTo>
                    <a:pt x="4654" y="2177"/>
                  </a:lnTo>
                  <a:lnTo>
                    <a:pt x="4662" y="2217"/>
                  </a:lnTo>
                  <a:lnTo>
                    <a:pt x="4630" y="2241"/>
                  </a:lnTo>
                  <a:lnTo>
                    <a:pt x="4626" y="2355"/>
                  </a:lnTo>
                  <a:lnTo>
                    <a:pt x="4583" y="2348"/>
                  </a:lnTo>
                  <a:lnTo>
                    <a:pt x="4559" y="2394"/>
                  </a:lnTo>
                  <a:lnTo>
                    <a:pt x="4563" y="2446"/>
                  </a:lnTo>
                  <a:lnTo>
                    <a:pt x="4607" y="2455"/>
                  </a:lnTo>
                  <a:lnTo>
                    <a:pt x="4662" y="2473"/>
                  </a:lnTo>
                  <a:lnTo>
                    <a:pt x="4736" y="2418"/>
                  </a:lnTo>
                  <a:lnTo>
                    <a:pt x="4793" y="2324"/>
                  </a:lnTo>
                  <a:lnTo>
                    <a:pt x="4843" y="2217"/>
                  </a:lnTo>
                  <a:lnTo>
                    <a:pt x="4883" y="2114"/>
                  </a:lnTo>
                  <a:lnTo>
                    <a:pt x="4860" y="2008"/>
                  </a:lnTo>
                  <a:lnTo>
                    <a:pt x="4876" y="1976"/>
                  </a:lnTo>
                  <a:lnTo>
                    <a:pt x="4863" y="1862"/>
                  </a:lnTo>
                  <a:lnTo>
                    <a:pt x="4816" y="1790"/>
                  </a:lnTo>
                  <a:lnTo>
                    <a:pt x="4742" y="1766"/>
                  </a:lnTo>
                  <a:lnTo>
                    <a:pt x="4718" y="1810"/>
                  </a:lnTo>
                  <a:lnTo>
                    <a:pt x="4686" y="1814"/>
                  </a:lnTo>
                  <a:lnTo>
                    <a:pt x="4677" y="1770"/>
                  </a:lnTo>
                  <a:lnTo>
                    <a:pt x="4607" y="1735"/>
                  </a:lnTo>
                  <a:lnTo>
                    <a:pt x="4595" y="1700"/>
                  </a:lnTo>
                  <a:lnTo>
                    <a:pt x="4639" y="1656"/>
                  </a:lnTo>
                  <a:lnTo>
                    <a:pt x="4690" y="1573"/>
                  </a:lnTo>
                  <a:lnTo>
                    <a:pt x="4718" y="1514"/>
                  </a:lnTo>
                  <a:lnTo>
                    <a:pt x="4753" y="1459"/>
                  </a:lnTo>
                  <a:lnTo>
                    <a:pt x="4860" y="1431"/>
                  </a:lnTo>
                  <a:lnTo>
                    <a:pt x="4946" y="1426"/>
                  </a:lnTo>
                  <a:lnTo>
                    <a:pt x="5065" y="1439"/>
                  </a:lnTo>
                  <a:lnTo>
                    <a:pt x="5093" y="1391"/>
                  </a:lnTo>
                  <a:lnTo>
                    <a:pt x="5180" y="1411"/>
                  </a:lnTo>
                  <a:lnTo>
                    <a:pt x="5180" y="1442"/>
                  </a:lnTo>
                  <a:lnTo>
                    <a:pt x="5294" y="1422"/>
                  </a:lnTo>
                  <a:lnTo>
                    <a:pt x="5303" y="1367"/>
                  </a:lnTo>
                  <a:lnTo>
                    <a:pt x="5322" y="1292"/>
                  </a:lnTo>
                  <a:lnTo>
                    <a:pt x="5345" y="1249"/>
                  </a:lnTo>
                  <a:lnTo>
                    <a:pt x="5465" y="1249"/>
                  </a:lnTo>
                  <a:lnTo>
                    <a:pt x="5504" y="1296"/>
                  </a:lnTo>
                  <a:lnTo>
                    <a:pt x="5531" y="1308"/>
                  </a:lnTo>
                  <a:lnTo>
                    <a:pt x="5571" y="1237"/>
                  </a:lnTo>
                  <a:lnTo>
                    <a:pt x="5603" y="1225"/>
                  </a:lnTo>
                  <a:lnTo>
                    <a:pt x="5630" y="1281"/>
                  </a:lnTo>
                  <a:lnTo>
                    <a:pt x="5607" y="1332"/>
                  </a:lnTo>
                  <a:lnTo>
                    <a:pt x="5544" y="1383"/>
                  </a:lnTo>
                  <a:lnTo>
                    <a:pt x="5487" y="1466"/>
                  </a:lnTo>
                  <a:lnTo>
                    <a:pt x="5441" y="1529"/>
                  </a:lnTo>
                  <a:lnTo>
                    <a:pt x="5432" y="1621"/>
                  </a:lnTo>
                  <a:lnTo>
                    <a:pt x="5445" y="1719"/>
                  </a:lnTo>
                  <a:lnTo>
                    <a:pt x="5484" y="1787"/>
                  </a:lnTo>
                  <a:lnTo>
                    <a:pt x="5504" y="1866"/>
                  </a:lnTo>
                  <a:lnTo>
                    <a:pt x="5535" y="1912"/>
                  </a:lnTo>
                  <a:lnTo>
                    <a:pt x="5575" y="1936"/>
                  </a:lnTo>
                  <a:lnTo>
                    <a:pt x="5618" y="1866"/>
                  </a:lnTo>
                  <a:lnTo>
                    <a:pt x="5662" y="1778"/>
                  </a:lnTo>
                  <a:lnTo>
                    <a:pt x="5662" y="1728"/>
                  </a:lnTo>
                  <a:lnTo>
                    <a:pt x="5709" y="1728"/>
                  </a:lnTo>
                  <a:lnTo>
                    <a:pt x="5701" y="1663"/>
                  </a:lnTo>
                  <a:lnTo>
                    <a:pt x="5709" y="1616"/>
                  </a:lnTo>
                  <a:lnTo>
                    <a:pt x="5737" y="1612"/>
                  </a:lnTo>
                  <a:lnTo>
                    <a:pt x="5717" y="1577"/>
                  </a:lnTo>
                  <a:lnTo>
                    <a:pt x="5666" y="1522"/>
                  </a:lnTo>
                  <a:lnTo>
                    <a:pt x="5666" y="1522"/>
                  </a:lnTo>
                  <a:lnTo>
                    <a:pt x="5662" y="1520"/>
                  </a:lnTo>
                  <a:lnTo>
                    <a:pt x="5652" y="1517"/>
                  </a:lnTo>
                  <a:lnTo>
                    <a:pt x="5647" y="1514"/>
                  </a:lnTo>
                  <a:lnTo>
                    <a:pt x="5643" y="1510"/>
                  </a:lnTo>
                  <a:lnTo>
                    <a:pt x="5639" y="1504"/>
                  </a:lnTo>
                  <a:lnTo>
                    <a:pt x="5638" y="1498"/>
                  </a:lnTo>
                  <a:lnTo>
                    <a:pt x="5638" y="1498"/>
                  </a:lnTo>
                  <a:lnTo>
                    <a:pt x="5639" y="1489"/>
                  </a:lnTo>
                  <a:lnTo>
                    <a:pt x="5640" y="1479"/>
                  </a:lnTo>
                  <a:lnTo>
                    <a:pt x="5645" y="1455"/>
                  </a:lnTo>
                  <a:lnTo>
                    <a:pt x="5654" y="1426"/>
                  </a:lnTo>
                  <a:lnTo>
                    <a:pt x="5682" y="1391"/>
                  </a:lnTo>
                  <a:lnTo>
                    <a:pt x="5756" y="1356"/>
                  </a:lnTo>
                  <a:lnTo>
                    <a:pt x="5796" y="1328"/>
                  </a:lnTo>
                  <a:lnTo>
                    <a:pt x="5851" y="1316"/>
                  </a:lnTo>
                  <a:lnTo>
                    <a:pt x="5887" y="1328"/>
                  </a:lnTo>
                  <a:lnTo>
                    <a:pt x="5919" y="1367"/>
                  </a:lnTo>
                  <a:lnTo>
                    <a:pt x="5942" y="1387"/>
                  </a:lnTo>
                  <a:lnTo>
                    <a:pt x="5969" y="1304"/>
                  </a:lnTo>
                  <a:lnTo>
                    <a:pt x="5993" y="1281"/>
                  </a:lnTo>
                  <a:lnTo>
                    <a:pt x="6002" y="1237"/>
                  </a:lnTo>
                  <a:lnTo>
                    <a:pt x="6065" y="1240"/>
                  </a:lnTo>
                  <a:lnTo>
                    <a:pt x="6124" y="1198"/>
                  </a:lnTo>
                  <a:lnTo>
                    <a:pt x="6160" y="1190"/>
                  </a:lnTo>
                  <a:lnTo>
                    <a:pt x="6227" y="1218"/>
                  </a:lnTo>
                  <a:lnTo>
                    <a:pt x="6243" y="1181"/>
                  </a:lnTo>
                  <a:lnTo>
                    <a:pt x="6183" y="1106"/>
                  </a:lnTo>
                  <a:lnTo>
                    <a:pt x="6100" y="1051"/>
                  </a:lnTo>
                  <a:lnTo>
                    <a:pt x="6133" y="1023"/>
                  </a:lnTo>
                  <a:lnTo>
                    <a:pt x="6188" y="988"/>
                  </a:lnTo>
                  <a:lnTo>
                    <a:pt x="6168" y="957"/>
                  </a:lnTo>
                  <a:lnTo>
                    <a:pt x="6168" y="905"/>
                  </a:lnTo>
                  <a:lnTo>
                    <a:pt x="6219" y="889"/>
                  </a:lnTo>
                  <a:lnTo>
                    <a:pt x="6238" y="944"/>
                  </a:lnTo>
                  <a:lnTo>
                    <a:pt x="6254" y="988"/>
                  </a:lnTo>
                  <a:lnTo>
                    <a:pt x="6341" y="992"/>
                  </a:lnTo>
                  <a:lnTo>
                    <a:pt x="6377" y="1027"/>
                  </a:lnTo>
                  <a:lnTo>
                    <a:pt x="6436" y="1032"/>
                  </a:lnTo>
                  <a:lnTo>
                    <a:pt x="6468" y="1078"/>
                  </a:lnTo>
                  <a:lnTo>
                    <a:pt x="6499" y="1091"/>
                  </a:lnTo>
                  <a:lnTo>
                    <a:pt x="6539" y="1051"/>
                  </a:lnTo>
                  <a:lnTo>
                    <a:pt x="6499" y="1004"/>
                  </a:lnTo>
                  <a:lnTo>
                    <a:pt x="6512" y="968"/>
                  </a:lnTo>
                  <a:lnTo>
                    <a:pt x="6547" y="968"/>
                  </a:lnTo>
                  <a:lnTo>
                    <a:pt x="6578" y="953"/>
                  </a:lnTo>
                  <a:lnTo>
                    <a:pt x="6591" y="892"/>
                  </a:lnTo>
                  <a:lnTo>
                    <a:pt x="6503" y="892"/>
                  </a:lnTo>
                  <a:lnTo>
                    <a:pt x="6451" y="861"/>
                  </a:lnTo>
                  <a:lnTo>
                    <a:pt x="6381" y="870"/>
                  </a:lnTo>
                  <a:lnTo>
                    <a:pt x="6361" y="901"/>
                  </a:lnTo>
                  <a:lnTo>
                    <a:pt x="6333" y="850"/>
                  </a:lnTo>
                  <a:lnTo>
                    <a:pt x="6313" y="822"/>
                  </a:lnTo>
                  <a:lnTo>
                    <a:pt x="6247" y="806"/>
                  </a:lnTo>
                  <a:lnTo>
                    <a:pt x="6238" y="767"/>
                  </a:lnTo>
                  <a:lnTo>
                    <a:pt x="6148" y="767"/>
                  </a:lnTo>
                  <a:lnTo>
                    <a:pt x="6109" y="719"/>
                  </a:lnTo>
                  <a:lnTo>
                    <a:pt x="6045" y="688"/>
                  </a:lnTo>
                  <a:lnTo>
                    <a:pt x="5989" y="679"/>
                  </a:lnTo>
                  <a:lnTo>
                    <a:pt x="5927" y="656"/>
                  </a:lnTo>
                  <a:lnTo>
                    <a:pt x="5899" y="636"/>
                  </a:lnTo>
                  <a:lnTo>
                    <a:pt x="5835" y="616"/>
                  </a:lnTo>
                  <a:lnTo>
                    <a:pt x="5752" y="616"/>
                  </a:lnTo>
                  <a:lnTo>
                    <a:pt x="5650" y="605"/>
                  </a:lnTo>
                  <a:lnTo>
                    <a:pt x="5638" y="668"/>
                  </a:lnTo>
                  <a:lnTo>
                    <a:pt x="5590" y="675"/>
                  </a:lnTo>
                  <a:lnTo>
                    <a:pt x="5563" y="644"/>
                  </a:lnTo>
                  <a:lnTo>
                    <a:pt x="5511" y="656"/>
                  </a:lnTo>
                  <a:lnTo>
                    <a:pt x="5445" y="633"/>
                  </a:lnTo>
                  <a:lnTo>
                    <a:pt x="5334" y="644"/>
                  </a:lnTo>
                  <a:lnTo>
                    <a:pt x="5310" y="684"/>
                  </a:lnTo>
                  <a:lnTo>
                    <a:pt x="5270" y="671"/>
                  </a:lnTo>
                  <a:lnTo>
                    <a:pt x="5219" y="629"/>
                  </a:lnTo>
                  <a:lnTo>
                    <a:pt x="5168" y="572"/>
                  </a:lnTo>
                  <a:lnTo>
                    <a:pt x="5042" y="545"/>
                  </a:lnTo>
                  <a:lnTo>
                    <a:pt x="4998" y="557"/>
                  </a:lnTo>
                  <a:lnTo>
                    <a:pt x="4970" y="569"/>
                  </a:lnTo>
                  <a:lnTo>
                    <a:pt x="4898" y="561"/>
                  </a:lnTo>
                  <a:lnTo>
                    <a:pt x="4812" y="513"/>
                  </a:lnTo>
                  <a:lnTo>
                    <a:pt x="4757" y="486"/>
                  </a:lnTo>
                  <a:lnTo>
                    <a:pt x="4745" y="462"/>
                  </a:lnTo>
                  <a:lnTo>
                    <a:pt x="4611" y="462"/>
                  </a:lnTo>
                  <a:lnTo>
                    <a:pt x="4571" y="478"/>
                  </a:lnTo>
                  <a:lnTo>
                    <a:pt x="4532" y="430"/>
                  </a:lnTo>
                  <a:lnTo>
                    <a:pt x="4457" y="430"/>
                  </a:lnTo>
                  <a:lnTo>
                    <a:pt x="4425" y="391"/>
                  </a:lnTo>
                  <a:lnTo>
                    <a:pt x="4381" y="415"/>
                  </a:lnTo>
                  <a:lnTo>
                    <a:pt x="4342" y="443"/>
                  </a:lnTo>
                  <a:lnTo>
                    <a:pt x="4370" y="506"/>
                  </a:lnTo>
                  <a:lnTo>
                    <a:pt x="4311" y="517"/>
                  </a:lnTo>
                  <a:lnTo>
                    <a:pt x="4239" y="506"/>
                  </a:lnTo>
                  <a:lnTo>
                    <a:pt x="4184" y="502"/>
                  </a:lnTo>
                  <a:lnTo>
                    <a:pt x="4148" y="522"/>
                  </a:lnTo>
                  <a:lnTo>
                    <a:pt x="4097" y="498"/>
                  </a:lnTo>
                  <a:lnTo>
                    <a:pt x="4070" y="467"/>
                  </a:lnTo>
                  <a:lnTo>
                    <a:pt x="4061" y="517"/>
                  </a:lnTo>
                  <a:lnTo>
                    <a:pt x="3991" y="526"/>
                  </a:lnTo>
                  <a:lnTo>
                    <a:pt x="3899" y="494"/>
                  </a:lnTo>
                  <a:lnTo>
                    <a:pt x="3844" y="474"/>
                  </a:lnTo>
                  <a:lnTo>
                    <a:pt x="3860" y="443"/>
                  </a:lnTo>
                  <a:lnTo>
                    <a:pt x="3899" y="430"/>
                  </a:lnTo>
                  <a:lnTo>
                    <a:pt x="3868" y="368"/>
                  </a:lnTo>
                  <a:lnTo>
                    <a:pt x="3792" y="340"/>
                  </a:lnTo>
                  <a:lnTo>
                    <a:pt x="3693" y="348"/>
                  </a:lnTo>
                  <a:lnTo>
                    <a:pt x="3662" y="423"/>
                  </a:lnTo>
                  <a:lnTo>
                    <a:pt x="3588" y="395"/>
                  </a:lnTo>
                  <a:lnTo>
                    <a:pt x="3520" y="364"/>
                  </a:lnTo>
                  <a:lnTo>
                    <a:pt x="3417" y="340"/>
                  </a:lnTo>
                  <a:lnTo>
                    <a:pt x="3227" y="340"/>
                  </a:lnTo>
                  <a:lnTo>
                    <a:pt x="3161" y="340"/>
                  </a:lnTo>
                  <a:lnTo>
                    <a:pt x="3093" y="368"/>
                  </a:lnTo>
                  <a:lnTo>
                    <a:pt x="2999" y="399"/>
                  </a:lnTo>
                  <a:lnTo>
                    <a:pt x="3045" y="344"/>
                  </a:lnTo>
                  <a:lnTo>
                    <a:pt x="3141" y="296"/>
                  </a:lnTo>
                  <a:lnTo>
                    <a:pt x="3180" y="276"/>
                  </a:lnTo>
                  <a:lnTo>
                    <a:pt x="3227" y="229"/>
                  </a:lnTo>
                  <a:lnTo>
                    <a:pt x="3235" y="162"/>
                  </a:lnTo>
                  <a:lnTo>
                    <a:pt x="3172" y="134"/>
                  </a:lnTo>
                  <a:lnTo>
                    <a:pt x="3145" y="91"/>
                  </a:lnTo>
                  <a:lnTo>
                    <a:pt x="2994" y="79"/>
                  </a:lnTo>
                  <a:lnTo>
                    <a:pt x="2966" y="110"/>
                  </a:lnTo>
                  <a:lnTo>
                    <a:pt x="2915" y="86"/>
                  </a:lnTo>
                  <a:lnTo>
                    <a:pt x="2896" y="51"/>
                  </a:lnTo>
                  <a:lnTo>
                    <a:pt x="2856" y="20"/>
                  </a:lnTo>
                  <a:lnTo>
                    <a:pt x="2821" y="0"/>
                  </a:lnTo>
                  <a:lnTo>
                    <a:pt x="2745" y="31"/>
                  </a:lnTo>
                  <a:lnTo>
                    <a:pt x="2729" y="91"/>
                  </a:lnTo>
                  <a:lnTo>
                    <a:pt x="2714" y="114"/>
                  </a:lnTo>
                  <a:lnTo>
                    <a:pt x="2749" y="127"/>
                  </a:lnTo>
                  <a:lnTo>
                    <a:pt x="2698" y="154"/>
                  </a:lnTo>
                  <a:lnTo>
                    <a:pt x="2624" y="138"/>
                  </a:lnTo>
                  <a:lnTo>
                    <a:pt x="2572" y="147"/>
                  </a:lnTo>
                  <a:lnTo>
                    <a:pt x="2548" y="169"/>
                  </a:lnTo>
                  <a:lnTo>
                    <a:pt x="2517" y="130"/>
                  </a:lnTo>
                  <a:lnTo>
                    <a:pt x="2473" y="150"/>
                  </a:lnTo>
                  <a:lnTo>
                    <a:pt x="2433" y="138"/>
                  </a:lnTo>
                  <a:lnTo>
                    <a:pt x="2429" y="178"/>
                  </a:lnTo>
                  <a:lnTo>
                    <a:pt x="2350" y="182"/>
                  </a:lnTo>
                  <a:lnTo>
                    <a:pt x="2280" y="189"/>
                  </a:lnTo>
                  <a:lnTo>
                    <a:pt x="2232" y="217"/>
                  </a:lnTo>
                  <a:lnTo>
                    <a:pt x="2180" y="237"/>
                  </a:lnTo>
                  <a:lnTo>
                    <a:pt x="2180" y="276"/>
                  </a:lnTo>
                  <a:lnTo>
                    <a:pt x="2219" y="289"/>
                  </a:lnTo>
                  <a:lnTo>
                    <a:pt x="2232" y="340"/>
                  </a:lnTo>
                  <a:lnTo>
                    <a:pt x="2160" y="331"/>
                  </a:lnTo>
                  <a:lnTo>
                    <a:pt x="2070" y="336"/>
                  </a:lnTo>
                  <a:lnTo>
                    <a:pt x="2018" y="355"/>
                  </a:lnTo>
                  <a:lnTo>
                    <a:pt x="2007" y="407"/>
                  </a:lnTo>
                  <a:lnTo>
                    <a:pt x="2030" y="450"/>
                  </a:lnTo>
                  <a:lnTo>
                    <a:pt x="2070" y="454"/>
                  </a:lnTo>
                  <a:lnTo>
                    <a:pt x="2101" y="494"/>
                  </a:lnTo>
                  <a:lnTo>
                    <a:pt x="2129" y="545"/>
                  </a:lnTo>
                  <a:lnTo>
                    <a:pt x="2125" y="585"/>
                  </a:lnTo>
                  <a:lnTo>
                    <a:pt x="2057" y="517"/>
                  </a:lnTo>
                  <a:lnTo>
                    <a:pt x="1991" y="498"/>
                  </a:lnTo>
                  <a:lnTo>
                    <a:pt x="1959" y="454"/>
                  </a:lnTo>
                  <a:lnTo>
                    <a:pt x="1919" y="458"/>
                  </a:lnTo>
                  <a:lnTo>
                    <a:pt x="1900" y="510"/>
                  </a:lnTo>
                  <a:lnTo>
                    <a:pt x="1919" y="537"/>
                  </a:lnTo>
                  <a:lnTo>
                    <a:pt x="1923" y="565"/>
                  </a:lnTo>
                  <a:lnTo>
                    <a:pt x="1868" y="545"/>
                  </a:lnTo>
                  <a:lnTo>
                    <a:pt x="1812" y="498"/>
                  </a:lnTo>
                  <a:lnTo>
                    <a:pt x="1805" y="438"/>
                  </a:lnTo>
                  <a:lnTo>
                    <a:pt x="1781" y="403"/>
                  </a:lnTo>
                  <a:lnTo>
                    <a:pt x="1753" y="434"/>
                  </a:lnTo>
                  <a:lnTo>
                    <a:pt x="1761" y="482"/>
                  </a:lnTo>
                  <a:lnTo>
                    <a:pt x="1753" y="513"/>
                  </a:lnTo>
                  <a:lnTo>
                    <a:pt x="1761" y="545"/>
                  </a:lnTo>
                  <a:lnTo>
                    <a:pt x="1785" y="553"/>
                  </a:lnTo>
                  <a:lnTo>
                    <a:pt x="1794" y="640"/>
                  </a:lnTo>
                  <a:lnTo>
                    <a:pt x="1801" y="684"/>
                  </a:lnTo>
                  <a:lnTo>
                    <a:pt x="1860" y="692"/>
                  </a:lnTo>
                  <a:lnTo>
                    <a:pt x="1868" y="668"/>
                  </a:lnTo>
                  <a:lnTo>
                    <a:pt x="1912" y="684"/>
                  </a:lnTo>
                  <a:lnTo>
                    <a:pt x="1939" y="695"/>
                  </a:lnTo>
                  <a:lnTo>
                    <a:pt x="1959" y="723"/>
                  </a:lnTo>
                  <a:lnTo>
                    <a:pt x="1971" y="767"/>
                  </a:lnTo>
                  <a:lnTo>
                    <a:pt x="1995" y="786"/>
                  </a:lnTo>
                  <a:lnTo>
                    <a:pt x="2022" y="802"/>
                  </a:lnTo>
                  <a:lnTo>
                    <a:pt x="2022" y="833"/>
                  </a:lnTo>
                  <a:lnTo>
                    <a:pt x="1983" y="810"/>
                  </a:lnTo>
                  <a:lnTo>
                    <a:pt x="1951" y="774"/>
                  </a:lnTo>
                  <a:lnTo>
                    <a:pt x="1904" y="739"/>
                  </a:lnTo>
                  <a:lnTo>
                    <a:pt x="1856" y="739"/>
                  </a:lnTo>
                  <a:lnTo>
                    <a:pt x="1849" y="754"/>
                  </a:lnTo>
                  <a:lnTo>
                    <a:pt x="1840" y="791"/>
                  </a:lnTo>
                  <a:lnTo>
                    <a:pt x="1816" y="842"/>
                  </a:lnTo>
                  <a:lnTo>
                    <a:pt x="1785" y="901"/>
                  </a:lnTo>
                  <a:lnTo>
                    <a:pt x="1733" y="920"/>
                  </a:lnTo>
                  <a:lnTo>
                    <a:pt x="1659" y="898"/>
                  </a:lnTo>
                  <a:lnTo>
                    <a:pt x="1671" y="870"/>
                  </a:lnTo>
                  <a:lnTo>
                    <a:pt x="1718" y="854"/>
                  </a:lnTo>
                  <a:lnTo>
                    <a:pt x="1761" y="830"/>
                  </a:lnTo>
                  <a:lnTo>
                    <a:pt x="1761" y="830"/>
                  </a:lnTo>
                  <a:lnTo>
                    <a:pt x="1770" y="810"/>
                  </a:lnTo>
                  <a:lnTo>
                    <a:pt x="1775" y="793"/>
                  </a:lnTo>
                  <a:lnTo>
                    <a:pt x="1776" y="786"/>
                  </a:lnTo>
                  <a:lnTo>
                    <a:pt x="1777" y="778"/>
                  </a:lnTo>
                  <a:lnTo>
                    <a:pt x="1777" y="778"/>
                  </a:lnTo>
                  <a:lnTo>
                    <a:pt x="1776" y="771"/>
                  </a:lnTo>
                  <a:lnTo>
                    <a:pt x="1774" y="761"/>
                  </a:lnTo>
                  <a:lnTo>
                    <a:pt x="1766" y="737"/>
                  </a:lnTo>
                  <a:lnTo>
                    <a:pt x="1753" y="708"/>
                  </a:lnTo>
                  <a:lnTo>
                    <a:pt x="1737" y="664"/>
                  </a:lnTo>
                  <a:lnTo>
                    <a:pt x="1737" y="629"/>
                  </a:lnTo>
                  <a:lnTo>
                    <a:pt x="1722" y="585"/>
                  </a:lnTo>
                  <a:lnTo>
                    <a:pt x="1710" y="530"/>
                  </a:lnTo>
                  <a:lnTo>
                    <a:pt x="1691" y="450"/>
                  </a:lnTo>
                  <a:lnTo>
                    <a:pt x="1674" y="391"/>
                  </a:lnTo>
                  <a:lnTo>
                    <a:pt x="1635" y="344"/>
                  </a:lnTo>
                  <a:lnTo>
                    <a:pt x="1575" y="351"/>
                  </a:lnTo>
                  <a:lnTo>
                    <a:pt x="1544" y="427"/>
                  </a:lnTo>
                  <a:lnTo>
                    <a:pt x="1532" y="506"/>
                  </a:lnTo>
                  <a:lnTo>
                    <a:pt x="1481" y="537"/>
                  </a:lnTo>
                  <a:lnTo>
                    <a:pt x="1485" y="589"/>
                  </a:lnTo>
                  <a:lnTo>
                    <a:pt x="1516" y="636"/>
                  </a:lnTo>
                  <a:lnTo>
                    <a:pt x="1553" y="688"/>
                  </a:lnTo>
                  <a:lnTo>
                    <a:pt x="1580" y="723"/>
                  </a:lnTo>
                  <a:lnTo>
                    <a:pt x="1591" y="758"/>
                  </a:lnTo>
                  <a:lnTo>
                    <a:pt x="1548" y="774"/>
                  </a:lnTo>
                  <a:lnTo>
                    <a:pt x="1505" y="715"/>
                  </a:lnTo>
                  <a:lnTo>
                    <a:pt x="1430" y="671"/>
                  </a:lnTo>
                  <a:lnTo>
                    <a:pt x="1339" y="648"/>
                  </a:lnTo>
                  <a:lnTo>
                    <a:pt x="1264" y="644"/>
                  </a:lnTo>
                  <a:lnTo>
                    <a:pt x="1244" y="675"/>
                  </a:lnTo>
                  <a:lnTo>
                    <a:pt x="1268" y="692"/>
                  </a:lnTo>
                  <a:lnTo>
                    <a:pt x="1264" y="751"/>
                  </a:lnTo>
                  <a:lnTo>
                    <a:pt x="1224" y="763"/>
                  </a:lnTo>
                  <a:lnTo>
                    <a:pt x="1212" y="712"/>
                  </a:lnTo>
                  <a:lnTo>
                    <a:pt x="1181" y="708"/>
                  </a:lnTo>
                  <a:lnTo>
                    <a:pt x="1148" y="747"/>
                  </a:lnTo>
                  <a:lnTo>
                    <a:pt x="1054" y="747"/>
                  </a:lnTo>
                  <a:lnTo>
                    <a:pt x="1019" y="786"/>
                  </a:lnTo>
                  <a:lnTo>
                    <a:pt x="991" y="739"/>
                  </a:lnTo>
                  <a:lnTo>
                    <a:pt x="959" y="747"/>
                  </a:lnTo>
                  <a:lnTo>
                    <a:pt x="907" y="771"/>
                  </a:lnTo>
                  <a:lnTo>
                    <a:pt x="857" y="791"/>
                  </a:lnTo>
                  <a:lnTo>
                    <a:pt x="793" y="846"/>
                  </a:lnTo>
                  <a:lnTo>
                    <a:pt x="726" y="877"/>
                  </a:lnTo>
                  <a:lnTo>
                    <a:pt x="703" y="833"/>
                  </a:lnTo>
                  <a:lnTo>
                    <a:pt x="703" y="798"/>
                  </a:lnTo>
                  <a:lnTo>
                    <a:pt x="659" y="751"/>
                  </a:lnTo>
                  <a:lnTo>
                    <a:pt x="592" y="758"/>
                  </a:lnTo>
                  <a:lnTo>
                    <a:pt x="607" y="798"/>
                  </a:lnTo>
                  <a:lnTo>
                    <a:pt x="624" y="846"/>
                  </a:lnTo>
                  <a:lnTo>
                    <a:pt x="644" y="889"/>
                  </a:lnTo>
                  <a:lnTo>
                    <a:pt x="647" y="944"/>
                  </a:lnTo>
                  <a:lnTo>
                    <a:pt x="600" y="920"/>
                  </a:lnTo>
                  <a:lnTo>
                    <a:pt x="552" y="913"/>
                  </a:lnTo>
                  <a:lnTo>
                    <a:pt x="524" y="944"/>
                  </a:lnTo>
                  <a:lnTo>
                    <a:pt x="465" y="960"/>
                  </a:lnTo>
                  <a:lnTo>
                    <a:pt x="462" y="999"/>
                  </a:lnTo>
                  <a:lnTo>
                    <a:pt x="497" y="1019"/>
                  </a:lnTo>
                  <a:lnTo>
                    <a:pt x="482" y="1071"/>
                  </a:lnTo>
                  <a:lnTo>
                    <a:pt x="438" y="1071"/>
                  </a:lnTo>
                  <a:lnTo>
                    <a:pt x="438" y="1019"/>
                  </a:lnTo>
                  <a:lnTo>
                    <a:pt x="390" y="999"/>
                  </a:lnTo>
                  <a:lnTo>
                    <a:pt x="347" y="1019"/>
                  </a:lnTo>
                  <a:lnTo>
                    <a:pt x="351" y="1060"/>
                  </a:lnTo>
                  <a:lnTo>
                    <a:pt x="382" y="1071"/>
                  </a:lnTo>
                  <a:lnTo>
                    <a:pt x="394" y="1091"/>
                  </a:lnTo>
                  <a:lnTo>
                    <a:pt x="370" y="1115"/>
                  </a:lnTo>
                  <a:lnTo>
                    <a:pt x="323" y="1078"/>
                  </a:lnTo>
                  <a:lnTo>
                    <a:pt x="287" y="1032"/>
                  </a:lnTo>
                  <a:lnTo>
                    <a:pt x="263" y="984"/>
                  </a:lnTo>
                  <a:lnTo>
                    <a:pt x="252" y="916"/>
                  </a:lnTo>
                  <a:lnTo>
                    <a:pt x="232" y="889"/>
                  </a:lnTo>
                  <a:lnTo>
                    <a:pt x="283" y="905"/>
                  </a:lnTo>
                  <a:lnTo>
                    <a:pt x="362" y="929"/>
                  </a:lnTo>
                  <a:lnTo>
                    <a:pt x="438" y="909"/>
                  </a:lnTo>
                  <a:lnTo>
                    <a:pt x="469" y="877"/>
                  </a:lnTo>
                  <a:lnTo>
                    <a:pt x="489" y="842"/>
                  </a:lnTo>
                  <a:lnTo>
                    <a:pt x="410" y="782"/>
                  </a:lnTo>
                  <a:lnTo>
                    <a:pt x="315" y="739"/>
                  </a:lnTo>
                  <a:lnTo>
                    <a:pt x="217" y="684"/>
                  </a:lnTo>
                  <a:lnTo>
                    <a:pt x="169" y="660"/>
                  </a:lnTo>
                  <a:lnTo>
                    <a:pt x="115" y="694"/>
                  </a:lnTo>
                  <a:lnTo>
                    <a:pt x="64" y="749"/>
                  </a:lnTo>
                  <a:lnTo>
                    <a:pt x="43" y="798"/>
                  </a:lnTo>
                  <a:lnTo>
                    <a:pt x="43" y="849"/>
                  </a:lnTo>
                  <a:lnTo>
                    <a:pt x="60" y="911"/>
                  </a:lnTo>
                  <a:lnTo>
                    <a:pt x="64" y="987"/>
                  </a:lnTo>
                  <a:lnTo>
                    <a:pt x="84" y="1049"/>
                  </a:lnTo>
                  <a:lnTo>
                    <a:pt x="108" y="1121"/>
                  </a:lnTo>
                  <a:lnTo>
                    <a:pt x="130" y="1149"/>
                  </a:lnTo>
                  <a:lnTo>
                    <a:pt x="163" y="1176"/>
                  </a:lnTo>
                  <a:lnTo>
                    <a:pt x="163" y="1176"/>
                  </a:lnTo>
                  <a:lnTo>
                    <a:pt x="128" y="1206"/>
                  </a:lnTo>
                  <a:lnTo>
                    <a:pt x="80" y="1258"/>
                  </a:lnTo>
                  <a:lnTo>
                    <a:pt x="37" y="1309"/>
                  </a:lnTo>
                  <a:lnTo>
                    <a:pt x="25" y="1353"/>
                  </a:lnTo>
                  <a:lnTo>
                    <a:pt x="28" y="1405"/>
                  </a:lnTo>
                  <a:lnTo>
                    <a:pt x="28" y="1405"/>
                  </a:lnTo>
                  <a:lnTo>
                    <a:pt x="0" y="1416"/>
                  </a:lnTo>
                  <a:lnTo>
                    <a:pt x="50" y="1488"/>
                  </a:lnTo>
                  <a:lnTo>
                    <a:pt x="121" y="1552"/>
                  </a:lnTo>
                  <a:lnTo>
                    <a:pt x="247" y="1601"/>
                  </a:lnTo>
                  <a:lnTo>
                    <a:pt x="256" y="1765"/>
                  </a:lnTo>
                  <a:lnTo>
                    <a:pt x="237" y="1784"/>
                  </a:lnTo>
                  <a:lnTo>
                    <a:pt x="217" y="1851"/>
                  </a:lnTo>
                  <a:lnTo>
                    <a:pt x="335" y="1843"/>
                  </a:lnTo>
                  <a:lnTo>
                    <a:pt x="361" y="1911"/>
                  </a:lnTo>
                  <a:lnTo>
                    <a:pt x="541" y="2062"/>
                  </a:lnTo>
                  <a:lnTo>
                    <a:pt x="513" y="2201"/>
                  </a:lnTo>
                  <a:lnTo>
                    <a:pt x="537" y="2225"/>
                  </a:lnTo>
                  <a:lnTo>
                    <a:pt x="489" y="2269"/>
                  </a:lnTo>
                  <a:lnTo>
                    <a:pt x="449" y="2308"/>
                  </a:lnTo>
                  <a:lnTo>
                    <a:pt x="438" y="2339"/>
                  </a:lnTo>
                  <a:lnTo>
                    <a:pt x="497" y="2372"/>
                  </a:lnTo>
                  <a:lnTo>
                    <a:pt x="531" y="2407"/>
                  </a:lnTo>
                  <a:lnTo>
                    <a:pt x="629" y="2350"/>
                  </a:lnTo>
                  <a:lnTo>
                    <a:pt x="685" y="2380"/>
                  </a:lnTo>
                  <a:lnTo>
                    <a:pt x="723" y="2380"/>
                  </a:lnTo>
                  <a:lnTo>
                    <a:pt x="764" y="2418"/>
                  </a:lnTo>
                  <a:lnTo>
                    <a:pt x="809" y="2471"/>
                  </a:lnTo>
                  <a:lnTo>
                    <a:pt x="900" y="2446"/>
                  </a:lnTo>
                  <a:lnTo>
                    <a:pt x="876" y="2383"/>
                  </a:lnTo>
                  <a:lnTo>
                    <a:pt x="900" y="2339"/>
                  </a:lnTo>
                  <a:lnTo>
                    <a:pt x="964" y="2280"/>
                  </a:lnTo>
                  <a:close/>
                </a:path>
              </a:pathLst>
            </a:custGeom>
            <a:solidFill>
              <a:srgbClr val="A0AEC4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45" name="Freeform 274"/>
            <p:cNvSpPr>
              <a:spLocks noChangeAspect="1"/>
            </p:cNvSpPr>
            <p:nvPr/>
          </p:nvSpPr>
          <p:spPr bwMode="auto">
            <a:xfrm>
              <a:off x="1945951" y="3476063"/>
              <a:ext cx="36923" cy="46149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4" y="8"/>
                </a:cxn>
                <a:cxn ang="0">
                  <a:pos x="32" y="0"/>
                </a:cxn>
                <a:cxn ang="0">
                  <a:pos x="64" y="79"/>
                </a:cxn>
                <a:cxn ang="0">
                  <a:pos x="0" y="75"/>
                </a:cxn>
              </a:cxnLst>
              <a:rect l="0" t="0" r="r" b="b"/>
              <a:pathLst>
                <a:path w="64" h="79">
                  <a:moveTo>
                    <a:pt x="0" y="75"/>
                  </a:moveTo>
                  <a:lnTo>
                    <a:pt x="4" y="8"/>
                  </a:lnTo>
                  <a:lnTo>
                    <a:pt x="32" y="0"/>
                  </a:lnTo>
                  <a:lnTo>
                    <a:pt x="64" y="79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6" name="Freeform 275"/>
            <p:cNvSpPr>
              <a:spLocks noChangeAspect="1"/>
            </p:cNvSpPr>
            <p:nvPr/>
          </p:nvSpPr>
          <p:spPr bwMode="auto">
            <a:xfrm>
              <a:off x="1223316" y="2583256"/>
              <a:ext cx="29890" cy="26624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53" y="45"/>
                </a:cxn>
                <a:cxn ang="0">
                  <a:pos x="49" y="24"/>
                </a:cxn>
                <a:cxn ang="0">
                  <a:pos x="17" y="0"/>
                </a:cxn>
                <a:cxn ang="0">
                  <a:pos x="0" y="28"/>
                </a:cxn>
              </a:cxnLst>
              <a:rect l="0" t="0" r="r" b="b"/>
              <a:pathLst>
                <a:path w="53" h="45">
                  <a:moveTo>
                    <a:pt x="0" y="28"/>
                  </a:moveTo>
                  <a:lnTo>
                    <a:pt x="53" y="45"/>
                  </a:lnTo>
                  <a:lnTo>
                    <a:pt x="49" y="24"/>
                  </a:lnTo>
                  <a:lnTo>
                    <a:pt x="17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7" name="Freeform 276"/>
            <p:cNvSpPr>
              <a:spLocks noChangeAspect="1"/>
            </p:cNvSpPr>
            <p:nvPr/>
          </p:nvSpPr>
          <p:spPr bwMode="auto">
            <a:xfrm>
              <a:off x="1400898" y="2861925"/>
              <a:ext cx="87911" cy="108273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54" y="0"/>
                </a:cxn>
                <a:cxn ang="0">
                  <a:pos x="97" y="23"/>
                </a:cxn>
                <a:cxn ang="0">
                  <a:pos x="151" y="111"/>
                </a:cxn>
                <a:cxn ang="0">
                  <a:pos x="142" y="145"/>
                </a:cxn>
                <a:cxn ang="0">
                  <a:pos x="123" y="184"/>
                </a:cxn>
                <a:cxn ang="0">
                  <a:pos x="103" y="152"/>
                </a:cxn>
                <a:cxn ang="0">
                  <a:pos x="91" y="177"/>
                </a:cxn>
                <a:cxn ang="0">
                  <a:pos x="67" y="120"/>
                </a:cxn>
                <a:cxn ang="0">
                  <a:pos x="62" y="68"/>
                </a:cxn>
                <a:cxn ang="0">
                  <a:pos x="0" y="5"/>
                </a:cxn>
              </a:cxnLst>
              <a:rect l="0" t="0" r="r" b="b"/>
              <a:pathLst>
                <a:path w="151" h="184">
                  <a:moveTo>
                    <a:pt x="0" y="5"/>
                  </a:moveTo>
                  <a:lnTo>
                    <a:pt x="54" y="0"/>
                  </a:lnTo>
                  <a:lnTo>
                    <a:pt x="97" y="23"/>
                  </a:lnTo>
                  <a:lnTo>
                    <a:pt x="151" y="111"/>
                  </a:lnTo>
                  <a:lnTo>
                    <a:pt x="142" y="145"/>
                  </a:lnTo>
                  <a:lnTo>
                    <a:pt x="123" y="184"/>
                  </a:lnTo>
                  <a:lnTo>
                    <a:pt x="103" y="152"/>
                  </a:lnTo>
                  <a:lnTo>
                    <a:pt x="91" y="177"/>
                  </a:lnTo>
                  <a:lnTo>
                    <a:pt x="67" y="120"/>
                  </a:lnTo>
                  <a:lnTo>
                    <a:pt x="62" y="68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8" name="Freeform 277"/>
            <p:cNvSpPr>
              <a:spLocks noChangeAspect="1"/>
            </p:cNvSpPr>
            <p:nvPr/>
          </p:nvSpPr>
          <p:spPr bwMode="auto">
            <a:xfrm>
              <a:off x="1022878" y="2730578"/>
              <a:ext cx="193406" cy="108273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127" y="0"/>
                </a:cxn>
                <a:cxn ang="0">
                  <a:pos x="171" y="28"/>
                </a:cxn>
                <a:cxn ang="0">
                  <a:pos x="279" y="65"/>
                </a:cxn>
                <a:cxn ang="0">
                  <a:pos x="329" y="93"/>
                </a:cxn>
                <a:cxn ang="0">
                  <a:pos x="242" y="151"/>
                </a:cxn>
                <a:cxn ang="0">
                  <a:pos x="213" y="183"/>
                </a:cxn>
                <a:cxn ang="0">
                  <a:pos x="185" y="167"/>
                </a:cxn>
                <a:cxn ang="0">
                  <a:pos x="188" y="137"/>
                </a:cxn>
                <a:cxn ang="0">
                  <a:pos x="148" y="133"/>
                </a:cxn>
                <a:cxn ang="0">
                  <a:pos x="139" y="158"/>
                </a:cxn>
                <a:cxn ang="0">
                  <a:pos x="107" y="162"/>
                </a:cxn>
                <a:cxn ang="0">
                  <a:pos x="72" y="131"/>
                </a:cxn>
                <a:cxn ang="0">
                  <a:pos x="0" y="50"/>
                </a:cxn>
              </a:cxnLst>
              <a:rect l="0" t="0" r="r" b="b"/>
              <a:pathLst>
                <a:path w="329" h="183">
                  <a:moveTo>
                    <a:pt x="0" y="50"/>
                  </a:moveTo>
                  <a:lnTo>
                    <a:pt x="127" y="0"/>
                  </a:lnTo>
                  <a:lnTo>
                    <a:pt x="171" y="28"/>
                  </a:lnTo>
                  <a:lnTo>
                    <a:pt x="279" y="65"/>
                  </a:lnTo>
                  <a:lnTo>
                    <a:pt x="329" y="93"/>
                  </a:lnTo>
                  <a:lnTo>
                    <a:pt x="242" y="151"/>
                  </a:lnTo>
                  <a:lnTo>
                    <a:pt x="213" y="183"/>
                  </a:lnTo>
                  <a:lnTo>
                    <a:pt x="185" y="167"/>
                  </a:lnTo>
                  <a:lnTo>
                    <a:pt x="188" y="137"/>
                  </a:lnTo>
                  <a:lnTo>
                    <a:pt x="148" y="133"/>
                  </a:lnTo>
                  <a:lnTo>
                    <a:pt x="139" y="158"/>
                  </a:lnTo>
                  <a:lnTo>
                    <a:pt x="107" y="162"/>
                  </a:lnTo>
                  <a:lnTo>
                    <a:pt x="72" y="131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49" name="Freeform 278"/>
            <p:cNvSpPr>
              <a:spLocks noChangeAspect="1"/>
            </p:cNvSpPr>
            <p:nvPr/>
          </p:nvSpPr>
          <p:spPr bwMode="auto">
            <a:xfrm>
              <a:off x="1147712" y="2780277"/>
              <a:ext cx="154724" cy="78098"/>
            </a:xfrm>
            <a:custGeom>
              <a:avLst/>
              <a:gdLst/>
              <a:ahLst/>
              <a:cxnLst>
                <a:cxn ang="0">
                  <a:pos x="116" y="8"/>
                </a:cxn>
                <a:cxn ang="0">
                  <a:pos x="264" y="0"/>
                </a:cxn>
                <a:cxn ang="0">
                  <a:pos x="249" y="130"/>
                </a:cxn>
                <a:cxn ang="0">
                  <a:pos x="213" y="100"/>
                </a:cxn>
                <a:cxn ang="0">
                  <a:pos x="189" y="91"/>
                </a:cxn>
                <a:cxn ang="0">
                  <a:pos x="113" y="107"/>
                </a:cxn>
                <a:cxn ang="0">
                  <a:pos x="62" y="107"/>
                </a:cxn>
                <a:cxn ang="0">
                  <a:pos x="0" y="98"/>
                </a:cxn>
                <a:cxn ang="0">
                  <a:pos x="29" y="66"/>
                </a:cxn>
                <a:cxn ang="0">
                  <a:pos x="116" y="8"/>
                </a:cxn>
              </a:cxnLst>
              <a:rect l="0" t="0" r="r" b="b"/>
              <a:pathLst>
                <a:path w="264" h="130">
                  <a:moveTo>
                    <a:pt x="116" y="8"/>
                  </a:moveTo>
                  <a:lnTo>
                    <a:pt x="264" y="0"/>
                  </a:lnTo>
                  <a:lnTo>
                    <a:pt x="249" y="130"/>
                  </a:lnTo>
                  <a:lnTo>
                    <a:pt x="213" y="100"/>
                  </a:lnTo>
                  <a:lnTo>
                    <a:pt x="189" y="91"/>
                  </a:lnTo>
                  <a:lnTo>
                    <a:pt x="113" y="107"/>
                  </a:lnTo>
                  <a:lnTo>
                    <a:pt x="62" y="107"/>
                  </a:lnTo>
                  <a:lnTo>
                    <a:pt x="0" y="98"/>
                  </a:lnTo>
                  <a:lnTo>
                    <a:pt x="29" y="66"/>
                  </a:lnTo>
                  <a:lnTo>
                    <a:pt x="116" y="8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0" name="Freeform 279"/>
            <p:cNvSpPr>
              <a:spLocks noChangeAspect="1"/>
            </p:cNvSpPr>
            <p:nvPr/>
          </p:nvSpPr>
          <p:spPr bwMode="auto">
            <a:xfrm>
              <a:off x="1632985" y="3401515"/>
              <a:ext cx="560877" cy="539590"/>
            </a:xfrm>
            <a:custGeom>
              <a:avLst/>
              <a:gdLst/>
              <a:ahLst/>
              <a:cxnLst>
                <a:cxn ang="0">
                  <a:pos x="499" y="225"/>
                </a:cxn>
                <a:cxn ang="0">
                  <a:pos x="533" y="201"/>
                </a:cxn>
                <a:cxn ang="0">
                  <a:pos x="597" y="205"/>
                </a:cxn>
                <a:cxn ang="0">
                  <a:pos x="597" y="205"/>
                </a:cxn>
                <a:cxn ang="0">
                  <a:pos x="649" y="260"/>
                </a:cxn>
                <a:cxn ang="0">
                  <a:pos x="712" y="324"/>
                </a:cxn>
                <a:cxn ang="0">
                  <a:pos x="719" y="383"/>
                </a:cxn>
                <a:cxn ang="0">
                  <a:pos x="743" y="403"/>
                </a:cxn>
                <a:cxn ang="0">
                  <a:pos x="778" y="510"/>
                </a:cxn>
                <a:cxn ang="0">
                  <a:pos x="918" y="517"/>
                </a:cxn>
                <a:cxn ang="0">
                  <a:pos x="956" y="573"/>
                </a:cxn>
                <a:cxn ang="0">
                  <a:pos x="925" y="699"/>
                </a:cxn>
                <a:cxn ang="0">
                  <a:pos x="794" y="727"/>
                </a:cxn>
                <a:cxn ang="0">
                  <a:pos x="660" y="751"/>
                </a:cxn>
                <a:cxn ang="0">
                  <a:pos x="620" y="797"/>
                </a:cxn>
                <a:cxn ang="0">
                  <a:pos x="605" y="865"/>
                </a:cxn>
                <a:cxn ang="0">
                  <a:pos x="546" y="913"/>
                </a:cxn>
                <a:cxn ang="0">
                  <a:pos x="546" y="873"/>
                </a:cxn>
                <a:cxn ang="0">
                  <a:pos x="546" y="841"/>
                </a:cxn>
                <a:cxn ang="0">
                  <a:pos x="526" y="834"/>
                </a:cxn>
                <a:cxn ang="0">
                  <a:pos x="471" y="830"/>
                </a:cxn>
                <a:cxn ang="0">
                  <a:pos x="419" y="834"/>
                </a:cxn>
                <a:cxn ang="0">
                  <a:pos x="384" y="853"/>
                </a:cxn>
                <a:cxn ang="0">
                  <a:pos x="332" y="794"/>
                </a:cxn>
                <a:cxn ang="0">
                  <a:pos x="316" y="738"/>
                </a:cxn>
                <a:cxn ang="0">
                  <a:pos x="285" y="691"/>
                </a:cxn>
                <a:cxn ang="0">
                  <a:pos x="230" y="620"/>
                </a:cxn>
                <a:cxn ang="0">
                  <a:pos x="202" y="569"/>
                </a:cxn>
                <a:cxn ang="0">
                  <a:pos x="171" y="470"/>
                </a:cxn>
                <a:cxn ang="0">
                  <a:pos x="119" y="387"/>
                </a:cxn>
                <a:cxn ang="0">
                  <a:pos x="55" y="328"/>
                </a:cxn>
                <a:cxn ang="0">
                  <a:pos x="47" y="256"/>
                </a:cxn>
                <a:cxn ang="0">
                  <a:pos x="9" y="232"/>
                </a:cxn>
                <a:cxn ang="0">
                  <a:pos x="0" y="181"/>
                </a:cxn>
                <a:cxn ang="0">
                  <a:pos x="55" y="181"/>
                </a:cxn>
                <a:cxn ang="0">
                  <a:pos x="95" y="142"/>
                </a:cxn>
                <a:cxn ang="0">
                  <a:pos x="134" y="110"/>
                </a:cxn>
                <a:cxn ang="0">
                  <a:pos x="134" y="46"/>
                </a:cxn>
                <a:cxn ang="0">
                  <a:pos x="186" y="4"/>
                </a:cxn>
                <a:cxn ang="0">
                  <a:pos x="202" y="0"/>
                </a:cxn>
                <a:cxn ang="0">
                  <a:pos x="233" y="23"/>
                </a:cxn>
                <a:cxn ang="0">
                  <a:pos x="265" y="46"/>
                </a:cxn>
                <a:cxn ang="0">
                  <a:pos x="316" y="43"/>
                </a:cxn>
                <a:cxn ang="0">
                  <a:pos x="348" y="94"/>
                </a:cxn>
                <a:cxn ang="0">
                  <a:pos x="384" y="107"/>
                </a:cxn>
                <a:cxn ang="0">
                  <a:pos x="423" y="177"/>
                </a:cxn>
                <a:cxn ang="0">
                  <a:pos x="499" y="225"/>
                </a:cxn>
              </a:cxnLst>
              <a:rect l="0" t="0" r="r" b="b"/>
              <a:pathLst>
                <a:path w="956" h="913">
                  <a:moveTo>
                    <a:pt x="499" y="225"/>
                  </a:moveTo>
                  <a:lnTo>
                    <a:pt x="533" y="201"/>
                  </a:lnTo>
                  <a:lnTo>
                    <a:pt x="597" y="205"/>
                  </a:lnTo>
                  <a:lnTo>
                    <a:pt x="597" y="205"/>
                  </a:lnTo>
                  <a:lnTo>
                    <a:pt x="649" y="260"/>
                  </a:lnTo>
                  <a:lnTo>
                    <a:pt x="712" y="324"/>
                  </a:lnTo>
                  <a:lnTo>
                    <a:pt x="719" y="383"/>
                  </a:lnTo>
                  <a:lnTo>
                    <a:pt x="743" y="403"/>
                  </a:lnTo>
                  <a:lnTo>
                    <a:pt x="778" y="510"/>
                  </a:lnTo>
                  <a:lnTo>
                    <a:pt x="918" y="517"/>
                  </a:lnTo>
                  <a:lnTo>
                    <a:pt x="956" y="573"/>
                  </a:lnTo>
                  <a:lnTo>
                    <a:pt x="925" y="699"/>
                  </a:lnTo>
                  <a:lnTo>
                    <a:pt x="794" y="727"/>
                  </a:lnTo>
                  <a:lnTo>
                    <a:pt x="660" y="751"/>
                  </a:lnTo>
                  <a:lnTo>
                    <a:pt x="620" y="797"/>
                  </a:lnTo>
                  <a:lnTo>
                    <a:pt x="605" y="865"/>
                  </a:lnTo>
                  <a:lnTo>
                    <a:pt x="546" y="913"/>
                  </a:lnTo>
                  <a:lnTo>
                    <a:pt x="546" y="873"/>
                  </a:lnTo>
                  <a:lnTo>
                    <a:pt x="546" y="841"/>
                  </a:lnTo>
                  <a:lnTo>
                    <a:pt x="526" y="834"/>
                  </a:lnTo>
                  <a:lnTo>
                    <a:pt x="471" y="830"/>
                  </a:lnTo>
                  <a:lnTo>
                    <a:pt x="419" y="834"/>
                  </a:lnTo>
                  <a:lnTo>
                    <a:pt x="384" y="853"/>
                  </a:lnTo>
                  <a:lnTo>
                    <a:pt x="332" y="794"/>
                  </a:lnTo>
                  <a:lnTo>
                    <a:pt x="316" y="738"/>
                  </a:lnTo>
                  <a:lnTo>
                    <a:pt x="285" y="691"/>
                  </a:lnTo>
                  <a:lnTo>
                    <a:pt x="230" y="620"/>
                  </a:lnTo>
                  <a:lnTo>
                    <a:pt x="202" y="569"/>
                  </a:lnTo>
                  <a:lnTo>
                    <a:pt x="171" y="470"/>
                  </a:lnTo>
                  <a:lnTo>
                    <a:pt x="119" y="387"/>
                  </a:lnTo>
                  <a:lnTo>
                    <a:pt x="55" y="328"/>
                  </a:lnTo>
                  <a:lnTo>
                    <a:pt x="47" y="256"/>
                  </a:lnTo>
                  <a:lnTo>
                    <a:pt x="9" y="232"/>
                  </a:lnTo>
                  <a:lnTo>
                    <a:pt x="0" y="181"/>
                  </a:lnTo>
                  <a:lnTo>
                    <a:pt x="55" y="181"/>
                  </a:lnTo>
                  <a:lnTo>
                    <a:pt x="95" y="142"/>
                  </a:lnTo>
                  <a:lnTo>
                    <a:pt x="134" y="110"/>
                  </a:lnTo>
                  <a:lnTo>
                    <a:pt x="134" y="46"/>
                  </a:lnTo>
                  <a:lnTo>
                    <a:pt x="186" y="4"/>
                  </a:lnTo>
                  <a:lnTo>
                    <a:pt x="202" y="0"/>
                  </a:lnTo>
                  <a:lnTo>
                    <a:pt x="233" y="23"/>
                  </a:lnTo>
                  <a:lnTo>
                    <a:pt x="265" y="46"/>
                  </a:lnTo>
                  <a:lnTo>
                    <a:pt x="316" y="43"/>
                  </a:lnTo>
                  <a:lnTo>
                    <a:pt x="348" y="94"/>
                  </a:lnTo>
                  <a:lnTo>
                    <a:pt x="384" y="107"/>
                  </a:lnTo>
                  <a:lnTo>
                    <a:pt x="423" y="177"/>
                  </a:lnTo>
                  <a:lnTo>
                    <a:pt x="499" y="225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1" name="Freeform 280"/>
            <p:cNvSpPr>
              <a:spLocks noChangeAspect="1"/>
            </p:cNvSpPr>
            <p:nvPr/>
          </p:nvSpPr>
          <p:spPr bwMode="auto">
            <a:xfrm>
              <a:off x="3377154" y="3717460"/>
              <a:ext cx="198681" cy="280444"/>
            </a:xfrm>
            <a:custGeom>
              <a:avLst/>
              <a:gdLst/>
              <a:ahLst/>
              <a:cxnLst>
                <a:cxn ang="0">
                  <a:pos x="59" y="59"/>
                </a:cxn>
                <a:cxn ang="0">
                  <a:pos x="59" y="15"/>
                </a:cxn>
                <a:cxn ang="0">
                  <a:pos x="94" y="0"/>
                </a:cxn>
                <a:cxn ang="0">
                  <a:pos x="121" y="70"/>
                </a:cxn>
                <a:cxn ang="0">
                  <a:pos x="200" y="98"/>
                </a:cxn>
                <a:cxn ang="0">
                  <a:pos x="204" y="145"/>
                </a:cxn>
                <a:cxn ang="0">
                  <a:pos x="197" y="180"/>
                </a:cxn>
                <a:cxn ang="0">
                  <a:pos x="300" y="319"/>
                </a:cxn>
                <a:cxn ang="0">
                  <a:pos x="339" y="347"/>
                </a:cxn>
                <a:cxn ang="0">
                  <a:pos x="339" y="438"/>
                </a:cxn>
                <a:cxn ang="0">
                  <a:pos x="291" y="473"/>
                </a:cxn>
                <a:cxn ang="0">
                  <a:pos x="259" y="438"/>
                </a:cxn>
                <a:cxn ang="0">
                  <a:pos x="259" y="363"/>
                </a:cxn>
                <a:cxn ang="0">
                  <a:pos x="236" y="359"/>
                </a:cxn>
                <a:cxn ang="0">
                  <a:pos x="160" y="221"/>
                </a:cxn>
                <a:cxn ang="0">
                  <a:pos x="125" y="252"/>
                </a:cxn>
                <a:cxn ang="0">
                  <a:pos x="77" y="193"/>
                </a:cxn>
                <a:cxn ang="0">
                  <a:pos x="22" y="157"/>
                </a:cxn>
                <a:cxn ang="0">
                  <a:pos x="0" y="62"/>
                </a:cxn>
                <a:cxn ang="0">
                  <a:pos x="59" y="59"/>
                </a:cxn>
              </a:cxnLst>
              <a:rect l="0" t="0" r="r" b="b"/>
              <a:pathLst>
                <a:path w="339" h="473">
                  <a:moveTo>
                    <a:pt x="59" y="59"/>
                  </a:moveTo>
                  <a:lnTo>
                    <a:pt x="59" y="15"/>
                  </a:lnTo>
                  <a:lnTo>
                    <a:pt x="94" y="0"/>
                  </a:lnTo>
                  <a:lnTo>
                    <a:pt x="121" y="70"/>
                  </a:lnTo>
                  <a:lnTo>
                    <a:pt x="200" y="98"/>
                  </a:lnTo>
                  <a:lnTo>
                    <a:pt x="204" y="145"/>
                  </a:lnTo>
                  <a:lnTo>
                    <a:pt x="197" y="180"/>
                  </a:lnTo>
                  <a:lnTo>
                    <a:pt x="300" y="319"/>
                  </a:lnTo>
                  <a:lnTo>
                    <a:pt x="339" y="347"/>
                  </a:lnTo>
                  <a:lnTo>
                    <a:pt x="339" y="438"/>
                  </a:lnTo>
                  <a:lnTo>
                    <a:pt x="291" y="473"/>
                  </a:lnTo>
                  <a:lnTo>
                    <a:pt x="259" y="438"/>
                  </a:lnTo>
                  <a:lnTo>
                    <a:pt x="259" y="363"/>
                  </a:lnTo>
                  <a:lnTo>
                    <a:pt x="236" y="359"/>
                  </a:lnTo>
                  <a:lnTo>
                    <a:pt x="160" y="221"/>
                  </a:lnTo>
                  <a:lnTo>
                    <a:pt x="125" y="252"/>
                  </a:lnTo>
                  <a:lnTo>
                    <a:pt x="77" y="193"/>
                  </a:lnTo>
                  <a:lnTo>
                    <a:pt x="22" y="157"/>
                  </a:lnTo>
                  <a:lnTo>
                    <a:pt x="0" y="62"/>
                  </a:lnTo>
                  <a:lnTo>
                    <a:pt x="59" y="5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2" name="Freeform 281"/>
            <p:cNvSpPr>
              <a:spLocks noChangeAspect="1"/>
            </p:cNvSpPr>
            <p:nvPr/>
          </p:nvSpPr>
          <p:spPr bwMode="auto">
            <a:xfrm>
              <a:off x="2051445" y="3593211"/>
              <a:ext cx="158241" cy="11359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59"/>
                </a:cxn>
                <a:cxn ang="0">
                  <a:pos x="25" y="78"/>
                </a:cxn>
                <a:cxn ang="0">
                  <a:pos x="67" y="186"/>
                </a:cxn>
                <a:cxn ang="0">
                  <a:pos x="206" y="193"/>
                </a:cxn>
                <a:cxn ang="0">
                  <a:pos x="271" y="90"/>
                </a:cxn>
                <a:cxn ang="0">
                  <a:pos x="256" y="28"/>
                </a:cxn>
                <a:cxn ang="0">
                  <a:pos x="186" y="114"/>
                </a:cxn>
                <a:cxn ang="0">
                  <a:pos x="96" y="131"/>
                </a:cxn>
                <a:cxn ang="0">
                  <a:pos x="32" y="79"/>
                </a:cxn>
                <a:cxn ang="0">
                  <a:pos x="45" y="28"/>
                </a:cxn>
                <a:cxn ang="0">
                  <a:pos x="30" y="5"/>
                </a:cxn>
                <a:cxn ang="0">
                  <a:pos x="0" y="0"/>
                </a:cxn>
              </a:cxnLst>
              <a:rect l="0" t="0" r="r" b="b"/>
              <a:pathLst>
                <a:path w="271" h="193">
                  <a:moveTo>
                    <a:pt x="0" y="0"/>
                  </a:moveTo>
                  <a:lnTo>
                    <a:pt x="8" y="59"/>
                  </a:lnTo>
                  <a:lnTo>
                    <a:pt x="25" y="78"/>
                  </a:lnTo>
                  <a:lnTo>
                    <a:pt x="67" y="186"/>
                  </a:lnTo>
                  <a:lnTo>
                    <a:pt x="206" y="193"/>
                  </a:lnTo>
                  <a:lnTo>
                    <a:pt x="271" y="90"/>
                  </a:lnTo>
                  <a:lnTo>
                    <a:pt x="256" y="28"/>
                  </a:lnTo>
                  <a:lnTo>
                    <a:pt x="186" y="114"/>
                  </a:lnTo>
                  <a:lnTo>
                    <a:pt x="96" y="131"/>
                  </a:lnTo>
                  <a:lnTo>
                    <a:pt x="32" y="79"/>
                  </a:lnTo>
                  <a:lnTo>
                    <a:pt x="45" y="28"/>
                  </a:lnTo>
                  <a:lnTo>
                    <a:pt x="3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3" name="Freeform 282"/>
            <p:cNvSpPr>
              <a:spLocks noChangeAspect="1"/>
            </p:cNvSpPr>
            <p:nvPr/>
          </p:nvSpPr>
          <p:spPr bwMode="auto">
            <a:xfrm>
              <a:off x="854087" y="2661354"/>
              <a:ext cx="59779" cy="63898"/>
            </a:xfrm>
            <a:custGeom>
              <a:avLst/>
              <a:gdLst/>
              <a:ahLst/>
              <a:cxnLst>
                <a:cxn ang="0">
                  <a:pos x="29" y="109"/>
                </a:cxn>
                <a:cxn ang="0">
                  <a:pos x="0" y="65"/>
                </a:cxn>
                <a:cxn ang="0">
                  <a:pos x="16" y="41"/>
                </a:cxn>
                <a:cxn ang="0">
                  <a:pos x="46" y="58"/>
                </a:cxn>
                <a:cxn ang="0">
                  <a:pos x="49" y="11"/>
                </a:cxn>
                <a:cxn ang="0">
                  <a:pos x="80" y="0"/>
                </a:cxn>
                <a:cxn ang="0">
                  <a:pos x="101" y="35"/>
                </a:cxn>
                <a:cxn ang="0">
                  <a:pos x="87" y="74"/>
                </a:cxn>
                <a:cxn ang="0">
                  <a:pos x="54" y="87"/>
                </a:cxn>
                <a:cxn ang="0">
                  <a:pos x="29" y="109"/>
                </a:cxn>
              </a:cxnLst>
              <a:rect l="0" t="0" r="r" b="b"/>
              <a:pathLst>
                <a:path w="101" h="109">
                  <a:moveTo>
                    <a:pt x="29" y="109"/>
                  </a:moveTo>
                  <a:lnTo>
                    <a:pt x="0" y="65"/>
                  </a:lnTo>
                  <a:lnTo>
                    <a:pt x="16" y="41"/>
                  </a:lnTo>
                  <a:lnTo>
                    <a:pt x="46" y="58"/>
                  </a:lnTo>
                  <a:lnTo>
                    <a:pt x="49" y="11"/>
                  </a:lnTo>
                  <a:lnTo>
                    <a:pt x="80" y="0"/>
                  </a:lnTo>
                  <a:lnTo>
                    <a:pt x="101" y="35"/>
                  </a:lnTo>
                  <a:lnTo>
                    <a:pt x="87" y="74"/>
                  </a:lnTo>
                  <a:lnTo>
                    <a:pt x="54" y="87"/>
                  </a:lnTo>
                  <a:lnTo>
                    <a:pt x="29" y="10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4" name="Freeform 283"/>
            <p:cNvSpPr>
              <a:spLocks noChangeAspect="1"/>
            </p:cNvSpPr>
            <p:nvPr/>
          </p:nvSpPr>
          <p:spPr bwMode="auto">
            <a:xfrm>
              <a:off x="891010" y="2860150"/>
              <a:ext cx="93186" cy="60349"/>
            </a:xfrm>
            <a:custGeom>
              <a:avLst/>
              <a:gdLst/>
              <a:ahLst/>
              <a:cxnLst>
                <a:cxn ang="0">
                  <a:pos x="0" y="76"/>
                </a:cxn>
                <a:cxn ang="0">
                  <a:pos x="9" y="40"/>
                </a:cxn>
                <a:cxn ang="0">
                  <a:pos x="29" y="12"/>
                </a:cxn>
                <a:cxn ang="0">
                  <a:pos x="60" y="3"/>
                </a:cxn>
                <a:cxn ang="0">
                  <a:pos x="89" y="10"/>
                </a:cxn>
                <a:cxn ang="0">
                  <a:pos x="119" y="0"/>
                </a:cxn>
                <a:cxn ang="0">
                  <a:pos x="152" y="18"/>
                </a:cxn>
                <a:cxn ang="0">
                  <a:pos x="158" y="51"/>
                </a:cxn>
                <a:cxn ang="0">
                  <a:pos x="142" y="90"/>
                </a:cxn>
                <a:cxn ang="0">
                  <a:pos x="119" y="80"/>
                </a:cxn>
                <a:cxn ang="0">
                  <a:pos x="109" y="101"/>
                </a:cxn>
                <a:cxn ang="0">
                  <a:pos x="86" y="76"/>
                </a:cxn>
                <a:cxn ang="0">
                  <a:pos x="74" y="96"/>
                </a:cxn>
                <a:cxn ang="0">
                  <a:pos x="29" y="96"/>
                </a:cxn>
                <a:cxn ang="0">
                  <a:pos x="0" y="76"/>
                </a:cxn>
              </a:cxnLst>
              <a:rect l="0" t="0" r="r" b="b"/>
              <a:pathLst>
                <a:path w="158" h="101">
                  <a:moveTo>
                    <a:pt x="0" y="76"/>
                  </a:moveTo>
                  <a:lnTo>
                    <a:pt x="9" y="40"/>
                  </a:lnTo>
                  <a:lnTo>
                    <a:pt x="29" y="12"/>
                  </a:lnTo>
                  <a:lnTo>
                    <a:pt x="60" y="3"/>
                  </a:lnTo>
                  <a:lnTo>
                    <a:pt x="89" y="10"/>
                  </a:lnTo>
                  <a:lnTo>
                    <a:pt x="119" y="0"/>
                  </a:lnTo>
                  <a:lnTo>
                    <a:pt x="152" y="18"/>
                  </a:lnTo>
                  <a:lnTo>
                    <a:pt x="158" y="51"/>
                  </a:lnTo>
                  <a:lnTo>
                    <a:pt x="142" y="90"/>
                  </a:lnTo>
                  <a:lnTo>
                    <a:pt x="119" y="80"/>
                  </a:lnTo>
                  <a:lnTo>
                    <a:pt x="109" y="101"/>
                  </a:lnTo>
                  <a:lnTo>
                    <a:pt x="86" y="76"/>
                  </a:lnTo>
                  <a:lnTo>
                    <a:pt x="74" y="96"/>
                  </a:lnTo>
                  <a:lnTo>
                    <a:pt x="29" y="96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5" name="Freeform 284"/>
            <p:cNvSpPr>
              <a:spLocks noChangeAspect="1"/>
            </p:cNvSpPr>
            <p:nvPr/>
          </p:nvSpPr>
          <p:spPr bwMode="auto">
            <a:xfrm>
              <a:off x="1608370" y="3385540"/>
              <a:ext cx="28132" cy="90523"/>
            </a:xfrm>
            <a:custGeom>
              <a:avLst/>
              <a:gdLst/>
              <a:ahLst/>
              <a:cxnLst>
                <a:cxn ang="0">
                  <a:pos x="43" y="152"/>
                </a:cxn>
                <a:cxn ang="0">
                  <a:pos x="50" y="80"/>
                </a:cxn>
                <a:cxn ang="0">
                  <a:pos x="48" y="0"/>
                </a:cxn>
                <a:cxn ang="0">
                  <a:pos x="0" y="85"/>
                </a:cxn>
                <a:cxn ang="0">
                  <a:pos x="43" y="152"/>
                </a:cxn>
              </a:cxnLst>
              <a:rect l="0" t="0" r="r" b="b"/>
              <a:pathLst>
                <a:path w="50" h="152">
                  <a:moveTo>
                    <a:pt x="43" y="152"/>
                  </a:moveTo>
                  <a:lnTo>
                    <a:pt x="50" y="80"/>
                  </a:lnTo>
                  <a:lnTo>
                    <a:pt x="48" y="0"/>
                  </a:lnTo>
                  <a:lnTo>
                    <a:pt x="0" y="85"/>
                  </a:lnTo>
                  <a:lnTo>
                    <a:pt x="43" y="152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6" name="Freeform 285"/>
            <p:cNvSpPr>
              <a:spLocks noChangeAspect="1"/>
            </p:cNvSpPr>
            <p:nvPr/>
          </p:nvSpPr>
          <p:spPr bwMode="auto">
            <a:xfrm>
              <a:off x="1520459" y="4299647"/>
              <a:ext cx="131868" cy="166847"/>
            </a:xfrm>
            <a:custGeom>
              <a:avLst/>
              <a:gdLst/>
              <a:ahLst/>
              <a:cxnLst>
                <a:cxn ang="0">
                  <a:pos x="0" y="269"/>
                </a:cxn>
                <a:cxn ang="0">
                  <a:pos x="33" y="280"/>
                </a:cxn>
                <a:cxn ang="0">
                  <a:pos x="56" y="267"/>
                </a:cxn>
                <a:cxn ang="0">
                  <a:pos x="103" y="275"/>
                </a:cxn>
                <a:cxn ang="0">
                  <a:pos x="197" y="267"/>
                </a:cxn>
                <a:cxn ang="0">
                  <a:pos x="187" y="243"/>
                </a:cxn>
                <a:cxn ang="0">
                  <a:pos x="198" y="192"/>
                </a:cxn>
                <a:cxn ang="0">
                  <a:pos x="225" y="133"/>
                </a:cxn>
                <a:cxn ang="0">
                  <a:pos x="220" y="48"/>
                </a:cxn>
                <a:cxn ang="0">
                  <a:pos x="198" y="0"/>
                </a:cxn>
                <a:cxn ang="0">
                  <a:pos x="142" y="20"/>
                </a:cxn>
                <a:cxn ang="0">
                  <a:pos x="48" y="14"/>
                </a:cxn>
                <a:cxn ang="0">
                  <a:pos x="59" y="95"/>
                </a:cxn>
                <a:cxn ang="0">
                  <a:pos x="84" y="98"/>
                </a:cxn>
                <a:cxn ang="0">
                  <a:pos x="87" y="127"/>
                </a:cxn>
                <a:cxn ang="0">
                  <a:pos x="10" y="154"/>
                </a:cxn>
                <a:cxn ang="0">
                  <a:pos x="0" y="264"/>
                </a:cxn>
                <a:cxn ang="0">
                  <a:pos x="0" y="269"/>
                </a:cxn>
              </a:cxnLst>
              <a:rect l="0" t="0" r="r" b="b"/>
              <a:pathLst>
                <a:path w="225" h="280">
                  <a:moveTo>
                    <a:pt x="0" y="269"/>
                  </a:moveTo>
                  <a:lnTo>
                    <a:pt x="33" y="280"/>
                  </a:lnTo>
                  <a:lnTo>
                    <a:pt x="56" y="267"/>
                  </a:lnTo>
                  <a:lnTo>
                    <a:pt x="103" y="275"/>
                  </a:lnTo>
                  <a:lnTo>
                    <a:pt x="197" y="267"/>
                  </a:lnTo>
                  <a:lnTo>
                    <a:pt x="187" y="243"/>
                  </a:lnTo>
                  <a:lnTo>
                    <a:pt x="198" y="192"/>
                  </a:lnTo>
                  <a:lnTo>
                    <a:pt x="225" y="133"/>
                  </a:lnTo>
                  <a:lnTo>
                    <a:pt x="220" y="48"/>
                  </a:lnTo>
                  <a:lnTo>
                    <a:pt x="198" y="0"/>
                  </a:lnTo>
                  <a:lnTo>
                    <a:pt x="142" y="20"/>
                  </a:lnTo>
                  <a:lnTo>
                    <a:pt x="48" y="14"/>
                  </a:lnTo>
                  <a:lnTo>
                    <a:pt x="59" y="95"/>
                  </a:lnTo>
                  <a:lnTo>
                    <a:pt x="84" y="98"/>
                  </a:lnTo>
                  <a:lnTo>
                    <a:pt x="87" y="127"/>
                  </a:lnTo>
                  <a:lnTo>
                    <a:pt x="10" y="154"/>
                  </a:lnTo>
                  <a:lnTo>
                    <a:pt x="0" y="264"/>
                  </a:lnTo>
                  <a:lnTo>
                    <a:pt x="0" y="269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7" name="Freeform 286"/>
            <p:cNvSpPr>
              <a:spLocks noChangeAspect="1"/>
            </p:cNvSpPr>
            <p:nvPr/>
          </p:nvSpPr>
          <p:spPr bwMode="auto">
            <a:xfrm>
              <a:off x="1520460" y="4299647"/>
              <a:ext cx="131868" cy="166847"/>
            </a:xfrm>
            <a:custGeom>
              <a:avLst/>
              <a:gdLst/>
              <a:ahLst/>
              <a:cxnLst>
                <a:cxn ang="0">
                  <a:pos x="0" y="269"/>
                </a:cxn>
                <a:cxn ang="0">
                  <a:pos x="33" y="280"/>
                </a:cxn>
                <a:cxn ang="0">
                  <a:pos x="56" y="267"/>
                </a:cxn>
                <a:cxn ang="0">
                  <a:pos x="103" y="275"/>
                </a:cxn>
                <a:cxn ang="0">
                  <a:pos x="197" y="267"/>
                </a:cxn>
                <a:cxn ang="0">
                  <a:pos x="187" y="243"/>
                </a:cxn>
                <a:cxn ang="0">
                  <a:pos x="198" y="192"/>
                </a:cxn>
                <a:cxn ang="0">
                  <a:pos x="225" y="133"/>
                </a:cxn>
                <a:cxn ang="0">
                  <a:pos x="220" y="48"/>
                </a:cxn>
                <a:cxn ang="0">
                  <a:pos x="198" y="0"/>
                </a:cxn>
                <a:cxn ang="0">
                  <a:pos x="142" y="20"/>
                </a:cxn>
                <a:cxn ang="0">
                  <a:pos x="48" y="14"/>
                </a:cxn>
                <a:cxn ang="0">
                  <a:pos x="59" y="95"/>
                </a:cxn>
                <a:cxn ang="0">
                  <a:pos x="84" y="98"/>
                </a:cxn>
                <a:cxn ang="0">
                  <a:pos x="87" y="127"/>
                </a:cxn>
                <a:cxn ang="0">
                  <a:pos x="10" y="154"/>
                </a:cxn>
                <a:cxn ang="0">
                  <a:pos x="0" y="264"/>
                </a:cxn>
              </a:cxnLst>
              <a:rect l="0" t="0" r="r" b="b"/>
              <a:pathLst>
                <a:path w="225" h="280">
                  <a:moveTo>
                    <a:pt x="0" y="269"/>
                  </a:moveTo>
                  <a:lnTo>
                    <a:pt x="33" y="280"/>
                  </a:lnTo>
                  <a:lnTo>
                    <a:pt x="56" y="267"/>
                  </a:lnTo>
                  <a:lnTo>
                    <a:pt x="103" y="275"/>
                  </a:lnTo>
                  <a:lnTo>
                    <a:pt x="197" y="267"/>
                  </a:lnTo>
                  <a:lnTo>
                    <a:pt x="187" y="243"/>
                  </a:lnTo>
                  <a:lnTo>
                    <a:pt x="198" y="192"/>
                  </a:lnTo>
                  <a:lnTo>
                    <a:pt x="225" y="133"/>
                  </a:lnTo>
                  <a:lnTo>
                    <a:pt x="220" y="48"/>
                  </a:lnTo>
                  <a:lnTo>
                    <a:pt x="198" y="0"/>
                  </a:lnTo>
                  <a:lnTo>
                    <a:pt x="142" y="20"/>
                  </a:lnTo>
                  <a:lnTo>
                    <a:pt x="48" y="14"/>
                  </a:lnTo>
                  <a:lnTo>
                    <a:pt x="59" y="95"/>
                  </a:lnTo>
                  <a:lnTo>
                    <a:pt x="84" y="98"/>
                  </a:lnTo>
                  <a:lnTo>
                    <a:pt x="87" y="127"/>
                  </a:lnTo>
                  <a:lnTo>
                    <a:pt x="10" y="154"/>
                  </a:lnTo>
                  <a:lnTo>
                    <a:pt x="0" y="264"/>
                  </a:lnTo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8" name="Freeform 287"/>
            <p:cNvSpPr>
              <a:spLocks noChangeAspect="1"/>
            </p:cNvSpPr>
            <p:nvPr/>
          </p:nvSpPr>
          <p:spPr bwMode="auto">
            <a:xfrm>
              <a:off x="3862427" y="4058251"/>
              <a:ext cx="59779" cy="110048"/>
            </a:xfrm>
            <a:custGeom>
              <a:avLst/>
              <a:gdLst/>
              <a:ahLst/>
              <a:cxnLst>
                <a:cxn ang="0">
                  <a:pos x="87" y="0"/>
                </a:cxn>
                <a:cxn ang="0">
                  <a:pos x="103" y="37"/>
                </a:cxn>
                <a:cxn ang="0">
                  <a:pos x="55" y="138"/>
                </a:cxn>
                <a:cxn ang="0">
                  <a:pos x="7" y="186"/>
                </a:cxn>
                <a:cxn ang="0">
                  <a:pos x="0" y="123"/>
                </a:cxn>
                <a:cxn ang="0">
                  <a:pos x="24" y="83"/>
                </a:cxn>
                <a:cxn ang="0">
                  <a:pos x="68" y="52"/>
                </a:cxn>
                <a:cxn ang="0">
                  <a:pos x="87" y="0"/>
                </a:cxn>
              </a:cxnLst>
              <a:rect l="0" t="0" r="r" b="b"/>
              <a:pathLst>
                <a:path w="103" h="186">
                  <a:moveTo>
                    <a:pt x="87" y="0"/>
                  </a:moveTo>
                  <a:lnTo>
                    <a:pt x="103" y="37"/>
                  </a:lnTo>
                  <a:lnTo>
                    <a:pt x="55" y="138"/>
                  </a:lnTo>
                  <a:lnTo>
                    <a:pt x="7" y="186"/>
                  </a:lnTo>
                  <a:lnTo>
                    <a:pt x="0" y="123"/>
                  </a:lnTo>
                  <a:lnTo>
                    <a:pt x="24" y="83"/>
                  </a:lnTo>
                  <a:lnTo>
                    <a:pt x="68" y="52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59" name="Freeform 288"/>
            <p:cNvSpPr>
              <a:spLocks noChangeAspect="1"/>
            </p:cNvSpPr>
            <p:nvPr/>
          </p:nvSpPr>
          <p:spPr bwMode="auto">
            <a:xfrm>
              <a:off x="4451458" y="5728465"/>
              <a:ext cx="91428" cy="94073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0" y="138"/>
                </a:cxn>
                <a:cxn ang="0">
                  <a:pos x="35" y="157"/>
                </a:cxn>
                <a:cxn ang="0">
                  <a:pos x="118" y="142"/>
                </a:cxn>
                <a:cxn ang="0">
                  <a:pos x="122" y="102"/>
                </a:cxn>
                <a:cxn ang="0">
                  <a:pos x="153" y="63"/>
                </a:cxn>
                <a:cxn ang="0">
                  <a:pos x="158" y="11"/>
                </a:cxn>
                <a:cxn ang="0">
                  <a:pos x="12" y="0"/>
                </a:cxn>
              </a:cxnLst>
              <a:rect l="0" t="0" r="r" b="b"/>
              <a:pathLst>
                <a:path w="158" h="157">
                  <a:moveTo>
                    <a:pt x="12" y="0"/>
                  </a:moveTo>
                  <a:lnTo>
                    <a:pt x="0" y="138"/>
                  </a:lnTo>
                  <a:lnTo>
                    <a:pt x="35" y="157"/>
                  </a:lnTo>
                  <a:lnTo>
                    <a:pt x="118" y="142"/>
                  </a:lnTo>
                  <a:lnTo>
                    <a:pt x="122" y="102"/>
                  </a:lnTo>
                  <a:lnTo>
                    <a:pt x="153" y="63"/>
                  </a:lnTo>
                  <a:lnTo>
                    <a:pt x="158" y="11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61789D">
                <a:lumMod val="60000"/>
                <a:lumOff val="40000"/>
              </a:srgbClr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 w="28575">
                  <a:solidFill>
                    <a:srgbClr val="1E1E1E"/>
                  </a:solidFill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80975" y="187193"/>
            <a:ext cx="9582150" cy="625036"/>
          </a:xfrm>
        </p:spPr>
        <p:txBody>
          <a:bodyPr>
            <a:normAutofit/>
          </a:bodyPr>
          <a:lstStyle/>
          <a:p>
            <a:r>
              <a:rPr lang="ru-RU" sz="2300" dirty="0" smtClean="0"/>
              <a:t>Прогноз потенциальных туристических потоков</a:t>
            </a:r>
            <a:endParaRPr lang="ru-RU" sz="2300" dirty="0"/>
          </a:p>
        </p:txBody>
      </p:sp>
      <p:sp>
        <p:nvSpPr>
          <p:cNvPr id="1769" name="Текст 93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-82248" y="6523369"/>
            <a:ext cx="9988248" cy="33463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238125" indent="-57150">
              <a:spcBef>
                <a:spcPts val="0"/>
              </a:spcBef>
              <a:buNone/>
            </a:pPr>
            <a:r>
              <a:rPr lang="ru-RU" sz="900" dirty="0" smtClean="0">
                <a:solidFill>
                  <a:schemeClr val="tx1"/>
                </a:solidFill>
              </a:rPr>
              <a:t>Источники: аналитика АНО «НИСИПП» на основе статистической информации по туристическим потокам и открытых источников</a:t>
            </a:r>
            <a:endParaRPr lang="ru-RU" sz="900" dirty="0" smtClean="0">
              <a:solidFill>
                <a:schemeClr val="tx1"/>
              </a:solidFill>
              <a:latin typeface="+mn-lt"/>
              <a:cs typeface="+mn-cs"/>
            </a:endParaRPr>
          </a:p>
        </p:txBody>
      </p:sp>
      <p:pic>
        <p:nvPicPr>
          <p:cNvPr id="58373" name="Picture 5" descr="C:\Users\9124~1\AppData\Local\Temp\Rar$DI59.168\United-States-of-America(USA)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64" cstate="print"/>
          <a:srcRect/>
          <a:stretch>
            <a:fillRect/>
          </a:stretch>
        </p:blipFill>
        <p:spPr bwMode="auto">
          <a:xfrm>
            <a:off x="6496050" y="3063875"/>
            <a:ext cx="390000" cy="360000"/>
          </a:xfrm>
          <a:prstGeom prst="rect">
            <a:avLst/>
          </a:prstGeom>
          <a:noFill/>
        </p:spPr>
      </p:pic>
      <p:pic>
        <p:nvPicPr>
          <p:cNvPr id="27654" name="Picture 6" descr="C:\Users\CD86~1\AppData\Local\Temp\Rar$DIa0.141\Canada.pn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65" cstate="print"/>
          <a:srcRect/>
          <a:stretch>
            <a:fillRect/>
          </a:stretch>
        </p:blipFill>
        <p:spPr bwMode="auto">
          <a:xfrm>
            <a:off x="6205800" y="2301186"/>
            <a:ext cx="390000" cy="360000"/>
          </a:xfrm>
          <a:prstGeom prst="rect">
            <a:avLst/>
          </a:prstGeom>
          <a:noFill/>
        </p:spPr>
      </p:pic>
      <p:pic>
        <p:nvPicPr>
          <p:cNvPr id="20" name="Picture 2" descr="C:\Users\Игорь Копытов\Dropbox\Работа\Полезные вещи\иконки\Flags\Square\Australia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66" cstate="print"/>
          <a:srcRect/>
          <a:stretch>
            <a:fillRect/>
          </a:stretch>
        </p:blipFill>
        <p:spPr bwMode="auto">
          <a:xfrm>
            <a:off x="4082543" y="4628538"/>
            <a:ext cx="390000" cy="360000"/>
          </a:xfrm>
          <a:prstGeom prst="rect">
            <a:avLst/>
          </a:prstGeom>
          <a:noFill/>
        </p:spPr>
      </p:pic>
      <p:pic>
        <p:nvPicPr>
          <p:cNvPr id="22" name="Picture 7" descr="C:\Users\Игорь Копытов\Dropbox\Работа\Полезные вещи\иконки\Flags\Square\Germany.pn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67" cstate="print"/>
          <a:srcRect/>
          <a:stretch>
            <a:fillRect/>
          </a:stretch>
        </p:blipFill>
        <p:spPr bwMode="auto">
          <a:xfrm>
            <a:off x="1612110" y="2579426"/>
            <a:ext cx="390000" cy="360000"/>
          </a:xfrm>
          <a:prstGeom prst="rect">
            <a:avLst/>
          </a:prstGeom>
          <a:noFill/>
        </p:spPr>
      </p:pic>
      <p:pic>
        <p:nvPicPr>
          <p:cNvPr id="27656" name="Picture 8" descr="C:\Users\CD86~1\AppData\Local\Temp\Rar$DIa0.580\France.pn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68" cstate="print"/>
          <a:srcRect/>
          <a:stretch>
            <a:fillRect/>
          </a:stretch>
        </p:blipFill>
        <p:spPr bwMode="auto">
          <a:xfrm>
            <a:off x="1402961" y="2958315"/>
            <a:ext cx="390000" cy="360000"/>
          </a:xfrm>
          <a:prstGeom prst="rect">
            <a:avLst/>
          </a:prstGeom>
          <a:noFill/>
        </p:spPr>
      </p:pic>
      <p:pic>
        <p:nvPicPr>
          <p:cNvPr id="27658" name="Picture 10" descr="C:\Users\CD86~1\AppData\Local\Temp\Rar$DIa0.397\United-Kingdom(Great-Britain).pn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69" cstate="print"/>
          <a:srcRect/>
          <a:stretch>
            <a:fillRect/>
          </a:stretch>
        </p:blipFill>
        <p:spPr bwMode="auto">
          <a:xfrm>
            <a:off x="1179512" y="2459037"/>
            <a:ext cx="390000" cy="360000"/>
          </a:xfrm>
          <a:prstGeom prst="rect">
            <a:avLst/>
          </a:prstGeom>
          <a:noFill/>
        </p:spPr>
      </p:pic>
      <p:pic>
        <p:nvPicPr>
          <p:cNvPr id="27660" name="Picture 12" descr="Flag of Kamchatka Krai.sv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70" cstate="print"/>
          <a:srcRect/>
          <a:stretch>
            <a:fillRect/>
          </a:stretch>
        </p:blipFill>
        <p:spPr bwMode="auto">
          <a:xfrm>
            <a:off x="4630365" y="2587997"/>
            <a:ext cx="386954" cy="238125"/>
          </a:xfrm>
          <a:prstGeom prst="rect">
            <a:avLst/>
          </a:prstGeom>
          <a:noFill/>
        </p:spPr>
      </p:pic>
      <p:cxnSp>
        <p:nvCxnSpPr>
          <p:cNvPr id="41" name="Shape 40"/>
          <p:cNvCxnSpPr>
            <a:stCxn id="22" idx="0"/>
            <a:endCxn id="27660" idx="1"/>
          </p:cNvCxnSpPr>
          <p:nvPr>
            <p:custDataLst>
              <p:tags r:id="rId14"/>
            </p:custDataLst>
          </p:nvPr>
        </p:nvCxnSpPr>
        <p:spPr>
          <a:xfrm rot="16200000" flipH="1">
            <a:off x="3154921" y="1231614"/>
            <a:ext cx="127633" cy="2823256"/>
          </a:xfrm>
          <a:prstGeom prst="curvedConnector4">
            <a:avLst>
              <a:gd name="adj1" fmla="val -179107"/>
              <a:gd name="adj2" fmla="val 46155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cxnSp>
        <p:nvCxnSpPr>
          <p:cNvPr id="44" name="Shape 43"/>
          <p:cNvCxnSpPr>
            <a:stCxn id="27658" idx="0"/>
            <a:endCxn id="27660" idx="1"/>
          </p:cNvCxnSpPr>
          <p:nvPr>
            <p:custDataLst>
              <p:tags r:id="rId15"/>
            </p:custDataLst>
          </p:nvPr>
        </p:nvCxnSpPr>
        <p:spPr>
          <a:xfrm rot="16200000" flipH="1">
            <a:off x="2878426" y="955122"/>
            <a:ext cx="248023" cy="3255853"/>
          </a:xfrm>
          <a:prstGeom prst="curvedConnector4">
            <a:avLst>
              <a:gd name="adj1" fmla="val -92169"/>
              <a:gd name="adj2" fmla="val 52995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cxnSp>
        <p:nvCxnSpPr>
          <p:cNvPr id="51" name="Shape 50"/>
          <p:cNvCxnSpPr>
            <a:stCxn id="27656" idx="2"/>
            <a:endCxn id="27660" idx="1"/>
          </p:cNvCxnSpPr>
          <p:nvPr>
            <p:custDataLst>
              <p:tags r:id="rId16"/>
            </p:custDataLst>
          </p:nvPr>
        </p:nvCxnSpPr>
        <p:spPr>
          <a:xfrm rot="5400000" flipH="1" flipV="1">
            <a:off x="2808535" y="1496486"/>
            <a:ext cx="611255" cy="3032404"/>
          </a:xfrm>
          <a:prstGeom prst="curvedConnector4">
            <a:avLst>
              <a:gd name="adj1" fmla="val -37398"/>
              <a:gd name="adj2" fmla="val 53215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cxnSp>
        <p:nvCxnSpPr>
          <p:cNvPr id="59" name="Скругленная соединительная линия 58"/>
          <p:cNvCxnSpPr>
            <a:stCxn id="58375" idx="0"/>
            <a:endCxn id="27660" idx="2"/>
          </p:cNvCxnSpPr>
          <p:nvPr>
            <p:custDataLst>
              <p:tags r:id="rId17"/>
            </p:custDataLst>
          </p:nvPr>
        </p:nvCxnSpPr>
        <p:spPr>
          <a:xfrm rot="5400000" flipH="1" flipV="1">
            <a:off x="4708982" y="2938274"/>
            <a:ext cx="227011" cy="2709"/>
          </a:xfrm>
          <a:prstGeom prst="curvedConnector3">
            <a:avLst>
              <a:gd name="adj1" fmla="val 50000"/>
            </a:avLst>
          </a:prstGeom>
          <a:ln>
            <a:headEnd type="none" w="med" len="med"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64" name="Shape 63"/>
          <p:cNvCxnSpPr>
            <a:stCxn id="24" idx="2"/>
            <a:endCxn id="27660" idx="1"/>
          </p:cNvCxnSpPr>
          <p:nvPr>
            <p:custDataLst>
              <p:tags r:id="rId18"/>
            </p:custDataLst>
          </p:nvPr>
        </p:nvCxnSpPr>
        <p:spPr>
          <a:xfrm rot="5400000" flipH="1" flipV="1">
            <a:off x="3965514" y="2112221"/>
            <a:ext cx="70012" cy="1259690"/>
          </a:xfrm>
          <a:prstGeom prst="curvedConnector4">
            <a:avLst>
              <a:gd name="adj1" fmla="val -326515"/>
              <a:gd name="adj2" fmla="val 57740"/>
            </a:avLst>
          </a:prstGeom>
          <a:ln>
            <a:headEnd type="none" w="med" len="med"/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66" name="Скругленная соединительная линия 65"/>
          <p:cNvCxnSpPr>
            <a:stCxn id="27654" idx="1"/>
            <a:endCxn id="27660" idx="3"/>
          </p:cNvCxnSpPr>
          <p:nvPr>
            <p:custDataLst>
              <p:tags r:id="rId19"/>
            </p:custDataLst>
          </p:nvPr>
        </p:nvCxnSpPr>
        <p:spPr>
          <a:xfrm rot="10800000" flipV="1">
            <a:off x="5017320" y="2481186"/>
            <a:ext cx="1188481" cy="225874"/>
          </a:xfrm>
          <a:prstGeom prst="curvedConnector3">
            <a:avLst>
              <a:gd name="adj1" fmla="val 50000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pic>
        <p:nvPicPr>
          <p:cNvPr id="24" name="Picture 3" descr="C:\Users\Игорь Копытов\Dropbox\Работа\Полезные вещи\иконки\Flags\Square\Russian-Federation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71" cstate="print"/>
          <a:srcRect/>
          <a:stretch>
            <a:fillRect/>
          </a:stretch>
        </p:blipFill>
        <p:spPr bwMode="auto">
          <a:xfrm>
            <a:off x="3175675" y="2417072"/>
            <a:ext cx="390000" cy="360000"/>
          </a:xfrm>
          <a:prstGeom prst="rect">
            <a:avLst/>
          </a:prstGeom>
          <a:noFill/>
        </p:spPr>
      </p:pic>
      <p:cxnSp>
        <p:nvCxnSpPr>
          <p:cNvPr id="1765" name="Скругленная соединительная линия 1764"/>
          <p:cNvCxnSpPr>
            <a:stCxn id="58373" idx="1"/>
            <a:endCxn id="27660" idx="3"/>
          </p:cNvCxnSpPr>
          <p:nvPr>
            <p:custDataLst>
              <p:tags r:id="rId21"/>
            </p:custDataLst>
          </p:nvPr>
        </p:nvCxnSpPr>
        <p:spPr>
          <a:xfrm rot="10800000">
            <a:off x="5017320" y="2707061"/>
            <a:ext cx="1478731" cy="536815"/>
          </a:xfrm>
          <a:prstGeom prst="curvedConnector3">
            <a:avLst>
              <a:gd name="adj1" fmla="val 50000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cxnSp>
        <p:nvCxnSpPr>
          <p:cNvPr id="1767" name="Скругленная соединительная линия 1766"/>
          <p:cNvCxnSpPr>
            <a:stCxn id="20" idx="0"/>
            <a:endCxn id="27660" idx="2"/>
          </p:cNvCxnSpPr>
          <p:nvPr>
            <p:custDataLst>
              <p:tags r:id="rId22"/>
            </p:custDataLst>
          </p:nvPr>
        </p:nvCxnSpPr>
        <p:spPr>
          <a:xfrm rot="5400000" flipH="1" flipV="1">
            <a:off x="3649484" y="3454181"/>
            <a:ext cx="1802416" cy="546299"/>
          </a:xfrm>
          <a:prstGeom prst="curvedConnector3">
            <a:avLst>
              <a:gd name="adj1" fmla="val 50000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pic>
        <p:nvPicPr>
          <p:cNvPr id="356" name="Picture 3" descr="C:\Users\9124~1\AppData\Local\Temp\Rar$DR26.312\Square\New-Zealand.png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72" cstate="print"/>
          <a:srcRect/>
          <a:stretch>
            <a:fillRect/>
          </a:stretch>
        </p:blipFill>
        <p:spPr bwMode="auto">
          <a:xfrm>
            <a:off x="5017321" y="5064674"/>
            <a:ext cx="390000" cy="360000"/>
          </a:xfrm>
          <a:prstGeom prst="rect">
            <a:avLst/>
          </a:prstGeom>
          <a:noFill/>
        </p:spPr>
      </p:pic>
      <p:pic>
        <p:nvPicPr>
          <p:cNvPr id="363" name="Picture 5" descr="C:\Users\CD86~1\AppData\Local\Temp\Rar$DIa0.820\India.png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73" cstate="print"/>
          <a:srcRect/>
          <a:stretch>
            <a:fillRect/>
          </a:stretch>
        </p:blipFill>
        <p:spPr bwMode="auto">
          <a:xfrm>
            <a:off x="3047486" y="3523101"/>
            <a:ext cx="390000" cy="360000"/>
          </a:xfrm>
          <a:prstGeom prst="rect">
            <a:avLst/>
          </a:prstGeom>
          <a:noFill/>
        </p:spPr>
      </p:pic>
      <p:cxnSp>
        <p:nvCxnSpPr>
          <p:cNvPr id="367" name="Скругленная соединительная линия 366"/>
          <p:cNvCxnSpPr>
            <a:stCxn id="363" idx="0"/>
            <a:endCxn id="27660" idx="2"/>
          </p:cNvCxnSpPr>
          <p:nvPr>
            <p:custDataLst>
              <p:tags r:id="rId25"/>
            </p:custDataLst>
          </p:nvPr>
        </p:nvCxnSpPr>
        <p:spPr>
          <a:xfrm rot="5400000" flipH="1" flipV="1">
            <a:off x="3684675" y="2383934"/>
            <a:ext cx="696979" cy="1581356"/>
          </a:xfrm>
          <a:prstGeom prst="curvedConnector3">
            <a:avLst>
              <a:gd name="adj1" fmla="val 50000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cxnSp>
        <p:nvCxnSpPr>
          <p:cNvPr id="384" name="Скругленная соединительная линия 383"/>
          <p:cNvCxnSpPr>
            <a:stCxn id="356" idx="0"/>
            <a:endCxn id="27660" idx="2"/>
          </p:cNvCxnSpPr>
          <p:nvPr>
            <p:custDataLst>
              <p:tags r:id="rId26"/>
            </p:custDataLst>
          </p:nvPr>
        </p:nvCxnSpPr>
        <p:spPr>
          <a:xfrm rot="16200000" flipV="1">
            <a:off x="3898806" y="3751158"/>
            <a:ext cx="2238553" cy="388479"/>
          </a:xfrm>
          <a:prstGeom prst="curvedConnector3">
            <a:avLst>
              <a:gd name="adj1" fmla="val 50000"/>
            </a:avLst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cxnSp>
        <p:nvCxnSpPr>
          <p:cNvPr id="390" name="Shape 389"/>
          <p:cNvCxnSpPr>
            <a:stCxn id="401" idx="3"/>
            <a:endCxn id="27660" idx="2"/>
          </p:cNvCxnSpPr>
          <p:nvPr>
            <p:custDataLst>
              <p:tags r:id="rId27"/>
            </p:custDataLst>
          </p:nvPr>
        </p:nvCxnSpPr>
        <p:spPr>
          <a:xfrm flipV="1">
            <a:off x="3682381" y="2826122"/>
            <a:ext cx="1141461" cy="549354"/>
          </a:xfrm>
          <a:prstGeom prst="curvedConnector2">
            <a:avLst/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pic>
        <p:nvPicPr>
          <p:cNvPr id="360" name="Picture 5" descr="C:\Users\7474~1\AppData\Local\Temp\Rar$DI28.240\South-Korea.png"/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74" cstate="print"/>
          <a:srcRect/>
          <a:stretch>
            <a:fillRect/>
          </a:stretch>
        </p:blipFill>
        <p:spPr bwMode="auto">
          <a:xfrm>
            <a:off x="4224099" y="3039009"/>
            <a:ext cx="390000" cy="360000"/>
          </a:xfrm>
          <a:prstGeom prst="rect">
            <a:avLst/>
          </a:prstGeom>
          <a:noFill/>
        </p:spPr>
      </p:pic>
      <p:cxnSp>
        <p:nvCxnSpPr>
          <p:cNvPr id="392" name="Скругленная соединительная линия 391"/>
          <p:cNvCxnSpPr>
            <a:stCxn id="360" idx="3"/>
            <a:endCxn id="27660" idx="2"/>
          </p:cNvCxnSpPr>
          <p:nvPr>
            <p:custDataLst>
              <p:tags r:id="rId29"/>
            </p:custDataLst>
          </p:nvPr>
        </p:nvCxnSpPr>
        <p:spPr>
          <a:xfrm flipV="1">
            <a:off x="4614099" y="2826122"/>
            <a:ext cx="209743" cy="392887"/>
          </a:xfrm>
          <a:prstGeom prst="curvedConnector2">
            <a:avLst/>
          </a:prstGeom>
          <a:solidFill>
            <a:srgbClr val="AE2C25"/>
          </a:solidFill>
          <a:ln w="25400">
            <a:solidFill>
              <a:schemeClr val="accent3"/>
            </a:solidFill>
            <a:miter lim="800000"/>
            <a:headEnd type="none" w="med" len="med"/>
            <a:tailEnd type="arrow"/>
          </a:ln>
        </p:spPr>
      </p:cxnSp>
      <p:pic>
        <p:nvPicPr>
          <p:cNvPr id="58375" name="Picture 7" descr="C:\Users\9124~1\AppData\Local\Temp\Rar$DI21.168\Japan.png"/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>
          <a:blip r:embed="rId75" cstate="print"/>
          <a:srcRect/>
          <a:stretch>
            <a:fillRect/>
          </a:stretch>
        </p:blipFill>
        <p:spPr bwMode="auto">
          <a:xfrm>
            <a:off x="4626133" y="3053133"/>
            <a:ext cx="390000" cy="360000"/>
          </a:xfrm>
          <a:prstGeom prst="rect">
            <a:avLst/>
          </a:prstGeom>
          <a:noFill/>
        </p:spPr>
      </p:pic>
      <p:sp>
        <p:nvSpPr>
          <p:cNvPr id="330" name="Title 1"/>
          <p:cNvSpPr txBox="1">
            <a:spLocks/>
          </p:cNvSpPr>
          <p:nvPr>
            <p:custDataLst>
              <p:tags r:id="rId31"/>
            </p:custDataLst>
          </p:nvPr>
        </p:nvSpPr>
        <p:spPr>
          <a:xfrm>
            <a:off x="432467" y="942845"/>
            <a:ext cx="9051651" cy="781180"/>
          </a:xfrm>
          <a:prstGeom prst="rect">
            <a:avLst/>
          </a:prstGeom>
        </p:spPr>
        <p:txBody>
          <a:bodyPr vert="horz" lIns="68415" tIns="34208" rIns="68415" bIns="34208" rtlCol="0" anchor="ctr">
            <a:normAutofit fontScale="97500" lnSpcReduction="10000"/>
          </a:bodyPr>
          <a:lstStyle/>
          <a:p>
            <a:pPr lvl="0" algn="ctr" defTabSz="957816">
              <a:lnSpc>
                <a:spcPct val="90000"/>
              </a:lnSpc>
              <a:spcBef>
                <a:spcPct val="0"/>
              </a:spcBef>
              <a:defRPr/>
            </a:pPr>
            <a:r>
              <a:rPr kumimoji="0" lang="ru-RU" b="1" i="0" u="none" strike="noStrike" kern="1200" cap="none" spc="75" normalizeH="0" baseline="0" noProof="0" dirty="0" smtClean="0">
                <a:ln>
                  <a:noFill/>
                </a:ln>
                <a:solidFill>
                  <a:srgbClr val="00519A"/>
                </a:solidFill>
                <a:effectLst/>
                <a:uLnTx/>
                <a:uFillTx/>
                <a:latin typeface="+mn-lt"/>
                <a:ea typeface="+mj-ea"/>
                <a:cs typeface="Segoe UI" pitchFamily="34" charset="0"/>
              </a:rPr>
              <a:t>Текущий поток в 2014 г.: 61 тыс. </a:t>
            </a:r>
          </a:p>
          <a:p>
            <a:pPr algn="ctr" defTabSz="957816">
              <a:lnSpc>
                <a:spcPct val="90000"/>
              </a:lnSpc>
              <a:spcBef>
                <a:spcPct val="0"/>
              </a:spcBef>
              <a:defRPr/>
            </a:pPr>
            <a:r>
              <a:rPr lang="ru-RU" b="1" spc="75" dirty="0" smtClean="0">
                <a:solidFill>
                  <a:srgbClr val="4BACC6"/>
                </a:solidFill>
                <a:cs typeface="Segoe UI" pitchFamily="34" charset="0"/>
              </a:rPr>
              <a:t>Поток к 2025 г. без ТОР: 130 тыс.</a:t>
            </a:r>
          </a:p>
          <a:p>
            <a:pPr algn="ctr" defTabSz="957816">
              <a:lnSpc>
                <a:spcPct val="90000"/>
              </a:lnSpc>
              <a:spcBef>
                <a:spcPct val="0"/>
              </a:spcBef>
              <a:defRPr/>
            </a:pPr>
            <a:r>
              <a:rPr lang="ru-RU" b="1" spc="75" dirty="0" smtClean="0">
                <a:solidFill>
                  <a:srgbClr val="0076E2"/>
                </a:solidFill>
                <a:cs typeface="Segoe UI" pitchFamily="34" charset="0"/>
              </a:rPr>
              <a:t>Поток к 2025 г. при создании ТОР: 820 тыс. </a:t>
            </a:r>
            <a:endParaRPr kumimoji="0" lang="ru-RU" b="1" i="0" u="none" strike="noStrike" kern="1200" cap="none" spc="75" normalizeH="0" baseline="0" noProof="0" dirty="0" smtClean="0">
              <a:ln>
                <a:noFill/>
              </a:ln>
              <a:solidFill>
                <a:srgbClr val="0076E2"/>
              </a:solidFill>
              <a:effectLst/>
              <a:uLnTx/>
              <a:uFillTx/>
              <a:latin typeface="+mn-lt"/>
              <a:ea typeface="+mj-ea"/>
              <a:cs typeface="Segoe UI" pitchFamily="34" charset="0"/>
            </a:endParaRPr>
          </a:p>
          <a:p>
            <a:pPr lvl="0" algn="ctr" defTabSz="957816">
              <a:lnSpc>
                <a:spcPct val="90000"/>
              </a:lnSpc>
              <a:spcBef>
                <a:spcPct val="0"/>
              </a:spcBef>
              <a:defRPr/>
            </a:pPr>
            <a:endParaRPr kumimoji="0" lang="ru-RU" sz="1600" b="1" i="0" u="none" strike="noStrike" kern="1200" cap="none" spc="75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+mn-lt"/>
              <a:ea typeface="+mj-ea"/>
              <a:cs typeface="Segoe UI" pitchFamily="34" charset="0"/>
            </a:endParaRPr>
          </a:p>
        </p:txBody>
      </p:sp>
      <p:sp>
        <p:nvSpPr>
          <p:cNvPr id="349" name="TextBox 348"/>
          <p:cNvSpPr txBox="1"/>
          <p:nvPr>
            <p:custDataLst>
              <p:tags r:id="rId32"/>
            </p:custDataLst>
          </p:nvPr>
        </p:nvSpPr>
        <p:spPr>
          <a:xfrm>
            <a:off x="1159934" y="5990167"/>
            <a:ext cx="1295400" cy="286232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 defTabSz="957816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1400" b="1" spc="75" dirty="0" smtClean="0">
                <a:solidFill>
                  <a:schemeClr val="accent5">
                    <a:lumMod val="50000"/>
                  </a:schemeClr>
                </a:solidFill>
                <a:ea typeface="+mj-ea"/>
                <a:cs typeface="Segoe UI" pitchFamily="34" charset="0"/>
              </a:rPr>
              <a:t>ТОР</a:t>
            </a:r>
          </a:p>
        </p:txBody>
      </p:sp>
      <p:sp>
        <p:nvSpPr>
          <p:cNvPr id="350" name="TextBox 349"/>
          <p:cNvSpPr txBox="1"/>
          <p:nvPr>
            <p:custDataLst>
              <p:tags r:id="rId33"/>
            </p:custDataLst>
          </p:nvPr>
        </p:nvSpPr>
        <p:spPr>
          <a:xfrm>
            <a:off x="2954866" y="5990165"/>
            <a:ext cx="1540933" cy="286232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 defTabSz="957816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1400" b="1" spc="75" dirty="0" smtClean="0">
                <a:solidFill>
                  <a:schemeClr val="accent5">
                    <a:lumMod val="50000"/>
                  </a:schemeClr>
                </a:solidFill>
                <a:ea typeface="+mj-ea"/>
                <a:cs typeface="Segoe UI" pitchFamily="34" charset="0"/>
              </a:rPr>
              <a:t>Инвестиции</a:t>
            </a:r>
          </a:p>
        </p:txBody>
      </p:sp>
      <p:sp>
        <p:nvSpPr>
          <p:cNvPr id="351" name="TextBox 350"/>
          <p:cNvSpPr txBox="1"/>
          <p:nvPr>
            <p:custDataLst>
              <p:tags r:id="rId34"/>
            </p:custDataLst>
          </p:nvPr>
        </p:nvSpPr>
        <p:spPr>
          <a:xfrm>
            <a:off x="4953000" y="5583767"/>
            <a:ext cx="1540933" cy="424732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 defTabSz="957816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1200" b="1" spc="75" dirty="0" smtClean="0">
                <a:solidFill>
                  <a:schemeClr val="accent5">
                    <a:lumMod val="50000"/>
                  </a:schemeClr>
                </a:solidFill>
                <a:ea typeface="+mj-ea"/>
                <a:cs typeface="Segoe UI" pitchFamily="34" charset="0"/>
              </a:rPr>
              <a:t>Устранение барьеров</a:t>
            </a:r>
          </a:p>
        </p:txBody>
      </p:sp>
      <p:sp>
        <p:nvSpPr>
          <p:cNvPr id="352" name="TextBox 351"/>
          <p:cNvSpPr txBox="1"/>
          <p:nvPr>
            <p:custDataLst>
              <p:tags r:id="rId35"/>
            </p:custDataLst>
          </p:nvPr>
        </p:nvSpPr>
        <p:spPr>
          <a:xfrm>
            <a:off x="4928304" y="6009420"/>
            <a:ext cx="1540933" cy="424732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 defTabSz="957816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1200" b="1" spc="75" dirty="0" smtClean="0">
                <a:solidFill>
                  <a:schemeClr val="accent5">
                    <a:lumMod val="50000"/>
                  </a:schemeClr>
                </a:solidFill>
                <a:ea typeface="+mj-ea"/>
                <a:cs typeface="Segoe UI" pitchFamily="34" charset="0"/>
              </a:rPr>
              <a:t>Развитие точек притяжения</a:t>
            </a:r>
          </a:p>
        </p:txBody>
      </p:sp>
      <p:sp>
        <p:nvSpPr>
          <p:cNvPr id="353" name="TextBox 352"/>
          <p:cNvSpPr txBox="1"/>
          <p:nvPr>
            <p:custDataLst>
              <p:tags r:id="rId36"/>
            </p:custDataLst>
          </p:nvPr>
        </p:nvSpPr>
        <p:spPr>
          <a:xfrm>
            <a:off x="7005255" y="5946926"/>
            <a:ext cx="1540933" cy="286232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pPr algn="ctr" defTabSz="957816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1400" b="1" spc="75" dirty="0" smtClean="0">
                <a:solidFill>
                  <a:schemeClr val="accent5">
                    <a:lumMod val="50000"/>
                  </a:schemeClr>
                </a:solidFill>
                <a:ea typeface="+mj-ea"/>
                <a:cs typeface="Segoe UI" pitchFamily="34" charset="0"/>
              </a:rPr>
              <a:t>Поток туристов</a:t>
            </a:r>
          </a:p>
        </p:txBody>
      </p:sp>
      <p:sp>
        <p:nvSpPr>
          <p:cNvPr id="389" name="Номер слайда 388"/>
          <p:cNvSpPr>
            <a:spLocks noGrp="1"/>
          </p:cNvSpPr>
          <p:nvPr>
            <p:ph type="sldNum" sz="quarter" idx="12"/>
            <p:custDataLst>
              <p:tags r:id="rId37"/>
            </p:custDataLst>
          </p:nvPr>
        </p:nvSpPr>
        <p:spPr/>
        <p:txBody>
          <a:bodyPr/>
          <a:lstStyle/>
          <a:p>
            <a:fld id="{B4D9BBBD-F0FB-4A84-8F1D-95982A81857C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342" name="Freeform 148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92529" y="5935708"/>
            <a:ext cx="291786" cy="337175"/>
          </a:xfrm>
          <a:custGeom>
            <a:avLst/>
            <a:gdLst/>
            <a:ahLst/>
            <a:cxnLst>
              <a:cxn ang="0">
                <a:pos x="0" y="104"/>
              </a:cxn>
              <a:cxn ang="0">
                <a:pos x="90" y="52"/>
              </a:cxn>
              <a:cxn ang="0">
                <a:pos x="0" y="0"/>
              </a:cxn>
              <a:cxn ang="0">
                <a:pos x="30" y="52"/>
              </a:cxn>
              <a:cxn ang="0">
                <a:pos x="0" y="104"/>
              </a:cxn>
            </a:cxnLst>
            <a:rect l="0" t="0" r="r" b="b"/>
            <a:pathLst>
              <a:path w="90" h="104">
                <a:moveTo>
                  <a:pt x="0" y="104"/>
                </a:moveTo>
                <a:lnTo>
                  <a:pt x="90" y="52"/>
                </a:lnTo>
                <a:lnTo>
                  <a:pt x="0" y="0"/>
                </a:lnTo>
                <a:lnTo>
                  <a:pt x="30" y="52"/>
                </a:lnTo>
                <a:lnTo>
                  <a:pt x="0" y="104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43" name="Freeform 148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4562305" y="5928639"/>
            <a:ext cx="291786" cy="337175"/>
          </a:xfrm>
          <a:custGeom>
            <a:avLst/>
            <a:gdLst/>
            <a:ahLst/>
            <a:cxnLst>
              <a:cxn ang="0">
                <a:pos x="0" y="104"/>
              </a:cxn>
              <a:cxn ang="0">
                <a:pos x="90" y="52"/>
              </a:cxn>
              <a:cxn ang="0">
                <a:pos x="0" y="0"/>
              </a:cxn>
              <a:cxn ang="0">
                <a:pos x="30" y="52"/>
              </a:cxn>
              <a:cxn ang="0">
                <a:pos x="0" y="104"/>
              </a:cxn>
            </a:cxnLst>
            <a:rect l="0" t="0" r="r" b="b"/>
            <a:pathLst>
              <a:path w="90" h="104">
                <a:moveTo>
                  <a:pt x="0" y="104"/>
                </a:moveTo>
                <a:lnTo>
                  <a:pt x="90" y="52"/>
                </a:lnTo>
                <a:lnTo>
                  <a:pt x="0" y="0"/>
                </a:lnTo>
                <a:lnTo>
                  <a:pt x="30" y="52"/>
                </a:lnTo>
                <a:lnTo>
                  <a:pt x="0" y="104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44" name="Freeform 148"/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6613108" y="5934660"/>
            <a:ext cx="291786" cy="337175"/>
          </a:xfrm>
          <a:custGeom>
            <a:avLst/>
            <a:gdLst/>
            <a:ahLst/>
            <a:cxnLst>
              <a:cxn ang="0">
                <a:pos x="0" y="104"/>
              </a:cxn>
              <a:cxn ang="0">
                <a:pos x="90" y="52"/>
              </a:cxn>
              <a:cxn ang="0">
                <a:pos x="0" y="0"/>
              </a:cxn>
              <a:cxn ang="0">
                <a:pos x="30" y="52"/>
              </a:cxn>
              <a:cxn ang="0">
                <a:pos x="0" y="104"/>
              </a:cxn>
            </a:cxnLst>
            <a:rect l="0" t="0" r="r" b="b"/>
            <a:pathLst>
              <a:path w="90" h="104">
                <a:moveTo>
                  <a:pt x="0" y="104"/>
                </a:moveTo>
                <a:lnTo>
                  <a:pt x="90" y="52"/>
                </a:lnTo>
                <a:lnTo>
                  <a:pt x="0" y="0"/>
                </a:lnTo>
                <a:lnTo>
                  <a:pt x="30" y="52"/>
                </a:lnTo>
                <a:lnTo>
                  <a:pt x="0" y="104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Правая круглая скобка 7"/>
          <p:cNvSpPr/>
          <p:nvPr>
            <p:custDataLst>
              <p:tags r:id="rId41"/>
            </p:custDataLst>
          </p:nvPr>
        </p:nvSpPr>
        <p:spPr>
          <a:xfrm>
            <a:off x="6273420" y="5575088"/>
            <a:ext cx="103620" cy="905550"/>
          </a:xfrm>
          <a:prstGeom prst="rightBracket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Левая круглая скобка 8"/>
          <p:cNvSpPr/>
          <p:nvPr>
            <p:custDataLst>
              <p:tags r:id="rId42"/>
            </p:custDataLst>
          </p:nvPr>
        </p:nvSpPr>
        <p:spPr>
          <a:xfrm>
            <a:off x="5026741" y="5577860"/>
            <a:ext cx="65523" cy="905550"/>
          </a:xfrm>
          <a:prstGeom prst="leftBracket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38" name="Объект 337"/>
          <p:cNvGraphicFramePr>
            <a:graphicFrameLocks noChangeAspect="1"/>
          </p:cNvGraphicFramePr>
          <p:nvPr>
            <p:custDataLst>
              <p:tags r:id="rId43"/>
            </p:custDataLst>
          </p:nvPr>
        </p:nvGraphicFramePr>
        <p:xfrm>
          <a:off x="3448050" y="1630362"/>
          <a:ext cx="1381190" cy="12382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45" name="Диаграмма" r:id="rId76" imgW="1381017" imgH="1238185" progId="MSGraph.Chart.8">
                  <p:embed followColorScheme="full"/>
                </p:oleObj>
              </mc:Choice>
              <mc:Fallback>
                <p:oleObj name="Диаграмма" r:id="rId76" imgW="1381017" imgH="1238185" progId="MSGraph.Chart.8">
                  <p:embed followColorScheme="full"/>
                  <p:pic>
                    <p:nvPicPr>
                      <p:cNvPr id="0" name="Picture 8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48050" y="1630362"/>
                        <a:ext cx="1381190" cy="12382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5" name="Прямоугольник 374"/>
          <p:cNvSpPr/>
          <p:nvPr>
            <p:custDataLst>
              <p:tags r:id="rId44"/>
            </p:custDataLst>
          </p:nvPr>
        </p:nvSpPr>
        <p:spPr bwMode="auto">
          <a:xfrm>
            <a:off x="3870325" y="1531937"/>
            <a:ext cx="252412" cy="1682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542523-C85F-4A89-BB3E-C01B0E95B893}" type="datetime'''''2''''1''''0'''''''''''''''''''''''''''''''''''''''">
              <a:rPr lang="en-US" sz="1100" b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0</a:t>
            </a:fld>
            <a:endParaRPr lang="ru-RU" sz="11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graphicFrame>
        <p:nvGraphicFramePr>
          <p:cNvPr id="376" name="Объект 375"/>
          <p:cNvGraphicFramePr>
            <a:graphicFrameLocks noChangeAspect="1"/>
          </p:cNvGraphicFramePr>
          <p:nvPr>
            <p:custDataLst>
              <p:tags r:id="rId45"/>
            </p:custDataLst>
          </p:nvPr>
        </p:nvGraphicFramePr>
        <p:xfrm>
          <a:off x="6784975" y="2571750"/>
          <a:ext cx="1381190" cy="9525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46" name="Диаграмма" r:id="rId78" imgW="1381017" imgH="952596" progId="MSGraph.Chart.8">
                  <p:embed followColorScheme="full"/>
                </p:oleObj>
              </mc:Choice>
              <mc:Fallback>
                <p:oleObj name="Диаграмма" r:id="rId78" imgW="1381017" imgH="952596" progId="MSGraph.Chart.8">
                  <p:embed followColorScheme="full"/>
                  <p:pic>
                    <p:nvPicPr>
                      <p:cNvPr id="0" name="Picture 8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784975" y="2571750"/>
                        <a:ext cx="1381190" cy="9525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7" name="Прямоугольник 376"/>
          <p:cNvSpPr/>
          <p:nvPr>
            <p:custDataLst>
              <p:tags r:id="rId46"/>
            </p:custDataLst>
          </p:nvPr>
        </p:nvSpPr>
        <p:spPr bwMode="auto">
          <a:xfrm>
            <a:off x="7207250" y="2473325"/>
            <a:ext cx="252412" cy="1682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11FE411-9479-479C-B78F-2261FFFFC5AF}" type="datetime'''''1''''2''''''''''''''''5'">
              <a:rPr lang="en-US" sz="1100" b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5</a:t>
            </a:fld>
            <a:endParaRPr lang="ru-RU" sz="11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graphicFrame>
        <p:nvGraphicFramePr>
          <p:cNvPr id="381" name="Объект 380"/>
          <p:cNvGraphicFramePr>
            <a:graphicFrameLocks noChangeAspect="1"/>
          </p:cNvGraphicFramePr>
          <p:nvPr>
            <p:custDataLst>
              <p:tags r:id="rId47"/>
            </p:custDataLst>
          </p:nvPr>
        </p:nvGraphicFramePr>
        <p:xfrm>
          <a:off x="6494462" y="1871662"/>
          <a:ext cx="1381190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47" name="Диаграмма" r:id="rId80" imgW="1381017" imgH="914535" progId="MSGraph.Chart.8">
                  <p:embed followColorScheme="full"/>
                </p:oleObj>
              </mc:Choice>
              <mc:Fallback>
                <p:oleObj name="Диаграмма" r:id="rId80" imgW="1381017" imgH="914535" progId="MSGraph.Chart.8">
                  <p:embed followColorScheme="full"/>
                  <p:pic>
                    <p:nvPicPr>
                      <p:cNvPr id="0" name="Picture 8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94462" y="1871662"/>
                        <a:ext cx="1381190" cy="9144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83" name="Объект 382"/>
          <p:cNvGraphicFramePr>
            <a:graphicFrameLocks noChangeAspect="1"/>
          </p:cNvGraphicFramePr>
          <p:nvPr>
            <p:custDataLst>
              <p:tags r:id="rId48"/>
            </p:custDataLst>
          </p:nvPr>
        </p:nvGraphicFramePr>
        <p:xfrm>
          <a:off x="5307012" y="4932362"/>
          <a:ext cx="1381190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48" name="Диаграмма" r:id="rId82" imgW="1381017" imgH="914535" progId="MSGraph.Chart.8">
                  <p:embed followColorScheme="full"/>
                </p:oleObj>
              </mc:Choice>
              <mc:Fallback>
                <p:oleObj name="Диаграмма" r:id="rId82" imgW="1381017" imgH="914535" progId="MSGraph.Chart.8">
                  <p:embed followColorScheme="full"/>
                  <p:pic>
                    <p:nvPicPr>
                      <p:cNvPr id="0" name="Picture 8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07012" y="4932362"/>
                        <a:ext cx="1381190" cy="9144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86" name="Объект 385"/>
          <p:cNvGraphicFramePr>
            <a:graphicFrameLocks noChangeAspect="1"/>
          </p:cNvGraphicFramePr>
          <p:nvPr>
            <p:custDataLst>
              <p:tags r:id="rId49"/>
            </p:custDataLst>
          </p:nvPr>
        </p:nvGraphicFramePr>
        <p:xfrm>
          <a:off x="4371974" y="4467225"/>
          <a:ext cx="1381190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49" name="Диаграмма" r:id="rId84" imgW="1381017" imgH="914535" progId="MSGraph.Chart.8">
                  <p:embed followColorScheme="full"/>
                </p:oleObj>
              </mc:Choice>
              <mc:Fallback>
                <p:oleObj name="Диаграмма" r:id="rId84" imgW="1381017" imgH="914535" progId="MSGraph.Chart.8">
                  <p:embed followColorScheme="full"/>
                  <p:pic>
                    <p:nvPicPr>
                      <p:cNvPr id="0" name="Picture 8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71974" y="4467225"/>
                        <a:ext cx="1381190" cy="9144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88" name="Объект 387"/>
          <p:cNvGraphicFramePr>
            <a:graphicFrameLocks noChangeAspect="1"/>
          </p:cNvGraphicFramePr>
          <p:nvPr>
            <p:custDataLst>
              <p:tags r:id="rId50"/>
            </p:custDataLst>
          </p:nvPr>
        </p:nvGraphicFramePr>
        <p:xfrm>
          <a:off x="1901825" y="2178050"/>
          <a:ext cx="1381190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50" name="Диаграмма" r:id="rId86" imgW="1381017" imgH="914535" progId="MSGraph.Chart.8">
                  <p:embed followColorScheme="full"/>
                </p:oleObj>
              </mc:Choice>
              <mc:Fallback>
                <p:oleObj name="Диаграмма" r:id="rId86" imgW="1381017" imgH="914535" progId="MSGraph.Chart.8">
                  <p:embed followColorScheme="full"/>
                  <p:pic>
                    <p:nvPicPr>
                      <p:cNvPr id="0" name="Picture 8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1825" y="2178050"/>
                        <a:ext cx="1381190" cy="9144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91" name="Объект 390"/>
          <p:cNvGraphicFramePr>
            <a:graphicFrameLocks noChangeAspect="1"/>
          </p:cNvGraphicFramePr>
          <p:nvPr>
            <p:custDataLst>
              <p:tags r:id="rId51"/>
            </p:custDataLst>
          </p:nvPr>
        </p:nvGraphicFramePr>
        <p:xfrm>
          <a:off x="768350" y="2673350"/>
          <a:ext cx="1381190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51" name="Диаграмма" r:id="rId88" imgW="1381017" imgH="914535" progId="MSGraph.Chart.8">
                  <p:embed followColorScheme="full"/>
                </p:oleObj>
              </mc:Choice>
              <mc:Fallback>
                <p:oleObj name="Диаграмма" r:id="rId88" imgW="1381017" imgH="914535" progId="MSGraph.Chart.8">
                  <p:embed followColorScheme="full"/>
                  <p:pic>
                    <p:nvPicPr>
                      <p:cNvPr id="0" name="Picture 8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8350" y="2673350"/>
                        <a:ext cx="1381190" cy="9144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93" name="Объект 392"/>
          <p:cNvGraphicFramePr>
            <a:graphicFrameLocks noChangeAspect="1"/>
          </p:cNvGraphicFramePr>
          <p:nvPr>
            <p:custDataLst>
              <p:tags r:id="rId52"/>
            </p:custDataLst>
          </p:nvPr>
        </p:nvGraphicFramePr>
        <p:xfrm>
          <a:off x="463550" y="2168525"/>
          <a:ext cx="1381190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52" name="Диаграмма" r:id="rId90" imgW="1381017" imgH="914535" progId="MSGraph.Chart.8">
                  <p:embed followColorScheme="full"/>
                </p:oleObj>
              </mc:Choice>
              <mc:Fallback>
                <p:oleObj name="Диаграмма" r:id="rId90" imgW="1381017" imgH="914535" progId="MSGraph.Chart.8">
                  <p:embed followColorScheme="full"/>
                  <p:pic>
                    <p:nvPicPr>
                      <p:cNvPr id="0" name="Picture 8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3550" y="2168525"/>
                        <a:ext cx="1381190" cy="9144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94" name="Объект 393"/>
          <p:cNvGraphicFramePr>
            <a:graphicFrameLocks noChangeAspect="1"/>
          </p:cNvGraphicFramePr>
          <p:nvPr>
            <p:custDataLst>
              <p:tags r:id="rId53"/>
            </p:custDataLst>
          </p:nvPr>
        </p:nvGraphicFramePr>
        <p:xfrm>
          <a:off x="4881562" y="2541587"/>
          <a:ext cx="1381190" cy="9525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53" name="Диаграмма" r:id="rId92" imgW="1381017" imgH="952596" progId="MSGraph.Chart.8">
                  <p:embed followColorScheme="full"/>
                </p:oleObj>
              </mc:Choice>
              <mc:Fallback>
                <p:oleObj name="Диаграмма" r:id="rId92" imgW="1381017" imgH="952596" progId="MSGraph.Chart.8">
                  <p:embed followColorScheme="full"/>
                  <p:pic>
                    <p:nvPicPr>
                      <p:cNvPr id="0" name="Picture 8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81562" y="2541587"/>
                        <a:ext cx="1381190" cy="9525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96" name="Объект 395"/>
          <p:cNvGraphicFramePr>
            <a:graphicFrameLocks noChangeAspect="1"/>
          </p:cNvGraphicFramePr>
          <p:nvPr>
            <p:custDataLst>
              <p:tags r:id="rId54"/>
            </p:custDataLst>
          </p:nvPr>
        </p:nvGraphicFramePr>
        <p:xfrm>
          <a:off x="3336925" y="3319462"/>
          <a:ext cx="1381190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54" name="Диаграмма" r:id="rId94" imgW="1381017" imgH="914535" progId="MSGraph.Chart.8">
                  <p:embed followColorScheme="full"/>
                </p:oleObj>
              </mc:Choice>
              <mc:Fallback>
                <p:oleObj name="Диаграмма" r:id="rId94" imgW="1381017" imgH="914535" progId="MSGraph.Chart.8">
                  <p:embed followColorScheme="full"/>
                  <p:pic>
                    <p:nvPicPr>
                      <p:cNvPr id="0" name="Picture 8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36925" y="3319462"/>
                        <a:ext cx="1381190" cy="9144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97" name="Объект 396"/>
          <p:cNvGraphicFramePr>
            <a:graphicFrameLocks noChangeAspect="1"/>
          </p:cNvGraphicFramePr>
          <p:nvPr>
            <p:custDataLst>
              <p:tags r:id="rId55"/>
            </p:custDataLst>
          </p:nvPr>
        </p:nvGraphicFramePr>
        <p:xfrm>
          <a:off x="3581400" y="2813050"/>
          <a:ext cx="1381190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55" name="Диаграмма" r:id="rId96" imgW="1381017" imgH="914535" progId="MSGraph.Chart.8">
                  <p:embed followColorScheme="full"/>
                </p:oleObj>
              </mc:Choice>
              <mc:Fallback>
                <p:oleObj name="Диаграмма" r:id="rId96" imgW="1381017" imgH="914535" progId="MSGraph.Chart.8">
                  <p:embed followColorScheme="full"/>
                  <p:pic>
                    <p:nvPicPr>
                      <p:cNvPr id="0" name="Picture 8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81400" y="2813050"/>
                        <a:ext cx="1381190" cy="9144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8" name="Прямоугольник 397"/>
          <p:cNvSpPr/>
          <p:nvPr>
            <p:custDataLst>
              <p:tags r:id="rId56"/>
            </p:custDataLst>
          </p:nvPr>
        </p:nvSpPr>
        <p:spPr bwMode="auto">
          <a:xfrm>
            <a:off x="4003675" y="2714625"/>
            <a:ext cx="252412" cy="1682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9050" tIns="0" rIns="1905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FA00D51-DACC-45CC-A2CA-4069D767CF14}" type="datetime'''''''''''''1''''''''''''''''0''''''''0'''''''''''''''''''''''">
              <a:rPr lang="en-US" sz="1100" b="1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ru-RU" sz="11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graphicFrame>
        <p:nvGraphicFramePr>
          <p:cNvPr id="399" name="Объект 398"/>
          <p:cNvGraphicFramePr>
            <a:graphicFrameLocks noChangeAspect="1"/>
          </p:cNvGraphicFramePr>
          <p:nvPr>
            <p:custDataLst>
              <p:tags r:id="rId57"/>
            </p:custDataLst>
          </p:nvPr>
        </p:nvGraphicFramePr>
        <p:xfrm>
          <a:off x="5203824" y="3636962"/>
          <a:ext cx="1381190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56" name="Диаграмма" r:id="rId98" imgW="1381017" imgH="914535" progId="MSGraph.Chart.8">
                  <p:embed followColorScheme="full"/>
                </p:oleObj>
              </mc:Choice>
              <mc:Fallback>
                <p:oleObj name="Диаграмма" r:id="rId98" imgW="1381017" imgH="914535" progId="MSGraph.Chart.8">
                  <p:embed followColorScheme="full"/>
                  <p:pic>
                    <p:nvPicPr>
                      <p:cNvPr id="0" name="Picture 8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03824" y="3636962"/>
                        <a:ext cx="1381190" cy="9144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1" name="Picture 6" descr="C:\Users\7474~1\AppData\Local\Temp\Rar$DI04.944\China.png"/>
          <p:cNvPicPr>
            <a:picLocks noChangeAspect="1" noChangeArrowheads="1"/>
          </p:cNvPicPr>
          <p:nvPr>
            <p:custDataLst>
              <p:tags r:id="rId58"/>
            </p:custDataLst>
          </p:nvPr>
        </p:nvPicPr>
        <p:blipFill>
          <a:blip r:embed="rId100" cstate="print"/>
          <a:srcRect/>
          <a:stretch>
            <a:fillRect/>
          </a:stretch>
        </p:blipFill>
        <p:spPr bwMode="auto">
          <a:xfrm>
            <a:off x="3292381" y="3195476"/>
            <a:ext cx="390000" cy="360000"/>
          </a:xfrm>
          <a:prstGeom prst="rect">
            <a:avLst/>
          </a:prstGeom>
          <a:noFill/>
        </p:spPr>
      </p:pic>
      <p:cxnSp>
        <p:nvCxnSpPr>
          <p:cNvPr id="403" name="Прямая со стрелкой 402"/>
          <p:cNvCxnSpPr/>
          <p:nvPr>
            <p:custDataLst>
              <p:tags r:id="rId59"/>
            </p:custDataLst>
          </p:nvPr>
        </p:nvCxnSpPr>
        <p:spPr>
          <a:xfrm rot="10800000">
            <a:off x="4445000" y="3436938"/>
            <a:ext cx="855142" cy="720202"/>
          </a:xfrm>
          <a:prstGeom prst="straightConnector1">
            <a:avLst/>
          </a:prstGeom>
          <a:ln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51262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68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9&quot;&gt;&lt;elem m_fUsage=&quot;1.89999999999999990000E+000&quot;&gt;&lt;m_ppcolschidx val=&quot;0&quot;/&gt;&lt;m_rgb r=&quot;c9&quot; g=&quot;e5&quot; b=&quot;ff&quot;/&gt;&lt;/elem&gt;&lt;elem m_fUsage=&quot;1.44957207595815920000E+000&quot;&gt;&lt;m_ppcolschidx val=&quot;0&quot;/&gt;&lt;m_rgb r=&quot;1f&quot; g=&quot;49&quot; b=&quot;7d&quot;/&gt;&lt;/elem&gt;&lt;elem m_fUsage=&quot;1.18754100000000020000E+000&quot;&gt;&lt;m_ppcolschidx val=&quot;0&quot;/&gt;&lt;m_rgb r=&quot;70&quot; g=&quot;b1&quot; b=&quot;54&quot;/&gt;&lt;/elem&gt;&lt;elem m_fUsage=&quot;1.12381059609000020000E+000&quot;&gt;&lt;m_ppcolschidx val=&quot;0&quot;/&gt;&lt;m_rgb r=&quot;c9&quot; g=&quot;e0&quot; b=&quot;7a&quot;/&gt;&lt;/elem&gt;&lt;elem m_fUsage=&quot;1.07767844010000010000E+000&quot;&gt;&lt;m_ppcolschidx val=&quot;0&quot;/&gt;&lt;m_rgb r=&quot;c5&quot; g=&quot;e0&quot; b=&quot;b4&quot;/&gt;&lt;/elem&gt;&lt;elem m_fUsage=&quot;1.05535575808311630000E+000&quot;&gt;&lt;m_ppcolschidx val=&quot;0&quot;/&gt;&lt;m_rgb r=&quot;9b&quot; g=&quot;c6&quot; b=&quot;2e&quot;/&gt;&lt;/elem&gt;&lt;elem m_fUsage=&quot;5.90490000000000180000E-001&quot;&gt;&lt;m_ppcolschidx val=&quot;0&quot;/&gt;&lt;m_rgb r=&quot;a5&quot; g=&quot;c6&quot; b=&quot;2e&quot;/&gt;&lt;/elem&gt;&lt;elem m_fUsage=&quot;4.30467210000000160000E-001&quot;&gt;&lt;m_ppcolschidx val=&quot;0&quot;/&gt;&lt;m_rgb r=&quot;81&quot; g=&quot;c0&quot; b=&quot;65&quot;/&gt;&lt;/elem&gt;&lt;elem m_fUsage=&quot;3.87420489000000150000E-001&quot;&gt;&lt;m_ppcolschidx val=&quot;0&quot;/&gt;&lt;m_rgb r=&quot;a2&quot; g=&quot;d1&quot; b=&quot;8e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36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hKE2TWYEW0osHXmdgOa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o7gbDVCUueu6mT_WZl1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UwpsNcM0i.Lm6parIwv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FIB1AqyUqjVNVkKC4fI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vkFiZoIkiQzgGWxTlFI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W5bOoTA0Ctkd.qrRmag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wYtPTQG0.ww3gqzJrx7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2VdH4wn0elQxpau19gF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zoqPrN20u1uFumvIqYM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m3tRge2UCrNtrt8C9gM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029zma.EyPYfCyRwQm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5EoXIOTEC0R3hTJGgq.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ousI0t4kiMmmebHYYBW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wxCZt_UUGZ2LDxl14pG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63cu36ekyQ.LcAZndoh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Eohk5qPUqPALf445tuC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109LMk2kakzP1LU.rDY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dY17vBFk6d6Iwvyn06X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lQT12vg0KBrhxhBzO19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VeSc8T5Eq7.oelqzB1q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7wCibvPE6XXSPZAT3cu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tfI4FeZkaa.jCQdyko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ZvCO1kf0yFd1h2DCw4l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Tbc82KVkmFNd3O9Dzps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0oI3CKDEi0TQhs5rhfx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XFamgYv0a1gYwRCoby6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izbAlEV0Wh4S0WSg3OJ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fB3gDEIEOhpBAx9V0Oo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HwZCcbtU2Y_ojeptIAt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j.7M2_5UCX5CtSCVTFI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F3AW708Ea_0IRfK6XXc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aY3j044Eyxt93LUptfh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MVdPGvlUuSvIMK.zju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33GYCUE0yMfmh3KfKpq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rF6igkyx1Wu3WbCjh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5T3o3gxk.6kmYBkX92R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y2hbeSI0qlf1jPKYKrN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CCMn.ddUeryAcj0jSk2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f.mqdpeUie.7v.GKhot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QnZD2TIkultX6iii5Xf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Srjhi6HUmzAZ4GtYWTR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XYsX3M4kCdmjaw8qDpK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KEiBLJyE6G3kAPfrdL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_tsy17UUCg8TeV.LAqR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LfJjlKKUyOQ_mzZUN8A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pwoiAuZEKuF3RAiG6ni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q.l74z8EitdYK_KF9x5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wm6GuRq0OrgFC6GyeDz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LHdIUnK0WswwnwX0akP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rrJLk2IEGy6Elmjgb4B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wM5x2OeU60M_I_O22Qn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Nn.K95FkqAqrTFPC4L4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iQM5B_MUm4JBdujRf9k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uMi6nExkmb.uj7AZP4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FqBp.EfU66Y.KHP86.S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X.JdQCWEq2o.mwXE8dx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PVHHMLRUGRY94b1NWjf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lg9vY8H0q0sVAj5vtVW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7nYX81tE6i.TSOFqVPa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r6S..3hEyS7bDtTY.HG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2_ADhi70inoO1f7zdK9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8FSCl160GO99u2Gz8XN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oy6fXqAUKT_uPHeDyRK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IAewEUYkm69yl8aEEx3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9LL0J8HUafSAWJD3.2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zoKZnv7EuymIQvDyoIM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oui4CEXEmWOP9AYPzrr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_MviSZFN0uyGHU0W7wor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gvCCy_JE2QgG4A5EKOc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IAewEUYkm69yl8aEEx3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X.JdQCWEq2o.mwXE8dx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9LL0J8HUafSAWJD3.2w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PVHHMLRUGRY94b1NWjf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QvZuNEZEi4b6IMs_7gC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oui4CEXEmWOP9AYPzrr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lg9vY8H0q0sVAj5vtV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YmmIMQsUWAtCmCcPv_m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7nYX81tE6i.TSOFqVPa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6a_Fq2tkCDbL_Xh_JpZ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cY98nnZkmeimmibf9rj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r6S..3hEyS7bDtTY.HG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2_ADhi70inoO1f7zdK9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_MviSZFN0uyGHU0W7wor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8FSCl160GO99u2Gz8XN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gvCCy_JE2QgG4A5EKOc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TQykFQi0OCKJNYDU8bH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oy6fXqAUKT_uPHeDyR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zpAcaYrkGs7u8cJVuTF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Jy8GWAt0KPcAyywQnbw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_q2cNbq0axhfu0P4LMV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IAewEUYkm69yl8aEEx3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pdwtoIJkK9tiFp5m0N_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Z3gsu7LEeZMH0vqzwrB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niUUD1V0C5OYnkZjDC3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mWDKCGEUWh4LNkzHuvk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hGC8cTKEe87x6HkswCN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rBO2t3Tk2F0Wdi32M.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oWqPkNZEShVi9Pfk74n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nWyHwTj0uWM0adwwvXW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pWlXOM.Ua_z1XF3uNuX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yt7HpMA0Kpy7UiOrzYS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WdiCp7SUK7zoKbNL5CF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2tBPMaakuknEEtO3zK_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uHJrLzlEqaftLgpDiaT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NkEOJ1FUahvPW_BYtTG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vvzeU0U.q.YrJFQQ9_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COha5mGkO3gZCZUEtcf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BjNG.D50.ghdrJcjj4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5EoXIOTEC0R3hTJGgq.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Uc7K2dKk2yOaegY4bDp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WA9jVskkSFvqFiUmYRQ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KxdEb7eUmX4GhmYZbQQ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A3jXrquEOy7Mjc9L.yV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0vTTegKEqHiHG_kISm8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8SbyjH50KR3TSmSncZb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_ISHsCREekKdoHRt9hV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M_Xqgj5Ei6Ynpx6h7kx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Zwgq74vkaCSUCAsJFPj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2FVeqLxUSTcmQLN2WMo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dWAA5g30S8KolZW0MI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qhkBpONky2.aUVcxYH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E9WigPy0ywNQxweSkqA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ReEJo.wkSIbs4RNKyhK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E9WigPy0ywNQxweSkqA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ReEJo.wkSIbs4RNKyhK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E9WigPy0ywNQxweSkqA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ReEJo.wkSIbs4RNKyhK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_fu7AUO0Wg0DbTHXpbc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D8XWRZO0m24Ar9cqxuS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._BRZY7kaWsguSKmmrD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vZkdzLlU6U.WIJeDCp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LrIPiBF0CastYd_5WHr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rH7_UTE0OGUys2Yp1q6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CF.kDFZU6kiVsVqnhnJ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FPWYkG5E2yNswk.jJ1H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Zm_S8zxkKhCrWbYo5jX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5UfBiVKEepPKqskdOLV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34_6wGU67gboJHlHw7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WqVATnWEWYOer.GrG4t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_pGYI2NEyb9IeEx6ukK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pSVsTOi0KsBIAC.c5Fu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ZHQ2GGSkmhQQ75rI0X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GA7JNc0EeyquTWZpFeu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1V_7YcmU6s8z7LYqKQr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SCj_ZE10C5_Gc1YwAbX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RxSK0VT0CXsT9Yk_5qE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93PA0v6katU7jfK5aSg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qUdgaJ8UaAeU6p2Kkzn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LO1NxdqEKRJNLY_FKyp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kRj52pL0K5VDR30BFR8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VPE8zL40O4PsOEV9Vck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fYJOUj1EGqrbVU1G_0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nAykvVV0WJxbFMPo2u0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DGm1pMN0Od9GAYCDK9Q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.buIMhqkC.9KO7t.9TH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HjQgj6bE.lKa3wIQ73b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NXHYuUckaeTHmmuSf8Z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jE9Aq9UEKeGlSde30aq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4fj_Jx5E2GF.3F4Y.gv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281skJVUS.TJEFAOuno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Ye_qaiqk6UoWyhZZ24S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mYu1C.PUyS2B53xW2P_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7ngmxQCU.Fd_KwSjkos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hkOm7MBU.pg3Y7B2GaP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d16JXiakeQTQ3aznqU2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B96bd1ekSOdh.BBAXKJ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xUxnDiO0eOBxNkExPjg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b2evqsGkisXBgfT6pFJ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ifHOKuCE6X.QHoj9er9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1wNPGjN0uoWttcz9a0e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rIYOIaaEGUKnCtlCino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QEnGI_sE.kb3mntKLA_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YTHl6neEOVZjOuUilkN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FaFguF20.gYZfNLg1h4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M_1oiagUiZDM0bkSstt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wbEXDFr0WYJOMI1D_PZ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iqLGBxqEqpfcsjnd0FC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ItKb6kaUiIa0KrZ2.jA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Af.ACBwU62sHAvdMic5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xeGeE8UU.s0SXx1sLj2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aCGR3hIkCoFDgMPQUio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P2lmNBjUmpKviUj7ZGk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tZk54q9E2KvFuMHakQs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oxFD7gL0GX8otRg1fJ_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scJyPRj0.3Cz70NL0lr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ETwdVJMUKRs84NCDAUP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YTHl6neEOVZjOuUilkN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8cOW3EG0ORAB6gwqDa2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M_1oiagUiZDM0bkSstt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YTHl6neEOVZjOuUilkN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YTHl6neEOVZjOuUilkN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NGP01DpUiodHa2f_WB8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rhY11fV0iBbF5PVSmq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Q_grXr9EisWVHHyyrvz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Jg8RSF1EiCnTbBQVG1t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nXEbMuHEy.nMBmsPdhp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tfmnk98kyP84_jdGsoR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Mgv63jBU2KixJ3OaZ5Z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8cOW3EG0ORAB6gwqDa2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8cOW3EG0ORAB6gwqDa2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8cOW3EG0ORAB6gwqDa2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94cFbVxUOrn8rnTqHI.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8cOW3EG0ORAB6gwqDa2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94cFbVxUOrn8rnTqHI.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buOQETTkSendCKFQCEO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94cFbVxUOrn8rnTqHI.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94cFbVxUOrn8rnTqHI.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94cFbVxUOrn8rnTqHI.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38XDqWrUWAJJ9uc7Q..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38XDqWrUWAJJ9uc7Q..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38XDqWrUWAJJ9uc7Q..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aCGR3hIkCoFDgMPQUio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P2lmNBjUmpKviUj7ZGk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Mgv63jBU2KixJ3OaZ5Z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38XDqWrUWAJJ9uc7Q.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DEX2TSg0yX0b4y4KKm1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pFjA7HR0.VafV9._2Zb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P2lmNBjUmpKviUj7ZGk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8cOW3EG0ORAB6gwqDa2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xUxnDiO0eOBxNkExPjg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8cOW3EG0ORAB6gwqDa2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8cOW3EG0ORAB6gwqDa2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8cOW3EG0ORAB6gwqDa2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8cOW3EG0ORAB6gwqDa2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8cOW3EG0ORAB6gwqDa2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8cOW3EG0ORAB6gwqDa2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8cOW3EG0ORAB6gwqDa2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hnT2E41Eqg1azBTskFd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8cOW3EG0ORAB6gwqDa2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8cOW3EG0ORAB6gwqDa2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P2lmNBjUmpKviUj7ZGk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8cOW3EG0ORAB6gwqDa2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GWFLjmR0iCDuxASpAh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oTt.lPXU.yDCJ.S25M.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aZcw8hbkW0YtyoYG7N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2ih.Mu4UOORvA5qyri5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qbxot8T0eUCG4pJ9gy5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PeMvJjqEGlFqSF7wB6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Ak6X.GYU2jgFLRM72W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PSS64Rg06pBxCBn9xK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tiL_zhxkCJK3n7kP6Iy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V_nklSt0yPcu0hRUxs.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Ng1rydjESkzpMu_rjnM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ZpmWqor0GmRMtlV86Mu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wuT2JyBEiogoSX.H4Mc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ixyrkiRUW7ybfbAIYXz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5vvReEfUOcWBqpR8l.v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3qjY8z2U6sGCm3P_tvl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yK_D9X5EOVHyRaRfjH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5Lrx6r60KBCDaQP_Y0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6xlA.rb0iqjPCHaNoCZ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kr9v0n0EukDbrCTF8x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GfnGj3YESkiMk.uhyQX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5DHkeCa0CCcf7X5a08V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UmYwyKV0Cd0jC5aWqH0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anVSoq8UGtZ2gmJByra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FTIed.0kCHb5Ked8gkg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0dcIiX4Uy2ZWplVZ2lo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z4s_j1bUaj4X_bKVP.9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vy5hYkIUWNUhZH4kdG_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13dRfIWEORqxzpN47z5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sEllgMFUy91HhA5Copy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5HcLiRV02RGiDkuEbIU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dAlGH.ZUWLCq5D9Z5Jh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6MPm2JpkWzuYNgmYlhB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qQKp26Lke8ugBaU875d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YYlsGT_EK.PISQhxiz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FTV0h9LU.X2Hjtc4bcE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gYrtoRAUaX8C7GyLtqn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TguN810EK7QrLhKK7Js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894K6KbEiClDE3Vtuzg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DyZR6klEu7ycvY_iRo7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hKE2TWYEW0osHXmdgOa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jQwTNV0G2cfHGvaul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HnKZYMb0e2MgZyClNzT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HiUunZAkSFsIaytq9P4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GuXMdgdUimhlBdDP4bZ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EUSxgl.kOmRdImbQREk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6mm3he90uqWc0VLUFDc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pOqbPsJ0m20IBZ47ko0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I.2nPX0kW.jcJgxcBWS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H7uAaiZ0GgNW9oiG8nb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ZvCO1kf0yFd1h2DCw4l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nAykvVV0WJxbFMPo2u0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7ngmxQCU.Fd_KwSjkos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FaFguF20.gYZfNLg1h4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oxFD7gL0GX8otRg1fJ_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Q_grXr9EisWVHHyyrvz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buOQETTkSendCKFQCEO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pFjA7HR0.VafV9._2Zb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hnT2E41Eqg1azBTskFd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GWFLjmR0iCDuxASpAh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oTt.lPXU.yDCJ.S25M.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5EoXIOTEC0R3hTJGgq.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aZcw8hbkW0YtyoYG7Ni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hnT2E41Eqg1azBTskFd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dkEW3rE.apeTZ18cx2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AUH536dkaLr6j3nbIrR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RLgVog0067wYXHkacE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GuYua5vUW5txAaVPjep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wa30TQt0GWiPvkPntdJ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ED4mFEs0GkwDYv8USY3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HsMV6to0iL561C5GZ52w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605</TotalTime>
  <Words>1631</Words>
  <Application>Microsoft Office PowerPoint</Application>
  <PresentationFormat>Лист A4 (210x297 мм)</PresentationFormat>
  <Paragraphs>294</Paragraphs>
  <Slides>19</Slides>
  <Notes>1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9</vt:i4>
      </vt:variant>
    </vt:vector>
  </HeadingPairs>
  <TitlesOfParts>
    <vt:vector size="30" baseType="lpstr">
      <vt:lpstr>宋体</vt:lpstr>
      <vt:lpstr>Arial</vt:lpstr>
      <vt:lpstr>Arial Narrow</vt:lpstr>
      <vt:lpstr>Calibri</vt:lpstr>
      <vt:lpstr>Calibri Light</vt:lpstr>
      <vt:lpstr>Segoe UI</vt:lpstr>
      <vt:lpstr>Wingdings</vt:lpstr>
      <vt:lpstr>Тема Office</vt:lpstr>
      <vt:lpstr>1_Тема Office</vt:lpstr>
      <vt:lpstr>think-cell Slide</vt:lpstr>
      <vt:lpstr>Диаграмма</vt:lpstr>
      <vt:lpstr>Презентация PowerPoint</vt:lpstr>
      <vt:lpstr>Инструмент ТОР предназначен для обеспечения опережающего социально-экономического развития регионов</vt:lpstr>
      <vt:lpstr>Цель – разработать концепцию глобально конкурентоспособного ТОР</vt:lpstr>
      <vt:lpstr>Ключевые результаты</vt:lpstr>
      <vt:lpstr>В отличие от других ТОР «Камчатка» имеет многоотраслевую специализацию</vt:lpstr>
      <vt:lpstr>Ключевая точка роста ТОР «Камчатка» – туризм</vt:lpstr>
      <vt:lpstr>Текущее состояние развития туризма</vt:lpstr>
      <vt:lpstr>Потенциальный поток туристов по направлениям к 2025 г.</vt:lpstr>
      <vt:lpstr>Прогноз потенциальных туристических потоков</vt:lpstr>
      <vt:lpstr>Горнолыжный туризм: страны, откуда будет перераспределен поток туристов на Камчатку</vt:lpstr>
      <vt:lpstr>Экологический туризм: страны, откуда будет перераспределен поток туристов на Камчатку</vt:lpstr>
      <vt:lpstr>Поток круизных туристов через ППК к 2020г. может  достичь 120 тыс. туристов, а к 2025 г. – 300 тыс. туристов</vt:lpstr>
      <vt:lpstr>Точки притяжения туристов вблизи г. Петропавловска-Камчатского</vt:lpstr>
      <vt:lpstr>Для развития туризма планируется привлечение значительного объема инвестиций </vt:lpstr>
      <vt:lpstr>Туризм будет также способствовать развитию смежных отраслей и принесет существенный синергетический эффект</vt:lpstr>
      <vt:lpstr>Площадка «Паратунка»</vt:lpstr>
      <vt:lpstr>Площадки «Аэропорт», «Витязь-Аэро», «Нагорный», «Зеленовские озерки»</vt:lpstr>
      <vt:lpstr>Площадки «Порт», «Юг», «Центр»</vt:lpstr>
      <vt:lpstr>Перспективные площадки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Шерстнева Светлана Васильевна</cp:lastModifiedBy>
  <cp:revision>1489</cp:revision>
  <cp:lastPrinted>2015-03-18T06:33:22Z</cp:lastPrinted>
  <dcterms:created xsi:type="dcterms:W3CDTF">2013-12-23T08:36:44Z</dcterms:created>
  <dcterms:modified xsi:type="dcterms:W3CDTF">2017-06-01T04:0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_AdHocReviewCycleID">
    <vt:i4>2071918510</vt:i4>
  </property>
  <property fmtid="{D5CDD505-2E9C-101B-9397-08002B2CF9AE}" pid="4" name="_EmailSubject">
    <vt:lpwstr>Защита проекта "ТОР "Камчатка"</vt:lpwstr>
  </property>
  <property fmtid="{D5CDD505-2E9C-101B-9397-08002B2CF9AE}" pid="5" name="_AuthorEmail">
    <vt:lpwstr>zhurov_a@o2consulting.ru</vt:lpwstr>
  </property>
  <property fmtid="{D5CDD505-2E9C-101B-9397-08002B2CF9AE}" pid="6" name="_AuthorEmailDisplayName">
    <vt:lpwstr>Alexey Zhurov</vt:lpwstr>
  </property>
  <property fmtid="{D5CDD505-2E9C-101B-9397-08002B2CF9AE}" pid="7" name="_PreviousAdHocReviewCycleID">
    <vt:i4>607356387</vt:i4>
  </property>
</Properties>
</file>